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ags/tag2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  <p:sldMasterId id="2147484306" r:id="rId5"/>
  </p:sldMasterIdLst>
  <p:notesMasterIdLst>
    <p:notesMasterId r:id="rId20"/>
  </p:notesMasterIdLst>
  <p:handoutMasterIdLst>
    <p:handoutMasterId r:id="rId21"/>
  </p:handoutMasterIdLst>
  <p:sldIdLst>
    <p:sldId id="2147378331" r:id="rId6"/>
    <p:sldId id="265" r:id="rId7"/>
    <p:sldId id="2147377869" r:id="rId8"/>
    <p:sldId id="2147378323" r:id="rId9"/>
    <p:sldId id="2147377870" r:id="rId10"/>
    <p:sldId id="2147377874" r:id="rId11"/>
    <p:sldId id="2147377871" r:id="rId12"/>
    <p:sldId id="2147378326" r:id="rId13"/>
    <p:sldId id="2147378324" r:id="rId14"/>
    <p:sldId id="2147378327" r:id="rId15"/>
    <p:sldId id="2147377876" r:id="rId16"/>
    <p:sldId id="2147378325" r:id="rId17"/>
    <p:sldId id="2147378330" r:id="rId18"/>
    <p:sldId id="2147378332" r:id="rId19"/>
  </p:sldIdLst>
  <p:sldSz cx="12192000" cy="6858000"/>
  <p:notesSz cx="6742113" cy="9872663"/>
  <p:custDataLst>
    <p:tags r:id="rId22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24070710-11FE-4EFA-8390-40B832B32259}">
          <p14:sldIdLst>
            <p14:sldId id="2147378331"/>
            <p14:sldId id="265"/>
            <p14:sldId id="2147377869"/>
            <p14:sldId id="2147378323"/>
            <p14:sldId id="2147377870"/>
            <p14:sldId id="2147377874"/>
            <p14:sldId id="2147377871"/>
            <p14:sldId id="2147378326"/>
            <p14:sldId id="2147378324"/>
            <p14:sldId id="2147378327"/>
            <p14:sldId id="2147377876"/>
            <p14:sldId id="2147378325"/>
            <p14:sldId id="2147378330"/>
            <p14:sldId id="2147378332"/>
          </p14:sldIdLst>
        </p14:section>
      </p14:sectionLst>
    </p:ext>
    <p:ext uri="{EFAFB233-063F-42B5-8137-9DF3F51BA10A}">
      <p15:sldGuideLst xmlns:p15="http://schemas.microsoft.com/office/powerpoint/2012/main">
        <p15:guide id="1" pos="1844" userDrawn="1">
          <p15:clr>
            <a:srgbClr val="A4A3A4"/>
          </p15:clr>
        </p15:guide>
        <p15:guide id="3" orient="horz" pos="2387" userDrawn="1">
          <p15:clr>
            <a:srgbClr val="A4A3A4"/>
          </p15:clr>
        </p15:guide>
        <p15:guide id="5" orient="horz" pos="1185" userDrawn="1">
          <p15:clr>
            <a:srgbClr val="A4A3A4"/>
          </p15:clr>
        </p15:guide>
        <p15:guide id="6" orient="horz" pos="867" userDrawn="1">
          <p15:clr>
            <a:srgbClr val="A4A3A4"/>
          </p15:clr>
        </p15:guide>
        <p15:guide id="7" orient="horz" pos="107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420FE49-0230-ECF6-821F-39892CAE815E}" name="Diogo Ferreira Torcato" initials="DFT" userId="S::diogo.torcato@brisa.pt::ad4e2a92-4477-4db1-b304-e4411f5d7b44" providerId="AD"/>
  <p188:author id="{FF81DCBE-F1D0-FF70-5CFD-C884EBA47905}" name="Teresa Zuniga Santo" initials="TZS" userId="S::teresa.santo@brisa.pt::eb462bd2-bd8e-40a1-b115-be346800cdfa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lexandra Barroso" initials="AB" lastIdx="7" clrIdx="0">
    <p:extLst>
      <p:ext uri="{19B8F6BF-5375-455C-9EA6-DF929625EA0E}">
        <p15:presenceInfo xmlns:p15="http://schemas.microsoft.com/office/powerpoint/2012/main" userId="S::alexandra.barroso@multislide.pt::ac9eae5f-018c-43d9-8b53-f2abd51eed3a" providerId="AD"/>
      </p:ext>
    </p:extLst>
  </p:cmAuthor>
  <p:cmAuthor id="2" name="Yola Alexandra Reis" initials="YAR" lastIdx="23" clrIdx="1">
    <p:extLst>
      <p:ext uri="{19B8F6BF-5375-455C-9EA6-DF929625EA0E}">
        <p15:presenceInfo xmlns:p15="http://schemas.microsoft.com/office/powerpoint/2012/main" userId="S::yola.reis@brisa.pt::79f43824-9284-44a4-b861-9daa1750e209" providerId="AD"/>
      </p:ext>
    </p:extLst>
  </p:cmAuthor>
  <p:cmAuthor id="3" name="Ricardo Miguel Marau" initials="RMM" lastIdx="1" clrIdx="2">
    <p:extLst>
      <p:ext uri="{19B8F6BF-5375-455C-9EA6-DF929625EA0E}">
        <p15:presenceInfo xmlns:p15="http://schemas.microsoft.com/office/powerpoint/2012/main" userId="S::ricardo.marau@brisa.pt::debfbcbd-a999-494e-b3cc-68565fd108f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B93BE"/>
    <a:srgbClr val="006531"/>
    <a:srgbClr val="C07200"/>
    <a:srgbClr val="ABBF08"/>
    <a:srgbClr val="FF9E0E"/>
    <a:srgbClr val="828282"/>
    <a:srgbClr val="FFFFFF"/>
    <a:srgbClr val="E0F4FD"/>
    <a:srgbClr val="EAEAEA"/>
    <a:srgbClr val="98D9F0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D121300-FE5D-44D1-B3D6-60C12B46B46B}" v="179" dt="2023-10-10T16:16:51.187"/>
    <p1510:client id="{6A786E89-1F42-43A7-ABA0-521DDCA3F235}" v="24" dt="2023-10-11T09:05:11.95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Destaqu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Sem Estilo, Sem Grelh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539" autoAdjust="0"/>
    <p:restoredTop sz="88794" autoAdjust="0"/>
  </p:normalViewPr>
  <p:slideViewPr>
    <p:cSldViewPr snapToGrid="0">
      <p:cViewPr varScale="1">
        <p:scale>
          <a:sx n="97" d="100"/>
          <a:sy n="97" d="100"/>
        </p:scale>
        <p:origin x="1170" y="96"/>
      </p:cViewPr>
      <p:guideLst>
        <p:guide pos="1844"/>
        <p:guide orient="horz" pos="2387"/>
        <p:guide orient="horz" pos="1185"/>
        <p:guide orient="horz" pos="867"/>
        <p:guide orient="horz" pos="107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77" d="100"/>
          <a:sy n="77" d="100"/>
        </p:scale>
        <p:origin x="4098" y="12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notesMaster" Target="notesMasters/notesMaster1.xml"/><Relationship Id="rId29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commentAuthors" Target="commentAuthors.xml"/><Relationship Id="rId28" Type="http://schemas.microsoft.com/office/2015/10/relationships/revisionInfo" Target="revisionInfo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F14FA029-E5C8-93E2-9AFE-3B6FA88151D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21000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619C62F-54C5-103A-8B2F-CF0484B10E6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19525" y="0"/>
            <a:ext cx="2921000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CE5CFC9-6E3B-4AEB-928F-9169433FACA3}" type="datetimeFigureOut">
              <a:rPr lang="pt-PT" smtClean="0"/>
              <a:t>20/10/2023</a:t>
            </a:fld>
            <a:endParaRPr lang="pt-PT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DC58BB8-AE2E-7615-BB53-C5329C85D4A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377363"/>
            <a:ext cx="2921000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9B60720-6B97-2B59-17BA-B913C4D0069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19525" y="9377363"/>
            <a:ext cx="2921000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ECC13DC-0363-424C-9063-59FB4DE919E1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3683009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21582" cy="495348"/>
          </a:xfrm>
          <a:prstGeom prst="rect">
            <a:avLst/>
          </a:prstGeom>
        </p:spPr>
        <p:txBody>
          <a:bodyPr vert="horz" lIns="91026" tIns="45513" rIns="91026" bIns="45513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18971" y="0"/>
            <a:ext cx="2921582" cy="495348"/>
          </a:xfrm>
          <a:prstGeom prst="rect">
            <a:avLst/>
          </a:prstGeom>
        </p:spPr>
        <p:txBody>
          <a:bodyPr vert="horz" lIns="91026" tIns="45513" rIns="91026" bIns="45513" rtlCol="0"/>
          <a:lstStyle>
            <a:lvl1pPr algn="r">
              <a:defRPr sz="1200"/>
            </a:lvl1pPr>
          </a:lstStyle>
          <a:p>
            <a:fld id="{34A9CF9D-34C5-4422-9498-CB6AB1A14077}" type="datetimeFigureOut">
              <a:rPr lang="en-GB" smtClean="0"/>
              <a:t>20/10/2023</a:t>
            </a:fld>
            <a:endParaRPr lang="en-GB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1233488"/>
            <a:ext cx="5922963" cy="33321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026" tIns="45513" rIns="91026" bIns="45513" rtlCol="0" anchor="ctr"/>
          <a:lstStyle/>
          <a:p>
            <a:endParaRPr lang="en-GB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74212" y="4751243"/>
            <a:ext cx="5393690" cy="3887361"/>
          </a:xfrm>
          <a:prstGeom prst="rect">
            <a:avLst/>
          </a:prstGeom>
        </p:spPr>
        <p:txBody>
          <a:bodyPr vert="horz" lIns="91026" tIns="45513" rIns="91026" bIns="45513" rtlCol="0"/>
          <a:lstStyle/>
          <a:p>
            <a:pPr lvl="0"/>
            <a:r>
              <a:rPr lang="pt-PT"/>
              <a:t>Clique para editar os estilos do texto de Modelo Global</a:t>
            </a:r>
          </a:p>
          <a:p>
            <a:pPr lvl="1"/>
            <a:r>
              <a:rPr lang="pt-PT"/>
              <a:t>Segundo nível</a:t>
            </a:r>
          </a:p>
          <a:p>
            <a:pPr lvl="2"/>
            <a:r>
              <a:rPr lang="pt-PT"/>
              <a:t>Terceiro nível</a:t>
            </a:r>
          </a:p>
          <a:p>
            <a:pPr lvl="3"/>
            <a:r>
              <a:rPr lang="pt-PT"/>
              <a:t>Quarto nível</a:t>
            </a:r>
          </a:p>
          <a:p>
            <a:pPr lvl="4"/>
            <a:r>
              <a:rPr lang="pt-PT"/>
              <a:t>Quinto nível</a:t>
            </a:r>
            <a:endParaRPr lang="en-GB"/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9377342"/>
            <a:ext cx="2921582" cy="495347"/>
          </a:xfrm>
          <a:prstGeom prst="rect">
            <a:avLst/>
          </a:prstGeom>
        </p:spPr>
        <p:txBody>
          <a:bodyPr vert="horz" lIns="91026" tIns="45513" rIns="91026" bIns="45513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18971" y="9377342"/>
            <a:ext cx="2921582" cy="495347"/>
          </a:xfrm>
          <a:prstGeom prst="rect">
            <a:avLst/>
          </a:prstGeom>
        </p:spPr>
        <p:txBody>
          <a:bodyPr vert="horz" lIns="91026" tIns="45513" rIns="91026" bIns="45513" rtlCol="0" anchor="b"/>
          <a:lstStyle>
            <a:lvl1pPr algn="r">
              <a:defRPr sz="1200"/>
            </a:lvl1pPr>
          </a:lstStyle>
          <a:p>
            <a:fld id="{95887B7F-5252-4FAE-A3AB-DDB66A4F90AD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847316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Marcador de Posição da Imagem do Diapositivo 1">
            <a:extLst>
              <a:ext uri="{FF2B5EF4-FFF2-40B4-BE49-F238E27FC236}">
                <a16:creationId xmlns:a16="http://schemas.microsoft.com/office/drawing/2014/main" id="{AC251AD7-8271-04D5-0803-F4108A31011E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4099" name="Marcador de Posição de Notas 2">
            <a:extLst>
              <a:ext uri="{FF2B5EF4-FFF2-40B4-BE49-F238E27FC236}">
                <a16:creationId xmlns:a16="http://schemas.microsoft.com/office/drawing/2014/main" id="{982BD431-21FD-ACC8-B2AD-0484A1E6B5D3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spcBef>
                <a:spcPct val="0"/>
              </a:spcBef>
            </a:pPr>
            <a:endParaRPr lang="en-GB" altLang="pt-PT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PT" sz="800" dirty="0"/>
              <a:t>Manutenção: controlo vegetação / limpezas drenagem / varreduras / limpeza de elementos refletores</a:t>
            </a:r>
          </a:p>
          <a:p>
            <a:r>
              <a:rPr lang="pt-PT" sz="800" dirty="0"/>
              <a:t>Zonas de Obras: estabilização de taludes / beneficiação pavimentos / tratamento juntas / reparação acidentes (</a:t>
            </a:r>
            <a:r>
              <a:rPr lang="pt-PT" sz="800" dirty="0">
                <a:solidFill>
                  <a:srgbClr val="000000"/>
                </a:solidFill>
                <a:latin typeface="Calibri" panose="020F0502020204030204" pitchFamily="34" charset="0"/>
              </a:rPr>
              <a:t>pavimento, guardas de segurança, sinalização, delineadores)</a:t>
            </a:r>
          </a:p>
          <a:p>
            <a:r>
              <a:rPr lang="pt-PT" sz="800" dirty="0">
                <a:solidFill>
                  <a:srgbClr val="000000"/>
                </a:solidFill>
                <a:latin typeface="Calibri" panose="020F0502020204030204" pitchFamily="34" charset="0"/>
              </a:rPr>
              <a:t>Perigo: remoção obstáculos / animal na via /viatura parada</a:t>
            </a:r>
            <a:endParaRPr lang="pt-PT" sz="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887B7F-5252-4FAE-A3AB-DDB66A4F90AD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422293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887B7F-5252-4FAE-A3AB-DDB66A4F90AD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753151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PT" dirty="0"/>
              <a:t>Melhores Práticas nacionais e internacionais / MST / RST</a:t>
            </a:r>
          </a:p>
          <a:p>
            <a:r>
              <a:rPr lang="pt-PT" dirty="0"/>
              <a:t>Novos equipamentos – vamos ver mais à frent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887B7F-5252-4FAE-A3AB-DDB66A4F90AD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3340394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rtl="0" fontAlgn="base"/>
            <a:r>
              <a:rPr lang="en-GB" sz="1200" i="0" u="none" strike="noStrike" dirty="0" err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Aumentar</a:t>
            </a:r>
            <a:r>
              <a:rPr lang="en-GB" sz="120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 </a:t>
            </a:r>
            <a:r>
              <a:rPr lang="en-GB" sz="1200" i="0" u="none" strike="noStrike" dirty="0" err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visibilidade</a:t>
            </a:r>
            <a:r>
              <a:rPr lang="en-GB" sz="120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 dos </a:t>
            </a:r>
            <a:r>
              <a:rPr lang="en-GB" sz="1200" i="0" u="none" strike="noStrike" dirty="0" err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veículos</a:t>
            </a:r>
            <a:r>
              <a:rPr lang="en-GB" sz="120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 de </a:t>
            </a:r>
            <a:r>
              <a:rPr lang="en-GB" sz="1200" i="0" u="none" strike="noStrike" dirty="0" err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trabalho</a:t>
            </a:r>
            <a:r>
              <a:rPr lang="en-GB" sz="120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 da Brisa (e </a:t>
            </a:r>
            <a:r>
              <a:rPr lang="en-GB" sz="1200" i="0" u="none" strike="noStrike" dirty="0" err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contratados</a:t>
            </a:r>
            <a:r>
              <a:rPr lang="en-GB" sz="120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) que </a:t>
            </a:r>
            <a:r>
              <a:rPr lang="en-GB" sz="1200" i="0" u="none" strike="noStrike" dirty="0" err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operam</a:t>
            </a:r>
            <a:r>
              <a:rPr lang="en-GB" sz="120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 </a:t>
            </a:r>
            <a:r>
              <a:rPr lang="en-GB" sz="1200" i="0" u="none" strike="noStrike" dirty="0" err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na</a:t>
            </a:r>
            <a:r>
              <a:rPr lang="en-GB" sz="120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 </a:t>
            </a:r>
            <a:r>
              <a:rPr lang="en-GB" sz="1200" i="0" u="none" strike="noStrike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via</a:t>
            </a:r>
            <a:r>
              <a:rPr lang="en-US" sz="1200" i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​, </a:t>
            </a:r>
            <a:r>
              <a:rPr lang="en-US" sz="1200" i="0" dirty="0" err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garantindo</a:t>
            </a:r>
            <a:r>
              <a:rPr lang="en-US" sz="120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en-US" sz="1200" i="0" dirty="0" err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uniformização</a:t>
            </a:r>
            <a:endParaRPr lang="en-US" sz="1200" i="0" dirty="0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  <a:p>
            <a:pPr algn="l" rtl="0" fontAlgn="base"/>
            <a:r>
              <a:rPr lang="pt-PT" dirty="0">
                <a:solidFill>
                  <a:srgbClr val="000000"/>
                </a:solidFill>
                <a:latin typeface="Calibri" panose="020F0502020204030204" pitchFamily="34" charset="0"/>
              </a:rPr>
              <a:t>Para todas as viaturas / KITS: compostos por cones, pirilampos e rotativas magnéticas</a:t>
            </a:r>
          </a:p>
          <a:p>
            <a:pPr algn="l" rtl="0" fontAlgn="base"/>
            <a:r>
              <a:rPr lang="pt-PT" dirty="0">
                <a:solidFill>
                  <a:srgbClr val="000000"/>
                </a:solidFill>
                <a:latin typeface="Calibri" panose="020F0502020204030204" pitchFamily="34" charset="0"/>
              </a:rPr>
              <a:t>Para reforço da visibilidade da sinalização de posição nas carrinhas da Assistência Rodoviária</a:t>
            </a:r>
            <a:endParaRPr lang="en-US" i="0" dirty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887B7F-5252-4FAE-A3AB-DDB66A4F90AD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1558761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PT" dirty="0"/>
              <a:t>2 atrelados EBO Van </a:t>
            </a:r>
            <a:r>
              <a:rPr lang="pt-PT" dirty="0" err="1"/>
              <a:t>Weel</a:t>
            </a:r>
            <a:r>
              <a:rPr lang="pt-PT" dirty="0"/>
              <a:t> + 2 atrelados PMV </a:t>
            </a:r>
            <a:r>
              <a:rPr lang="pt-PT" dirty="0" err="1"/>
              <a:t>Horizont</a:t>
            </a:r>
            <a:endParaRPr lang="pt-PT" dirty="0"/>
          </a:p>
          <a:p>
            <a:r>
              <a:rPr lang="pt-PT" dirty="0"/>
              <a:t>2 estruturas de transporte de sinalização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887B7F-5252-4FAE-A3AB-DDB66A4F90AD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35957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pa_Pre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ítulo 1">
            <a:extLst>
              <a:ext uri="{FF2B5EF4-FFF2-40B4-BE49-F238E27FC236}">
                <a16:creationId xmlns:a16="http://schemas.microsoft.com/office/drawing/2014/main" id="{99C3617A-5102-B10B-F4BA-94C7D960C0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185" y="3386665"/>
            <a:ext cx="4095497" cy="1779391"/>
          </a:xfrm>
          <a:prstGeom prst="rect">
            <a:avLst/>
          </a:prstGeom>
        </p:spPr>
        <p:txBody>
          <a:bodyPr anchor="b"/>
          <a:lstStyle>
            <a:lvl1pPr>
              <a:lnSpc>
                <a:spcPct val="80000"/>
              </a:lnSpc>
              <a:defRPr lang="en-GB" sz="3200" b="1" i="0" kern="1200" baseline="0" dirty="0">
                <a:solidFill>
                  <a:schemeClr val="tx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br>
              <a:rPr lang="pt-PT" dirty="0"/>
            </a:br>
            <a:r>
              <a:rPr lang="pt-PT" dirty="0"/>
              <a:t>Clique para editar</a:t>
            </a:r>
            <a:endParaRPr lang="en-GB" dirty="0"/>
          </a:p>
        </p:txBody>
      </p:sp>
      <p:sp>
        <p:nvSpPr>
          <p:cNvPr id="15" name="Marcador de Posição do Texto 2">
            <a:extLst>
              <a:ext uri="{FF2B5EF4-FFF2-40B4-BE49-F238E27FC236}">
                <a16:creationId xmlns:a16="http://schemas.microsoft.com/office/drawing/2014/main" id="{A1D381F7-2CBE-C22A-6CFC-16B9399256D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3186" y="5226679"/>
            <a:ext cx="4095496" cy="430256"/>
          </a:xfrm>
          <a:prstGeom prst="rect">
            <a:avLst/>
          </a:prstGeom>
        </p:spPr>
        <p:txBody>
          <a:bodyPr vert="horz" wrap="none" lIns="0" tIns="45720" rIns="0" bIns="45720" rtlCol="0" anchor="t" anchorCtr="0">
            <a:noAutofit/>
          </a:bodyPr>
          <a:lstStyle>
            <a:lvl1pPr marL="0" indent="0">
              <a:buNone/>
              <a:defRPr lang="pt-PT" sz="2200" b="0" i="0" baseline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166682" lvl="0" indent="-342891">
              <a:spcBef>
                <a:spcPct val="0"/>
              </a:spcBef>
            </a:pPr>
            <a:r>
              <a:rPr lang="pt-PT" dirty="0"/>
              <a:t>Clique para editar</a:t>
            </a:r>
          </a:p>
        </p:txBody>
      </p:sp>
      <p:sp>
        <p:nvSpPr>
          <p:cNvPr id="16" name="Marcador de Posição do Texto 6">
            <a:extLst>
              <a:ext uri="{FF2B5EF4-FFF2-40B4-BE49-F238E27FC236}">
                <a16:creationId xmlns:a16="http://schemas.microsoft.com/office/drawing/2014/main" id="{4C6508F2-98A4-F28B-B814-1BB0945A865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3619" y="5734763"/>
            <a:ext cx="4095064" cy="304699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defRPr sz="1400" b="0" i="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pt-PT" dirty="0"/>
              <a:t>Clique para editar</a:t>
            </a:r>
          </a:p>
        </p:txBody>
      </p:sp>
      <p:pic>
        <p:nvPicPr>
          <p:cNvPr id="4" name="Image" descr="Image">
            <a:extLst>
              <a:ext uri="{FF2B5EF4-FFF2-40B4-BE49-F238E27FC236}">
                <a16:creationId xmlns:a16="http://schemas.microsoft.com/office/drawing/2014/main" id="{18FA67F1-BF14-A5A3-5E8F-C1D6BA0439D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3185" y="633903"/>
            <a:ext cx="2549361" cy="632749"/>
          </a:xfrm>
          <a:prstGeom prst="rect">
            <a:avLst/>
          </a:prstGeom>
          <a:ln w="12700">
            <a:miter lim="400000"/>
          </a:ln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E8C92078-20A0-F93C-7FEB-30802AEEC1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4222" t="13656" r="17806" b="13414"/>
          <a:stretch/>
        </p:blipFill>
        <p:spPr>
          <a:xfrm>
            <a:off x="5069711" y="-10758"/>
            <a:ext cx="7135341" cy="68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59018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226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parador 2_preto_com imagem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">
            <a:extLst>
              <a:ext uri="{FF2B5EF4-FFF2-40B4-BE49-F238E27FC236}">
                <a16:creationId xmlns:a16="http://schemas.microsoft.com/office/drawing/2014/main" id="{2FD34BE4-CF27-62C5-97D6-0A4AA5AF2376}"/>
              </a:ext>
            </a:extLst>
          </p:cNvPr>
          <p:cNvSpPr/>
          <p:nvPr userDrawn="1"/>
        </p:nvSpPr>
        <p:spPr>
          <a:xfrm>
            <a:off x="5098701" y="1799074"/>
            <a:ext cx="7117457" cy="5077464"/>
          </a:xfrm>
          <a:custGeom>
            <a:avLst/>
            <a:gdLst>
              <a:gd name="connsiteX0" fmla="*/ 11477 w 21471"/>
              <a:gd name="connsiteY0" fmla="*/ 23 h 21488"/>
              <a:gd name="connsiteX1" fmla="*/ 5715 w 21471"/>
              <a:gd name="connsiteY1" fmla="*/ 1085 h 21488"/>
              <a:gd name="connsiteX2" fmla="*/ 1232 w 21471"/>
              <a:gd name="connsiteY2" fmla="*/ 5155 h 21488"/>
              <a:gd name="connsiteX3" fmla="*/ 48 w 21471"/>
              <a:gd name="connsiteY3" fmla="*/ 9089 h 21488"/>
              <a:gd name="connsiteX4" fmla="*/ 365 w 21471"/>
              <a:gd name="connsiteY4" fmla="*/ 13412 h 21488"/>
              <a:gd name="connsiteX5" fmla="*/ 994 w 21471"/>
              <a:gd name="connsiteY5" fmla="*/ 15572 h 21488"/>
              <a:gd name="connsiteX6" fmla="*/ 6271 w 21471"/>
              <a:gd name="connsiteY6" fmla="*/ 16946 h 21488"/>
              <a:gd name="connsiteX7" fmla="*/ 4709 w 21471"/>
              <a:gd name="connsiteY7" fmla="*/ 20041 h 21488"/>
              <a:gd name="connsiteX8" fmla="*/ 7374 w 21471"/>
              <a:gd name="connsiteY8" fmla="*/ 21174 h 21488"/>
              <a:gd name="connsiteX9" fmla="*/ 10204 w 21471"/>
              <a:gd name="connsiteY9" fmla="*/ 21487 h 21488"/>
              <a:gd name="connsiteX10" fmla="*/ 16120 w 21471"/>
              <a:gd name="connsiteY10" fmla="*/ 19852 h 21488"/>
              <a:gd name="connsiteX11" fmla="*/ 20202 w 21471"/>
              <a:gd name="connsiteY11" fmla="*/ 15632 h 21488"/>
              <a:gd name="connsiteX12" fmla="*/ 21216 w 21471"/>
              <a:gd name="connsiteY12" fmla="*/ 12780 h 21488"/>
              <a:gd name="connsiteX13" fmla="*/ 21449 w 21471"/>
              <a:gd name="connsiteY13" fmla="*/ 9614 h 21488"/>
              <a:gd name="connsiteX14" fmla="*/ 18412 w 21471"/>
              <a:gd name="connsiteY14" fmla="*/ 2817 h 21488"/>
              <a:gd name="connsiteX15" fmla="*/ 15211 w 21471"/>
              <a:gd name="connsiteY15" fmla="*/ 859 h 21488"/>
              <a:gd name="connsiteX16" fmla="*/ 11477 w 21471"/>
              <a:gd name="connsiteY16" fmla="*/ 23 h 21488"/>
              <a:gd name="connsiteX0" fmla="*/ 11477 w 21471"/>
              <a:gd name="connsiteY0" fmla="*/ 23 h 21488"/>
              <a:gd name="connsiteX1" fmla="*/ 5715 w 21471"/>
              <a:gd name="connsiteY1" fmla="*/ 1085 h 21488"/>
              <a:gd name="connsiteX2" fmla="*/ 1232 w 21471"/>
              <a:gd name="connsiteY2" fmla="*/ 5155 h 21488"/>
              <a:gd name="connsiteX3" fmla="*/ 48 w 21471"/>
              <a:gd name="connsiteY3" fmla="*/ 9089 h 21488"/>
              <a:gd name="connsiteX4" fmla="*/ 365 w 21471"/>
              <a:gd name="connsiteY4" fmla="*/ 13412 h 21488"/>
              <a:gd name="connsiteX5" fmla="*/ 994 w 21471"/>
              <a:gd name="connsiteY5" fmla="*/ 15572 h 21488"/>
              <a:gd name="connsiteX6" fmla="*/ 6271 w 21471"/>
              <a:gd name="connsiteY6" fmla="*/ 16946 h 21488"/>
              <a:gd name="connsiteX7" fmla="*/ 4709 w 21471"/>
              <a:gd name="connsiteY7" fmla="*/ 20041 h 21488"/>
              <a:gd name="connsiteX8" fmla="*/ 7374 w 21471"/>
              <a:gd name="connsiteY8" fmla="*/ 21174 h 21488"/>
              <a:gd name="connsiteX9" fmla="*/ 10204 w 21471"/>
              <a:gd name="connsiteY9" fmla="*/ 21487 h 21488"/>
              <a:gd name="connsiteX10" fmla="*/ 16120 w 21471"/>
              <a:gd name="connsiteY10" fmla="*/ 19852 h 21488"/>
              <a:gd name="connsiteX11" fmla="*/ 20202 w 21471"/>
              <a:gd name="connsiteY11" fmla="*/ 15632 h 21488"/>
              <a:gd name="connsiteX12" fmla="*/ 21216 w 21471"/>
              <a:gd name="connsiteY12" fmla="*/ 12780 h 21488"/>
              <a:gd name="connsiteX13" fmla="*/ 21449 w 21471"/>
              <a:gd name="connsiteY13" fmla="*/ 9614 h 21488"/>
              <a:gd name="connsiteX14" fmla="*/ 18412 w 21471"/>
              <a:gd name="connsiteY14" fmla="*/ 2817 h 21488"/>
              <a:gd name="connsiteX15" fmla="*/ 15211 w 21471"/>
              <a:gd name="connsiteY15" fmla="*/ 859 h 21488"/>
              <a:gd name="connsiteX16" fmla="*/ 11477 w 21471"/>
              <a:gd name="connsiteY16" fmla="*/ 23 h 21488"/>
              <a:gd name="connsiteX0" fmla="*/ 11477 w 21471"/>
              <a:gd name="connsiteY0" fmla="*/ 23 h 21488"/>
              <a:gd name="connsiteX1" fmla="*/ 5715 w 21471"/>
              <a:gd name="connsiteY1" fmla="*/ 1085 h 21488"/>
              <a:gd name="connsiteX2" fmla="*/ 1232 w 21471"/>
              <a:gd name="connsiteY2" fmla="*/ 5155 h 21488"/>
              <a:gd name="connsiteX3" fmla="*/ 48 w 21471"/>
              <a:gd name="connsiteY3" fmla="*/ 9089 h 21488"/>
              <a:gd name="connsiteX4" fmla="*/ 365 w 21471"/>
              <a:gd name="connsiteY4" fmla="*/ 13412 h 21488"/>
              <a:gd name="connsiteX5" fmla="*/ 994 w 21471"/>
              <a:gd name="connsiteY5" fmla="*/ 15572 h 21488"/>
              <a:gd name="connsiteX6" fmla="*/ 6194 w 21471"/>
              <a:gd name="connsiteY6" fmla="*/ 17438 h 21488"/>
              <a:gd name="connsiteX7" fmla="*/ 4709 w 21471"/>
              <a:gd name="connsiteY7" fmla="*/ 20041 h 21488"/>
              <a:gd name="connsiteX8" fmla="*/ 7374 w 21471"/>
              <a:gd name="connsiteY8" fmla="*/ 21174 h 21488"/>
              <a:gd name="connsiteX9" fmla="*/ 10204 w 21471"/>
              <a:gd name="connsiteY9" fmla="*/ 21487 h 21488"/>
              <a:gd name="connsiteX10" fmla="*/ 16120 w 21471"/>
              <a:gd name="connsiteY10" fmla="*/ 19852 h 21488"/>
              <a:gd name="connsiteX11" fmla="*/ 20202 w 21471"/>
              <a:gd name="connsiteY11" fmla="*/ 15632 h 21488"/>
              <a:gd name="connsiteX12" fmla="*/ 21216 w 21471"/>
              <a:gd name="connsiteY12" fmla="*/ 12780 h 21488"/>
              <a:gd name="connsiteX13" fmla="*/ 21449 w 21471"/>
              <a:gd name="connsiteY13" fmla="*/ 9614 h 21488"/>
              <a:gd name="connsiteX14" fmla="*/ 18412 w 21471"/>
              <a:gd name="connsiteY14" fmla="*/ 2817 h 21488"/>
              <a:gd name="connsiteX15" fmla="*/ 15211 w 21471"/>
              <a:gd name="connsiteY15" fmla="*/ 859 h 21488"/>
              <a:gd name="connsiteX16" fmla="*/ 11477 w 21471"/>
              <a:gd name="connsiteY16" fmla="*/ 23 h 21488"/>
              <a:gd name="connsiteX0" fmla="*/ 11477 w 21471"/>
              <a:gd name="connsiteY0" fmla="*/ 23 h 21488"/>
              <a:gd name="connsiteX1" fmla="*/ 5715 w 21471"/>
              <a:gd name="connsiteY1" fmla="*/ 1085 h 21488"/>
              <a:gd name="connsiteX2" fmla="*/ 1232 w 21471"/>
              <a:gd name="connsiteY2" fmla="*/ 5155 h 21488"/>
              <a:gd name="connsiteX3" fmla="*/ 48 w 21471"/>
              <a:gd name="connsiteY3" fmla="*/ 9089 h 21488"/>
              <a:gd name="connsiteX4" fmla="*/ 365 w 21471"/>
              <a:gd name="connsiteY4" fmla="*/ 13412 h 21488"/>
              <a:gd name="connsiteX5" fmla="*/ 994 w 21471"/>
              <a:gd name="connsiteY5" fmla="*/ 15572 h 21488"/>
              <a:gd name="connsiteX6" fmla="*/ 6194 w 21471"/>
              <a:gd name="connsiteY6" fmla="*/ 17438 h 21488"/>
              <a:gd name="connsiteX7" fmla="*/ 4709 w 21471"/>
              <a:gd name="connsiteY7" fmla="*/ 20041 h 21488"/>
              <a:gd name="connsiteX8" fmla="*/ 7374 w 21471"/>
              <a:gd name="connsiteY8" fmla="*/ 21174 h 21488"/>
              <a:gd name="connsiteX9" fmla="*/ 10204 w 21471"/>
              <a:gd name="connsiteY9" fmla="*/ 21487 h 21488"/>
              <a:gd name="connsiteX10" fmla="*/ 16120 w 21471"/>
              <a:gd name="connsiteY10" fmla="*/ 19852 h 21488"/>
              <a:gd name="connsiteX11" fmla="*/ 20202 w 21471"/>
              <a:gd name="connsiteY11" fmla="*/ 15632 h 21488"/>
              <a:gd name="connsiteX12" fmla="*/ 21216 w 21471"/>
              <a:gd name="connsiteY12" fmla="*/ 12780 h 21488"/>
              <a:gd name="connsiteX13" fmla="*/ 21449 w 21471"/>
              <a:gd name="connsiteY13" fmla="*/ 9614 h 21488"/>
              <a:gd name="connsiteX14" fmla="*/ 18412 w 21471"/>
              <a:gd name="connsiteY14" fmla="*/ 2817 h 21488"/>
              <a:gd name="connsiteX15" fmla="*/ 15211 w 21471"/>
              <a:gd name="connsiteY15" fmla="*/ 859 h 21488"/>
              <a:gd name="connsiteX16" fmla="*/ 11477 w 21471"/>
              <a:gd name="connsiteY16" fmla="*/ 23 h 21488"/>
              <a:gd name="connsiteX0" fmla="*/ 11470 w 21464"/>
              <a:gd name="connsiteY0" fmla="*/ 23 h 21488"/>
              <a:gd name="connsiteX1" fmla="*/ 5708 w 21464"/>
              <a:gd name="connsiteY1" fmla="*/ 1085 h 21488"/>
              <a:gd name="connsiteX2" fmla="*/ 1225 w 21464"/>
              <a:gd name="connsiteY2" fmla="*/ 5155 h 21488"/>
              <a:gd name="connsiteX3" fmla="*/ 41 w 21464"/>
              <a:gd name="connsiteY3" fmla="*/ 9089 h 21488"/>
              <a:gd name="connsiteX4" fmla="*/ 358 w 21464"/>
              <a:gd name="connsiteY4" fmla="*/ 13412 h 21488"/>
              <a:gd name="connsiteX5" fmla="*/ 1489 w 21464"/>
              <a:gd name="connsiteY5" fmla="*/ 16646 h 21488"/>
              <a:gd name="connsiteX6" fmla="*/ 6187 w 21464"/>
              <a:gd name="connsiteY6" fmla="*/ 17438 h 21488"/>
              <a:gd name="connsiteX7" fmla="*/ 4702 w 21464"/>
              <a:gd name="connsiteY7" fmla="*/ 20041 h 21488"/>
              <a:gd name="connsiteX8" fmla="*/ 7367 w 21464"/>
              <a:gd name="connsiteY8" fmla="*/ 21174 h 21488"/>
              <a:gd name="connsiteX9" fmla="*/ 10197 w 21464"/>
              <a:gd name="connsiteY9" fmla="*/ 21487 h 21488"/>
              <a:gd name="connsiteX10" fmla="*/ 16113 w 21464"/>
              <a:gd name="connsiteY10" fmla="*/ 19852 h 21488"/>
              <a:gd name="connsiteX11" fmla="*/ 20195 w 21464"/>
              <a:gd name="connsiteY11" fmla="*/ 15632 h 21488"/>
              <a:gd name="connsiteX12" fmla="*/ 21209 w 21464"/>
              <a:gd name="connsiteY12" fmla="*/ 12780 h 21488"/>
              <a:gd name="connsiteX13" fmla="*/ 21442 w 21464"/>
              <a:gd name="connsiteY13" fmla="*/ 9614 h 21488"/>
              <a:gd name="connsiteX14" fmla="*/ 18405 w 21464"/>
              <a:gd name="connsiteY14" fmla="*/ 2817 h 21488"/>
              <a:gd name="connsiteX15" fmla="*/ 15204 w 21464"/>
              <a:gd name="connsiteY15" fmla="*/ 859 h 21488"/>
              <a:gd name="connsiteX16" fmla="*/ 11470 w 21464"/>
              <a:gd name="connsiteY16" fmla="*/ 23 h 21488"/>
              <a:gd name="connsiteX0" fmla="*/ 11479 w 21473"/>
              <a:gd name="connsiteY0" fmla="*/ 23 h 21488"/>
              <a:gd name="connsiteX1" fmla="*/ 5717 w 21473"/>
              <a:gd name="connsiteY1" fmla="*/ 1085 h 21488"/>
              <a:gd name="connsiteX2" fmla="*/ 1234 w 21473"/>
              <a:gd name="connsiteY2" fmla="*/ 5155 h 21488"/>
              <a:gd name="connsiteX3" fmla="*/ 50 w 21473"/>
              <a:gd name="connsiteY3" fmla="*/ 9089 h 21488"/>
              <a:gd name="connsiteX4" fmla="*/ 367 w 21473"/>
              <a:gd name="connsiteY4" fmla="*/ 13412 h 21488"/>
              <a:gd name="connsiteX5" fmla="*/ 1961 w 21473"/>
              <a:gd name="connsiteY5" fmla="*/ 16736 h 21488"/>
              <a:gd name="connsiteX6" fmla="*/ 6196 w 21473"/>
              <a:gd name="connsiteY6" fmla="*/ 17438 h 21488"/>
              <a:gd name="connsiteX7" fmla="*/ 4711 w 21473"/>
              <a:gd name="connsiteY7" fmla="*/ 20041 h 21488"/>
              <a:gd name="connsiteX8" fmla="*/ 7376 w 21473"/>
              <a:gd name="connsiteY8" fmla="*/ 21174 h 21488"/>
              <a:gd name="connsiteX9" fmla="*/ 10206 w 21473"/>
              <a:gd name="connsiteY9" fmla="*/ 21487 h 21488"/>
              <a:gd name="connsiteX10" fmla="*/ 16122 w 21473"/>
              <a:gd name="connsiteY10" fmla="*/ 19852 h 21488"/>
              <a:gd name="connsiteX11" fmla="*/ 20204 w 21473"/>
              <a:gd name="connsiteY11" fmla="*/ 15632 h 21488"/>
              <a:gd name="connsiteX12" fmla="*/ 21218 w 21473"/>
              <a:gd name="connsiteY12" fmla="*/ 12780 h 21488"/>
              <a:gd name="connsiteX13" fmla="*/ 21451 w 21473"/>
              <a:gd name="connsiteY13" fmla="*/ 9614 h 21488"/>
              <a:gd name="connsiteX14" fmla="*/ 18414 w 21473"/>
              <a:gd name="connsiteY14" fmla="*/ 2817 h 21488"/>
              <a:gd name="connsiteX15" fmla="*/ 15213 w 21473"/>
              <a:gd name="connsiteY15" fmla="*/ 859 h 21488"/>
              <a:gd name="connsiteX16" fmla="*/ 11479 w 21473"/>
              <a:gd name="connsiteY16" fmla="*/ 23 h 21488"/>
              <a:gd name="connsiteX0" fmla="*/ 11479 w 21473"/>
              <a:gd name="connsiteY0" fmla="*/ 23 h 21488"/>
              <a:gd name="connsiteX1" fmla="*/ 5717 w 21473"/>
              <a:gd name="connsiteY1" fmla="*/ 1085 h 21488"/>
              <a:gd name="connsiteX2" fmla="*/ 1234 w 21473"/>
              <a:gd name="connsiteY2" fmla="*/ 5155 h 21488"/>
              <a:gd name="connsiteX3" fmla="*/ 50 w 21473"/>
              <a:gd name="connsiteY3" fmla="*/ 9089 h 21488"/>
              <a:gd name="connsiteX4" fmla="*/ 367 w 21473"/>
              <a:gd name="connsiteY4" fmla="*/ 13412 h 21488"/>
              <a:gd name="connsiteX5" fmla="*/ 1961 w 21473"/>
              <a:gd name="connsiteY5" fmla="*/ 16736 h 21488"/>
              <a:gd name="connsiteX6" fmla="*/ 6196 w 21473"/>
              <a:gd name="connsiteY6" fmla="*/ 17438 h 21488"/>
              <a:gd name="connsiteX7" fmla="*/ 4711 w 21473"/>
              <a:gd name="connsiteY7" fmla="*/ 20041 h 21488"/>
              <a:gd name="connsiteX8" fmla="*/ 7376 w 21473"/>
              <a:gd name="connsiteY8" fmla="*/ 21174 h 21488"/>
              <a:gd name="connsiteX9" fmla="*/ 10206 w 21473"/>
              <a:gd name="connsiteY9" fmla="*/ 21487 h 21488"/>
              <a:gd name="connsiteX10" fmla="*/ 16122 w 21473"/>
              <a:gd name="connsiteY10" fmla="*/ 19852 h 21488"/>
              <a:gd name="connsiteX11" fmla="*/ 20204 w 21473"/>
              <a:gd name="connsiteY11" fmla="*/ 15632 h 21488"/>
              <a:gd name="connsiteX12" fmla="*/ 21218 w 21473"/>
              <a:gd name="connsiteY12" fmla="*/ 12780 h 21488"/>
              <a:gd name="connsiteX13" fmla="*/ 21451 w 21473"/>
              <a:gd name="connsiteY13" fmla="*/ 9614 h 21488"/>
              <a:gd name="connsiteX14" fmla="*/ 18414 w 21473"/>
              <a:gd name="connsiteY14" fmla="*/ 2817 h 21488"/>
              <a:gd name="connsiteX15" fmla="*/ 15213 w 21473"/>
              <a:gd name="connsiteY15" fmla="*/ 859 h 21488"/>
              <a:gd name="connsiteX16" fmla="*/ 11479 w 21473"/>
              <a:gd name="connsiteY16" fmla="*/ 23 h 21488"/>
              <a:gd name="connsiteX0" fmla="*/ 11479 w 21473"/>
              <a:gd name="connsiteY0" fmla="*/ 23 h 21488"/>
              <a:gd name="connsiteX1" fmla="*/ 5717 w 21473"/>
              <a:gd name="connsiteY1" fmla="*/ 1085 h 21488"/>
              <a:gd name="connsiteX2" fmla="*/ 1234 w 21473"/>
              <a:gd name="connsiteY2" fmla="*/ 5155 h 21488"/>
              <a:gd name="connsiteX3" fmla="*/ 50 w 21473"/>
              <a:gd name="connsiteY3" fmla="*/ 9089 h 21488"/>
              <a:gd name="connsiteX4" fmla="*/ 367 w 21473"/>
              <a:gd name="connsiteY4" fmla="*/ 13412 h 21488"/>
              <a:gd name="connsiteX5" fmla="*/ 1961 w 21473"/>
              <a:gd name="connsiteY5" fmla="*/ 16736 h 21488"/>
              <a:gd name="connsiteX6" fmla="*/ 6196 w 21473"/>
              <a:gd name="connsiteY6" fmla="*/ 17438 h 21488"/>
              <a:gd name="connsiteX7" fmla="*/ 4711 w 21473"/>
              <a:gd name="connsiteY7" fmla="*/ 20041 h 21488"/>
              <a:gd name="connsiteX8" fmla="*/ 7376 w 21473"/>
              <a:gd name="connsiteY8" fmla="*/ 21174 h 21488"/>
              <a:gd name="connsiteX9" fmla="*/ 10206 w 21473"/>
              <a:gd name="connsiteY9" fmla="*/ 21487 h 21488"/>
              <a:gd name="connsiteX10" fmla="*/ 16122 w 21473"/>
              <a:gd name="connsiteY10" fmla="*/ 19852 h 21488"/>
              <a:gd name="connsiteX11" fmla="*/ 20204 w 21473"/>
              <a:gd name="connsiteY11" fmla="*/ 15632 h 21488"/>
              <a:gd name="connsiteX12" fmla="*/ 21218 w 21473"/>
              <a:gd name="connsiteY12" fmla="*/ 12780 h 21488"/>
              <a:gd name="connsiteX13" fmla="*/ 21451 w 21473"/>
              <a:gd name="connsiteY13" fmla="*/ 9614 h 21488"/>
              <a:gd name="connsiteX14" fmla="*/ 18414 w 21473"/>
              <a:gd name="connsiteY14" fmla="*/ 2817 h 21488"/>
              <a:gd name="connsiteX15" fmla="*/ 15213 w 21473"/>
              <a:gd name="connsiteY15" fmla="*/ 859 h 21488"/>
              <a:gd name="connsiteX16" fmla="*/ 11479 w 21473"/>
              <a:gd name="connsiteY16" fmla="*/ 23 h 21488"/>
              <a:gd name="connsiteX0" fmla="*/ 11479 w 21473"/>
              <a:gd name="connsiteY0" fmla="*/ 23 h 21488"/>
              <a:gd name="connsiteX1" fmla="*/ 5717 w 21473"/>
              <a:gd name="connsiteY1" fmla="*/ 1085 h 21488"/>
              <a:gd name="connsiteX2" fmla="*/ 1234 w 21473"/>
              <a:gd name="connsiteY2" fmla="*/ 5155 h 21488"/>
              <a:gd name="connsiteX3" fmla="*/ 50 w 21473"/>
              <a:gd name="connsiteY3" fmla="*/ 9089 h 21488"/>
              <a:gd name="connsiteX4" fmla="*/ 367 w 21473"/>
              <a:gd name="connsiteY4" fmla="*/ 13412 h 21488"/>
              <a:gd name="connsiteX5" fmla="*/ 1961 w 21473"/>
              <a:gd name="connsiteY5" fmla="*/ 16736 h 21488"/>
              <a:gd name="connsiteX6" fmla="*/ 6196 w 21473"/>
              <a:gd name="connsiteY6" fmla="*/ 17438 h 21488"/>
              <a:gd name="connsiteX7" fmla="*/ 4711 w 21473"/>
              <a:gd name="connsiteY7" fmla="*/ 20041 h 21488"/>
              <a:gd name="connsiteX8" fmla="*/ 7376 w 21473"/>
              <a:gd name="connsiteY8" fmla="*/ 21174 h 21488"/>
              <a:gd name="connsiteX9" fmla="*/ 10206 w 21473"/>
              <a:gd name="connsiteY9" fmla="*/ 21487 h 21488"/>
              <a:gd name="connsiteX10" fmla="*/ 16122 w 21473"/>
              <a:gd name="connsiteY10" fmla="*/ 19852 h 21488"/>
              <a:gd name="connsiteX11" fmla="*/ 20204 w 21473"/>
              <a:gd name="connsiteY11" fmla="*/ 15632 h 21488"/>
              <a:gd name="connsiteX12" fmla="*/ 21218 w 21473"/>
              <a:gd name="connsiteY12" fmla="*/ 12780 h 21488"/>
              <a:gd name="connsiteX13" fmla="*/ 21451 w 21473"/>
              <a:gd name="connsiteY13" fmla="*/ 9614 h 21488"/>
              <a:gd name="connsiteX14" fmla="*/ 18414 w 21473"/>
              <a:gd name="connsiteY14" fmla="*/ 2817 h 21488"/>
              <a:gd name="connsiteX15" fmla="*/ 15213 w 21473"/>
              <a:gd name="connsiteY15" fmla="*/ 859 h 21488"/>
              <a:gd name="connsiteX16" fmla="*/ 11479 w 21473"/>
              <a:gd name="connsiteY16" fmla="*/ 23 h 21488"/>
              <a:gd name="connsiteX0" fmla="*/ 11479 w 21473"/>
              <a:gd name="connsiteY0" fmla="*/ 23 h 21568"/>
              <a:gd name="connsiteX1" fmla="*/ 5717 w 21473"/>
              <a:gd name="connsiteY1" fmla="*/ 1085 h 21568"/>
              <a:gd name="connsiteX2" fmla="*/ 1234 w 21473"/>
              <a:gd name="connsiteY2" fmla="*/ 5155 h 21568"/>
              <a:gd name="connsiteX3" fmla="*/ 50 w 21473"/>
              <a:gd name="connsiteY3" fmla="*/ 9089 h 21568"/>
              <a:gd name="connsiteX4" fmla="*/ 367 w 21473"/>
              <a:gd name="connsiteY4" fmla="*/ 13412 h 21568"/>
              <a:gd name="connsiteX5" fmla="*/ 1961 w 21473"/>
              <a:gd name="connsiteY5" fmla="*/ 16736 h 21568"/>
              <a:gd name="connsiteX6" fmla="*/ 6196 w 21473"/>
              <a:gd name="connsiteY6" fmla="*/ 17438 h 21568"/>
              <a:gd name="connsiteX7" fmla="*/ 8646 w 21473"/>
              <a:gd name="connsiteY7" fmla="*/ 17760 h 21568"/>
              <a:gd name="connsiteX8" fmla="*/ 7376 w 21473"/>
              <a:gd name="connsiteY8" fmla="*/ 21174 h 21568"/>
              <a:gd name="connsiteX9" fmla="*/ 10206 w 21473"/>
              <a:gd name="connsiteY9" fmla="*/ 21487 h 21568"/>
              <a:gd name="connsiteX10" fmla="*/ 16122 w 21473"/>
              <a:gd name="connsiteY10" fmla="*/ 19852 h 21568"/>
              <a:gd name="connsiteX11" fmla="*/ 20204 w 21473"/>
              <a:gd name="connsiteY11" fmla="*/ 15632 h 21568"/>
              <a:gd name="connsiteX12" fmla="*/ 21218 w 21473"/>
              <a:gd name="connsiteY12" fmla="*/ 12780 h 21568"/>
              <a:gd name="connsiteX13" fmla="*/ 21451 w 21473"/>
              <a:gd name="connsiteY13" fmla="*/ 9614 h 21568"/>
              <a:gd name="connsiteX14" fmla="*/ 18414 w 21473"/>
              <a:gd name="connsiteY14" fmla="*/ 2817 h 21568"/>
              <a:gd name="connsiteX15" fmla="*/ 15213 w 21473"/>
              <a:gd name="connsiteY15" fmla="*/ 859 h 21568"/>
              <a:gd name="connsiteX16" fmla="*/ 11479 w 21473"/>
              <a:gd name="connsiteY16" fmla="*/ 23 h 21568"/>
              <a:gd name="connsiteX0" fmla="*/ 11479 w 21473"/>
              <a:gd name="connsiteY0" fmla="*/ 23 h 21548"/>
              <a:gd name="connsiteX1" fmla="*/ 5717 w 21473"/>
              <a:gd name="connsiteY1" fmla="*/ 1085 h 21548"/>
              <a:gd name="connsiteX2" fmla="*/ 1234 w 21473"/>
              <a:gd name="connsiteY2" fmla="*/ 5155 h 21548"/>
              <a:gd name="connsiteX3" fmla="*/ 50 w 21473"/>
              <a:gd name="connsiteY3" fmla="*/ 9089 h 21548"/>
              <a:gd name="connsiteX4" fmla="*/ 367 w 21473"/>
              <a:gd name="connsiteY4" fmla="*/ 13412 h 21548"/>
              <a:gd name="connsiteX5" fmla="*/ 1961 w 21473"/>
              <a:gd name="connsiteY5" fmla="*/ 16736 h 21548"/>
              <a:gd name="connsiteX6" fmla="*/ 6196 w 21473"/>
              <a:gd name="connsiteY6" fmla="*/ 17438 h 21548"/>
              <a:gd name="connsiteX7" fmla="*/ 8646 w 21473"/>
              <a:gd name="connsiteY7" fmla="*/ 17760 h 21548"/>
              <a:gd name="connsiteX8" fmla="*/ 11014 w 21473"/>
              <a:gd name="connsiteY8" fmla="*/ 18044 h 21548"/>
              <a:gd name="connsiteX9" fmla="*/ 10206 w 21473"/>
              <a:gd name="connsiteY9" fmla="*/ 21487 h 21548"/>
              <a:gd name="connsiteX10" fmla="*/ 16122 w 21473"/>
              <a:gd name="connsiteY10" fmla="*/ 19852 h 21548"/>
              <a:gd name="connsiteX11" fmla="*/ 20204 w 21473"/>
              <a:gd name="connsiteY11" fmla="*/ 15632 h 21548"/>
              <a:gd name="connsiteX12" fmla="*/ 21218 w 21473"/>
              <a:gd name="connsiteY12" fmla="*/ 12780 h 21548"/>
              <a:gd name="connsiteX13" fmla="*/ 21451 w 21473"/>
              <a:gd name="connsiteY13" fmla="*/ 9614 h 21548"/>
              <a:gd name="connsiteX14" fmla="*/ 18414 w 21473"/>
              <a:gd name="connsiteY14" fmla="*/ 2817 h 21548"/>
              <a:gd name="connsiteX15" fmla="*/ 15213 w 21473"/>
              <a:gd name="connsiteY15" fmla="*/ 859 h 21548"/>
              <a:gd name="connsiteX16" fmla="*/ 11479 w 21473"/>
              <a:gd name="connsiteY16" fmla="*/ 23 h 21548"/>
              <a:gd name="connsiteX0" fmla="*/ 11479 w 21473"/>
              <a:gd name="connsiteY0" fmla="*/ 23 h 19865"/>
              <a:gd name="connsiteX1" fmla="*/ 5717 w 21473"/>
              <a:gd name="connsiteY1" fmla="*/ 1085 h 19865"/>
              <a:gd name="connsiteX2" fmla="*/ 1234 w 21473"/>
              <a:gd name="connsiteY2" fmla="*/ 5155 h 19865"/>
              <a:gd name="connsiteX3" fmla="*/ 50 w 21473"/>
              <a:gd name="connsiteY3" fmla="*/ 9089 h 19865"/>
              <a:gd name="connsiteX4" fmla="*/ 367 w 21473"/>
              <a:gd name="connsiteY4" fmla="*/ 13412 h 19865"/>
              <a:gd name="connsiteX5" fmla="*/ 1961 w 21473"/>
              <a:gd name="connsiteY5" fmla="*/ 16736 h 19865"/>
              <a:gd name="connsiteX6" fmla="*/ 6196 w 21473"/>
              <a:gd name="connsiteY6" fmla="*/ 17438 h 19865"/>
              <a:gd name="connsiteX7" fmla="*/ 8646 w 21473"/>
              <a:gd name="connsiteY7" fmla="*/ 17760 h 19865"/>
              <a:gd name="connsiteX8" fmla="*/ 11014 w 21473"/>
              <a:gd name="connsiteY8" fmla="*/ 18044 h 19865"/>
              <a:gd name="connsiteX9" fmla="*/ 13912 w 21473"/>
              <a:gd name="connsiteY9" fmla="*/ 17031 h 19865"/>
              <a:gd name="connsiteX10" fmla="*/ 16122 w 21473"/>
              <a:gd name="connsiteY10" fmla="*/ 19852 h 19865"/>
              <a:gd name="connsiteX11" fmla="*/ 20204 w 21473"/>
              <a:gd name="connsiteY11" fmla="*/ 15632 h 19865"/>
              <a:gd name="connsiteX12" fmla="*/ 21218 w 21473"/>
              <a:gd name="connsiteY12" fmla="*/ 12780 h 19865"/>
              <a:gd name="connsiteX13" fmla="*/ 21451 w 21473"/>
              <a:gd name="connsiteY13" fmla="*/ 9614 h 19865"/>
              <a:gd name="connsiteX14" fmla="*/ 18414 w 21473"/>
              <a:gd name="connsiteY14" fmla="*/ 2817 h 19865"/>
              <a:gd name="connsiteX15" fmla="*/ 15213 w 21473"/>
              <a:gd name="connsiteY15" fmla="*/ 859 h 19865"/>
              <a:gd name="connsiteX16" fmla="*/ 11479 w 21473"/>
              <a:gd name="connsiteY16" fmla="*/ 23 h 19865"/>
              <a:gd name="connsiteX0" fmla="*/ 11479 w 21473"/>
              <a:gd name="connsiteY0" fmla="*/ 23 h 18072"/>
              <a:gd name="connsiteX1" fmla="*/ 5717 w 21473"/>
              <a:gd name="connsiteY1" fmla="*/ 1085 h 18072"/>
              <a:gd name="connsiteX2" fmla="*/ 1234 w 21473"/>
              <a:gd name="connsiteY2" fmla="*/ 5155 h 18072"/>
              <a:gd name="connsiteX3" fmla="*/ 50 w 21473"/>
              <a:gd name="connsiteY3" fmla="*/ 9089 h 18072"/>
              <a:gd name="connsiteX4" fmla="*/ 367 w 21473"/>
              <a:gd name="connsiteY4" fmla="*/ 13412 h 18072"/>
              <a:gd name="connsiteX5" fmla="*/ 1961 w 21473"/>
              <a:gd name="connsiteY5" fmla="*/ 16736 h 18072"/>
              <a:gd name="connsiteX6" fmla="*/ 6196 w 21473"/>
              <a:gd name="connsiteY6" fmla="*/ 17438 h 18072"/>
              <a:gd name="connsiteX7" fmla="*/ 8646 w 21473"/>
              <a:gd name="connsiteY7" fmla="*/ 17760 h 18072"/>
              <a:gd name="connsiteX8" fmla="*/ 11014 w 21473"/>
              <a:gd name="connsiteY8" fmla="*/ 18044 h 18072"/>
              <a:gd name="connsiteX9" fmla="*/ 13912 w 21473"/>
              <a:gd name="connsiteY9" fmla="*/ 17031 h 18072"/>
              <a:gd name="connsiteX10" fmla="*/ 15619 w 21473"/>
              <a:gd name="connsiteY10" fmla="*/ 16855 h 18072"/>
              <a:gd name="connsiteX11" fmla="*/ 20204 w 21473"/>
              <a:gd name="connsiteY11" fmla="*/ 15632 h 18072"/>
              <a:gd name="connsiteX12" fmla="*/ 21218 w 21473"/>
              <a:gd name="connsiteY12" fmla="*/ 12780 h 18072"/>
              <a:gd name="connsiteX13" fmla="*/ 21451 w 21473"/>
              <a:gd name="connsiteY13" fmla="*/ 9614 h 18072"/>
              <a:gd name="connsiteX14" fmla="*/ 18414 w 21473"/>
              <a:gd name="connsiteY14" fmla="*/ 2817 h 18072"/>
              <a:gd name="connsiteX15" fmla="*/ 15213 w 21473"/>
              <a:gd name="connsiteY15" fmla="*/ 859 h 18072"/>
              <a:gd name="connsiteX16" fmla="*/ 11479 w 21473"/>
              <a:gd name="connsiteY16" fmla="*/ 23 h 18072"/>
              <a:gd name="connsiteX0" fmla="*/ 11479 w 21630"/>
              <a:gd name="connsiteY0" fmla="*/ 23 h 18072"/>
              <a:gd name="connsiteX1" fmla="*/ 5717 w 21630"/>
              <a:gd name="connsiteY1" fmla="*/ 1085 h 18072"/>
              <a:gd name="connsiteX2" fmla="*/ 1234 w 21630"/>
              <a:gd name="connsiteY2" fmla="*/ 5155 h 18072"/>
              <a:gd name="connsiteX3" fmla="*/ 50 w 21630"/>
              <a:gd name="connsiteY3" fmla="*/ 9089 h 18072"/>
              <a:gd name="connsiteX4" fmla="*/ 367 w 21630"/>
              <a:gd name="connsiteY4" fmla="*/ 13412 h 18072"/>
              <a:gd name="connsiteX5" fmla="*/ 1961 w 21630"/>
              <a:gd name="connsiteY5" fmla="*/ 16736 h 18072"/>
              <a:gd name="connsiteX6" fmla="*/ 6196 w 21630"/>
              <a:gd name="connsiteY6" fmla="*/ 17438 h 18072"/>
              <a:gd name="connsiteX7" fmla="*/ 8646 w 21630"/>
              <a:gd name="connsiteY7" fmla="*/ 17760 h 18072"/>
              <a:gd name="connsiteX8" fmla="*/ 11014 w 21630"/>
              <a:gd name="connsiteY8" fmla="*/ 18044 h 18072"/>
              <a:gd name="connsiteX9" fmla="*/ 13912 w 21630"/>
              <a:gd name="connsiteY9" fmla="*/ 17031 h 18072"/>
              <a:gd name="connsiteX10" fmla="*/ 15619 w 21630"/>
              <a:gd name="connsiteY10" fmla="*/ 16855 h 18072"/>
              <a:gd name="connsiteX11" fmla="*/ 17184 w 21630"/>
              <a:gd name="connsiteY11" fmla="*/ 14677 h 18072"/>
              <a:gd name="connsiteX12" fmla="*/ 21218 w 21630"/>
              <a:gd name="connsiteY12" fmla="*/ 12780 h 18072"/>
              <a:gd name="connsiteX13" fmla="*/ 21451 w 21630"/>
              <a:gd name="connsiteY13" fmla="*/ 9614 h 18072"/>
              <a:gd name="connsiteX14" fmla="*/ 18414 w 21630"/>
              <a:gd name="connsiteY14" fmla="*/ 2817 h 18072"/>
              <a:gd name="connsiteX15" fmla="*/ 15213 w 21630"/>
              <a:gd name="connsiteY15" fmla="*/ 859 h 18072"/>
              <a:gd name="connsiteX16" fmla="*/ 11479 w 21630"/>
              <a:gd name="connsiteY16" fmla="*/ 23 h 18072"/>
              <a:gd name="connsiteX0" fmla="*/ 11479 w 21511"/>
              <a:gd name="connsiteY0" fmla="*/ 23 h 18072"/>
              <a:gd name="connsiteX1" fmla="*/ 5717 w 21511"/>
              <a:gd name="connsiteY1" fmla="*/ 1085 h 18072"/>
              <a:gd name="connsiteX2" fmla="*/ 1234 w 21511"/>
              <a:gd name="connsiteY2" fmla="*/ 5155 h 18072"/>
              <a:gd name="connsiteX3" fmla="*/ 50 w 21511"/>
              <a:gd name="connsiteY3" fmla="*/ 9089 h 18072"/>
              <a:gd name="connsiteX4" fmla="*/ 367 w 21511"/>
              <a:gd name="connsiteY4" fmla="*/ 13412 h 18072"/>
              <a:gd name="connsiteX5" fmla="*/ 1961 w 21511"/>
              <a:gd name="connsiteY5" fmla="*/ 16736 h 18072"/>
              <a:gd name="connsiteX6" fmla="*/ 6196 w 21511"/>
              <a:gd name="connsiteY6" fmla="*/ 17438 h 18072"/>
              <a:gd name="connsiteX7" fmla="*/ 8646 w 21511"/>
              <a:gd name="connsiteY7" fmla="*/ 17760 h 18072"/>
              <a:gd name="connsiteX8" fmla="*/ 11014 w 21511"/>
              <a:gd name="connsiteY8" fmla="*/ 18044 h 18072"/>
              <a:gd name="connsiteX9" fmla="*/ 13912 w 21511"/>
              <a:gd name="connsiteY9" fmla="*/ 17031 h 18072"/>
              <a:gd name="connsiteX10" fmla="*/ 15619 w 21511"/>
              <a:gd name="connsiteY10" fmla="*/ 16855 h 18072"/>
              <a:gd name="connsiteX11" fmla="*/ 19106 w 21511"/>
              <a:gd name="connsiteY11" fmla="*/ 15924 h 18072"/>
              <a:gd name="connsiteX12" fmla="*/ 21218 w 21511"/>
              <a:gd name="connsiteY12" fmla="*/ 12780 h 18072"/>
              <a:gd name="connsiteX13" fmla="*/ 21451 w 21511"/>
              <a:gd name="connsiteY13" fmla="*/ 9614 h 18072"/>
              <a:gd name="connsiteX14" fmla="*/ 18414 w 21511"/>
              <a:gd name="connsiteY14" fmla="*/ 2817 h 18072"/>
              <a:gd name="connsiteX15" fmla="*/ 15213 w 21511"/>
              <a:gd name="connsiteY15" fmla="*/ 859 h 18072"/>
              <a:gd name="connsiteX16" fmla="*/ 11479 w 21511"/>
              <a:gd name="connsiteY16" fmla="*/ 23 h 18072"/>
              <a:gd name="connsiteX0" fmla="*/ 11479 w 21511"/>
              <a:gd name="connsiteY0" fmla="*/ 23 h 18072"/>
              <a:gd name="connsiteX1" fmla="*/ 5717 w 21511"/>
              <a:gd name="connsiteY1" fmla="*/ 1085 h 18072"/>
              <a:gd name="connsiteX2" fmla="*/ 1234 w 21511"/>
              <a:gd name="connsiteY2" fmla="*/ 5155 h 18072"/>
              <a:gd name="connsiteX3" fmla="*/ 50 w 21511"/>
              <a:gd name="connsiteY3" fmla="*/ 9089 h 18072"/>
              <a:gd name="connsiteX4" fmla="*/ 367 w 21511"/>
              <a:gd name="connsiteY4" fmla="*/ 13412 h 18072"/>
              <a:gd name="connsiteX5" fmla="*/ 1961 w 21511"/>
              <a:gd name="connsiteY5" fmla="*/ 16736 h 18072"/>
              <a:gd name="connsiteX6" fmla="*/ 6196 w 21511"/>
              <a:gd name="connsiteY6" fmla="*/ 17438 h 18072"/>
              <a:gd name="connsiteX7" fmla="*/ 8646 w 21511"/>
              <a:gd name="connsiteY7" fmla="*/ 17760 h 18072"/>
              <a:gd name="connsiteX8" fmla="*/ 11014 w 21511"/>
              <a:gd name="connsiteY8" fmla="*/ 18044 h 18072"/>
              <a:gd name="connsiteX9" fmla="*/ 13912 w 21511"/>
              <a:gd name="connsiteY9" fmla="*/ 17031 h 18072"/>
              <a:gd name="connsiteX10" fmla="*/ 15619 w 21511"/>
              <a:gd name="connsiteY10" fmla="*/ 16855 h 18072"/>
              <a:gd name="connsiteX11" fmla="*/ 19106 w 21511"/>
              <a:gd name="connsiteY11" fmla="*/ 15924 h 18072"/>
              <a:gd name="connsiteX12" fmla="*/ 21218 w 21511"/>
              <a:gd name="connsiteY12" fmla="*/ 12780 h 18072"/>
              <a:gd name="connsiteX13" fmla="*/ 21451 w 21511"/>
              <a:gd name="connsiteY13" fmla="*/ 9614 h 18072"/>
              <a:gd name="connsiteX14" fmla="*/ 18414 w 21511"/>
              <a:gd name="connsiteY14" fmla="*/ 2817 h 18072"/>
              <a:gd name="connsiteX15" fmla="*/ 15213 w 21511"/>
              <a:gd name="connsiteY15" fmla="*/ 859 h 18072"/>
              <a:gd name="connsiteX16" fmla="*/ 11479 w 21511"/>
              <a:gd name="connsiteY16" fmla="*/ 23 h 18072"/>
              <a:gd name="connsiteX0" fmla="*/ 11479 w 21511"/>
              <a:gd name="connsiteY0" fmla="*/ 23 h 18072"/>
              <a:gd name="connsiteX1" fmla="*/ 5717 w 21511"/>
              <a:gd name="connsiteY1" fmla="*/ 1085 h 18072"/>
              <a:gd name="connsiteX2" fmla="*/ 1234 w 21511"/>
              <a:gd name="connsiteY2" fmla="*/ 5155 h 18072"/>
              <a:gd name="connsiteX3" fmla="*/ 50 w 21511"/>
              <a:gd name="connsiteY3" fmla="*/ 9089 h 18072"/>
              <a:gd name="connsiteX4" fmla="*/ 367 w 21511"/>
              <a:gd name="connsiteY4" fmla="*/ 13412 h 18072"/>
              <a:gd name="connsiteX5" fmla="*/ 1961 w 21511"/>
              <a:gd name="connsiteY5" fmla="*/ 16736 h 18072"/>
              <a:gd name="connsiteX6" fmla="*/ 6196 w 21511"/>
              <a:gd name="connsiteY6" fmla="*/ 17438 h 18072"/>
              <a:gd name="connsiteX7" fmla="*/ 8646 w 21511"/>
              <a:gd name="connsiteY7" fmla="*/ 17760 h 18072"/>
              <a:gd name="connsiteX8" fmla="*/ 11014 w 21511"/>
              <a:gd name="connsiteY8" fmla="*/ 18044 h 18072"/>
              <a:gd name="connsiteX9" fmla="*/ 13912 w 21511"/>
              <a:gd name="connsiteY9" fmla="*/ 17031 h 18072"/>
              <a:gd name="connsiteX10" fmla="*/ 15619 w 21511"/>
              <a:gd name="connsiteY10" fmla="*/ 16855 h 18072"/>
              <a:gd name="connsiteX11" fmla="*/ 19106 w 21511"/>
              <a:gd name="connsiteY11" fmla="*/ 15924 h 18072"/>
              <a:gd name="connsiteX12" fmla="*/ 21218 w 21511"/>
              <a:gd name="connsiteY12" fmla="*/ 12780 h 18072"/>
              <a:gd name="connsiteX13" fmla="*/ 21451 w 21511"/>
              <a:gd name="connsiteY13" fmla="*/ 9614 h 18072"/>
              <a:gd name="connsiteX14" fmla="*/ 18414 w 21511"/>
              <a:gd name="connsiteY14" fmla="*/ 2817 h 18072"/>
              <a:gd name="connsiteX15" fmla="*/ 15213 w 21511"/>
              <a:gd name="connsiteY15" fmla="*/ 859 h 18072"/>
              <a:gd name="connsiteX16" fmla="*/ 11479 w 21511"/>
              <a:gd name="connsiteY16" fmla="*/ 23 h 18072"/>
              <a:gd name="connsiteX0" fmla="*/ 11479 w 21247"/>
              <a:gd name="connsiteY0" fmla="*/ 23 h 18072"/>
              <a:gd name="connsiteX1" fmla="*/ 5717 w 21247"/>
              <a:gd name="connsiteY1" fmla="*/ 1085 h 18072"/>
              <a:gd name="connsiteX2" fmla="*/ 1234 w 21247"/>
              <a:gd name="connsiteY2" fmla="*/ 5155 h 18072"/>
              <a:gd name="connsiteX3" fmla="*/ 50 w 21247"/>
              <a:gd name="connsiteY3" fmla="*/ 9089 h 18072"/>
              <a:gd name="connsiteX4" fmla="*/ 367 w 21247"/>
              <a:gd name="connsiteY4" fmla="*/ 13412 h 18072"/>
              <a:gd name="connsiteX5" fmla="*/ 1961 w 21247"/>
              <a:gd name="connsiteY5" fmla="*/ 16736 h 18072"/>
              <a:gd name="connsiteX6" fmla="*/ 6196 w 21247"/>
              <a:gd name="connsiteY6" fmla="*/ 17438 h 18072"/>
              <a:gd name="connsiteX7" fmla="*/ 8646 w 21247"/>
              <a:gd name="connsiteY7" fmla="*/ 17760 h 18072"/>
              <a:gd name="connsiteX8" fmla="*/ 11014 w 21247"/>
              <a:gd name="connsiteY8" fmla="*/ 18044 h 18072"/>
              <a:gd name="connsiteX9" fmla="*/ 13912 w 21247"/>
              <a:gd name="connsiteY9" fmla="*/ 17031 h 18072"/>
              <a:gd name="connsiteX10" fmla="*/ 15619 w 21247"/>
              <a:gd name="connsiteY10" fmla="*/ 16855 h 18072"/>
              <a:gd name="connsiteX11" fmla="*/ 19106 w 21247"/>
              <a:gd name="connsiteY11" fmla="*/ 15924 h 18072"/>
              <a:gd name="connsiteX12" fmla="*/ 21218 w 21247"/>
              <a:gd name="connsiteY12" fmla="*/ 12780 h 18072"/>
              <a:gd name="connsiteX13" fmla="*/ 20376 w 21247"/>
              <a:gd name="connsiteY13" fmla="*/ 9534 h 18072"/>
              <a:gd name="connsiteX14" fmla="*/ 18414 w 21247"/>
              <a:gd name="connsiteY14" fmla="*/ 2817 h 18072"/>
              <a:gd name="connsiteX15" fmla="*/ 15213 w 21247"/>
              <a:gd name="connsiteY15" fmla="*/ 859 h 18072"/>
              <a:gd name="connsiteX16" fmla="*/ 11479 w 21247"/>
              <a:gd name="connsiteY16" fmla="*/ 23 h 18072"/>
              <a:gd name="connsiteX0" fmla="*/ 11479 w 21247"/>
              <a:gd name="connsiteY0" fmla="*/ 23 h 18072"/>
              <a:gd name="connsiteX1" fmla="*/ 5717 w 21247"/>
              <a:gd name="connsiteY1" fmla="*/ 1085 h 18072"/>
              <a:gd name="connsiteX2" fmla="*/ 1234 w 21247"/>
              <a:gd name="connsiteY2" fmla="*/ 5155 h 18072"/>
              <a:gd name="connsiteX3" fmla="*/ 50 w 21247"/>
              <a:gd name="connsiteY3" fmla="*/ 9089 h 18072"/>
              <a:gd name="connsiteX4" fmla="*/ 367 w 21247"/>
              <a:gd name="connsiteY4" fmla="*/ 13412 h 18072"/>
              <a:gd name="connsiteX5" fmla="*/ 1961 w 21247"/>
              <a:gd name="connsiteY5" fmla="*/ 16736 h 18072"/>
              <a:gd name="connsiteX6" fmla="*/ 6196 w 21247"/>
              <a:gd name="connsiteY6" fmla="*/ 17438 h 18072"/>
              <a:gd name="connsiteX7" fmla="*/ 8646 w 21247"/>
              <a:gd name="connsiteY7" fmla="*/ 17760 h 18072"/>
              <a:gd name="connsiteX8" fmla="*/ 11014 w 21247"/>
              <a:gd name="connsiteY8" fmla="*/ 18044 h 18072"/>
              <a:gd name="connsiteX9" fmla="*/ 13912 w 21247"/>
              <a:gd name="connsiteY9" fmla="*/ 17031 h 18072"/>
              <a:gd name="connsiteX10" fmla="*/ 15619 w 21247"/>
              <a:gd name="connsiteY10" fmla="*/ 16855 h 18072"/>
              <a:gd name="connsiteX11" fmla="*/ 19106 w 21247"/>
              <a:gd name="connsiteY11" fmla="*/ 15924 h 18072"/>
              <a:gd name="connsiteX12" fmla="*/ 21218 w 21247"/>
              <a:gd name="connsiteY12" fmla="*/ 12780 h 18072"/>
              <a:gd name="connsiteX13" fmla="*/ 20376 w 21247"/>
              <a:gd name="connsiteY13" fmla="*/ 9534 h 18072"/>
              <a:gd name="connsiteX14" fmla="*/ 18414 w 21247"/>
              <a:gd name="connsiteY14" fmla="*/ 2817 h 18072"/>
              <a:gd name="connsiteX15" fmla="*/ 15213 w 21247"/>
              <a:gd name="connsiteY15" fmla="*/ 859 h 18072"/>
              <a:gd name="connsiteX16" fmla="*/ 11479 w 21247"/>
              <a:gd name="connsiteY16" fmla="*/ 23 h 18072"/>
              <a:gd name="connsiteX0" fmla="*/ 11479 w 21218"/>
              <a:gd name="connsiteY0" fmla="*/ 23 h 18072"/>
              <a:gd name="connsiteX1" fmla="*/ 5717 w 21218"/>
              <a:gd name="connsiteY1" fmla="*/ 1085 h 18072"/>
              <a:gd name="connsiteX2" fmla="*/ 1234 w 21218"/>
              <a:gd name="connsiteY2" fmla="*/ 5155 h 18072"/>
              <a:gd name="connsiteX3" fmla="*/ 50 w 21218"/>
              <a:gd name="connsiteY3" fmla="*/ 9089 h 18072"/>
              <a:gd name="connsiteX4" fmla="*/ 367 w 21218"/>
              <a:gd name="connsiteY4" fmla="*/ 13412 h 18072"/>
              <a:gd name="connsiteX5" fmla="*/ 1961 w 21218"/>
              <a:gd name="connsiteY5" fmla="*/ 16736 h 18072"/>
              <a:gd name="connsiteX6" fmla="*/ 6196 w 21218"/>
              <a:gd name="connsiteY6" fmla="*/ 17438 h 18072"/>
              <a:gd name="connsiteX7" fmla="*/ 8646 w 21218"/>
              <a:gd name="connsiteY7" fmla="*/ 17760 h 18072"/>
              <a:gd name="connsiteX8" fmla="*/ 11014 w 21218"/>
              <a:gd name="connsiteY8" fmla="*/ 18044 h 18072"/>
              <a:gd name="connsiteX9" fmla="*/ 13912 w 21218"/>
              <a:gd name="connsiteY9" fmla="*/ 17031 h 18072"/>
              <a:gd name="connsiteX10" fmla="*/ 15619 w 21218"/>
              <a:gd name="connsiteY10" fmla="*/ 16855 h 18072"/>
              <a:gd name="connsiteX11" fmla="*/ 19106 w 21218"/>
              <a:gd name="connsiteY11" fmla="*/ 15924 h 18072"/>
              <a:gd name="connsiteX12" fmla="*/ 21218 w 21218"/>
              <a:gd name="connsiteY12" fmla="*/ 12780 h 18072"/>
              <a:gd name="connsiteX13" fmla="*/ 19095 w 21218"/>
              <a:gd name="connsiteY13" fmla="*/ 5582 h 18072"/>
              <a:gd name="connsiteX14" fmla="*/ 18414 w 21218"/>
              <a:gd name="connsiteY14" fmla="*/ 2817 h 18072"/>
              <a:gd name="connsiteX15" fmla="*/ 15213 w 21218"/>
              <a:gd name="connsiteY15" fmla="*/ 859 h 18072"/>
              <a:gd name="connsiteX16" fmla="*/ 11479 w 21218"/>
              <a:gd name="connsiteY16" fmla="*/ 23 h 18072"/>
              <a:gd name="connsiteX0" fmla="*/ 11479 w 21218"/>
              <a:gd name="connsiteY0" fmla="*/ 23 h 18072"/>
              <a:gd name="connsiteX1" fmla="*/ 5717 w 21218"/>
              <a:gd name="connsiteY1" fmla="*/ 1085 h 18072"/>
              <a:gd name="connsiteX2" fmla="*/ 1234 w 21218"/>
              <a:gd name="connsiteY2" fmla="*/ 5155 h 18072"/>
              <a:gd name="connsiteX3" fmla="*/ 50 w 21218"/>
              <a:gd name="connsiteY3" fmla="*/ 9089 h 18072"/>
              <a:gd name="connsiteX4" fmla="*/ 367 w 21218"/>
              <a:gd name="connsiteY4" fmla="*/ 13412 h 18072"/>
              <a:gd name="connsiteX5" fmla="*/ 1961 w 21218"/>
              <a:gd name="connsiteY5" fmla="*/ 16736 h 18072"/>
              <a:gd name="connsiteX6" fmla="*/ 6196 w 21218"/>
              <a:gd name="connsiteY6" fmla="*/ 17438 h 18072"/>
              <a:gd name="connsiteX7" fmla="*/ 8646 w 21218"/>
              <a:gd name="connsiteY7" fmla="*/ 17760 h 18072"/>
              <a:gd name="connsiteX8" fmla="*/ 11014 w 21218"/>
              <a:gd name="connsiteY8" fmla="*/ 18044 h 18072"/>
              <a:gd name="connsiteX9" fmla="*/ 13912 w 21218"/>
              <a:gd name="connsiteY9" fmla="*/ 17031 h 18072"/>
              <a:gd name="connsiteX10" fmla="*/ 15619 w 21218"/>
              <a:gd name="connsiteY10" fmla="*/ 16855 h 18072"/>
              <a:gd name="connsiteX11" fmla="*/ 19106 w 21218"/>
              <a:gd name="connsiteY11" fmla="*/ 15924 h 18072"/>
              <a:gd name="connsiteX12" fmla="*/ 21218 w 21218"/>
              <a:gd name="connsiteY12" fmla="*/ 12780 h 18072"/>
              <a:gd name="connsiteX13" fmla="*/ 19095 w 21218"/>
              <a:gd name="connsiteY13" fmla="*/ 5582 h 18072"/>
              <a:gd name="connsiteX14" fmla="*/ 18414 w 21218"/>
              <a:gd name="connsiteY14" fmla="*/ 2817 h 18072"/>
              <a:gd name="connsiteX15" fmla="*/ 15213 w 21218"/>
              <a:gd name="connsiteY15" fmla="*/ 859 h 18072"/>
              <a:gd name="connsiteX16" fmla="*/ 11479 w 21218"/>
              <a:gd name="connsiteY16" fmla="*/ 23 h 18072"/>
              <a:gd name="connsiteX0" fmla="*/ 11479 w 21218"/>
              <a:gd name="connsiteY0" fmla="*/ 23 h 18072"/>
              <a:gd name="connsiteX1" fmla="*/ 5717 w 21218"/>
              <a:gd name="connsiteY1" fmla="*/ 1085 h 18072"/>
              <a:gd name="connsiteX2" fmla="*/ 1234 w 21218"/>
              <a:gd name="connsiteY2" fmla="*/ 5155 h 18072"/>
              <a:gd name="connsiteX3" fmla="*/ 50 w 21218"/>
              <a:gd name="connsiteY3" fmla="*/ 9089 h 18072"/>
              <a:gd name="connsiteX4" fmla="*/ 367 w 21218"/>
              <a:gd name="connsiteY4" fmla="*/ 13412 h 18072"/>
              <a:gd name="connsiteX5" fmla="*/ 1961 w 21218"/>
              <a:gd name="connsiteY5" fmla="*/ 16736 h 18072"/>
              <a:gd name="connsiteX6" fmla="*/ 6196 w 21218"/>
              <a:gd name="connsiteY6" fmla="*/ 17438 h 18072"/>
              <a:gd name="connsiteX7" fmla="*/ 8646 w 21218"/>
              <a:gd name="connsiteY7" fmla="*/ 17760 h 18072"/>
              <a:gd name="connsiteX8" fmla="*/ 11014 w 21218"/>
              <a:gd name="connsiteY8" fmla="*/ 18044 h 18072"/>
              <a:gd name="connsiteX9" fmla="*/ 13912 w 21218"/>
              <a:gd name="connsiteY9" fmla="*/ 17031 h 18072"/>
              <a:gd name="connsiteX10" fmla="*/ 15619 w 21218"/>
              <a:gd name="connsiteY10" fmla="*/ 16855 h 18072"/>
              <a:gd name="connsiteX11" fmla="*/ 19106 w 21218"/>
              <a:gd name="connsiteY11" fmla="*/ 15924 h 18072"/>
              <a:gd name="connsiteX12" fmla="*/ 21218 w 21218"/>
              <a:gd name="connsiteY12" fmla="*/ 12780 h 18072"/>
              <a:gd name="connsiteX13" fmla="*/ 19095 w 21218"/>
              <a:gd name="connsiteY13" fmla="*/ 5582 h 18072"/>
              <a:gd name="connsiteX14" fmla="*/ 18414 w 21218"/>
              <a:gd name="connsiteY14" fmla="*/ 2817 h 18072"/>
              <a:gd name="connsiteX15" fmla="*/ 15213 w 21218"/>
              <a:gd name="connsiteY15" fmla="*/ 859 h 18072"/>
              <a:gd name="connsiteX16" fmla="*/ 11479 w 21218"/>
              <a:gd name="connsiteY16" fmla="*/ 23 h 18072"/>
              <a:gd name="connsiteX0" fmla="*/ 11479 w 21218"/>
              <a:gd name="connsiteY0" fmla="*/ 23 h 18072"/>
              <a:gd name="connsiteX1" fmla="*/ 5717 w 21218"/>
              <a:gd name="connsiteY1" fmla="*/ 1085 h 18072"/>
              <a:gd name="connsiteX2" fmla="*/ 1234 w 21218"/>
              <a:gd name="connsiteY2" fmla="*/ 5155 h 18072"/>
              <a:gd name="connsiteX3" fmla="*/ 50 w 21218"/>
              <a:gd name="connsiteY3" fmla="*/ 9089 h 18072"/>
              <a:gd name="connsiteX4" fmla="*/ 367 w 21218"/>
              <a:gd name="connsiteY4" fmla="*/ 13412 h 18072"/>
              <a:gd name="connsiteX5" fmla="*/ 1961 w 21218"/>
              <a:gd name="connsiteY5" fmla="*/ 16736 h 18072"/>
              <a:gd name="connsiteX6" fmla="*/ 6196 w 21218"/>
              <a:gd name="connsiteY6" fmla="*/ 17438 h 18072"/>
              <a:gd name="connsiteX7" fmla="*/ 8646 w 21218"/>
              <a:gd name="connsiteY7" fmla="*/ 17760 h 18072"/>
              <a:gd name="connsiteX8" fmla="*/ 11014 w 21218"/>
              <a:gd name="connsiteY8" fmla="*/ 18044 h 18072"/>
              <a:gd name="connsiteX9" fmla="*/ 13912 w 21218"/>
              <a:gd name="connsiteY9" fmla="*/ 17031 h 18072"/>
              <a:gd name="connsiteX10" fmla="*/ 15619 w 21218"/>
              <a:gd name="connsiteY10" fmla="*/ 16855 h 18072"/>
              <a:gd name="connsiteX11" fmla="*/ 19106 w 21218"/>
              <a:gd name="connsiteY11" fmla="*/ 15924 h 18072"/>
              <a:gd name="connsiteX12" fmla="*/ 21218 w 21218"/>
              <a:gd name="connsiteY12" fmla="*/ 12780 h 18072"/>
              <a:gd name="connsiteX13" fmla="*/ 19095 w 21218"/>
              <a:gd name="connsiteY13" fmla="*/ 5582 h 18072"/>
              <a:gd name="connsiteX14" fmla="*/ 18414 w 21218"/>
              <a:gd name="connsiteY14" fmla="*/ 2817 h 18072"/>
              <a:gd name="connsiteX15" fmla="*/ 15213 w 21218"/>
              <a:gd name="connsiteY15" fmla="*/ 859 h 18072"/>
              <a:gd name="connsiteX16" fmla="*/ 11479 w 21218"/>
              <a:gd name="connsiteY16" fmla="*/ 23 h 18072"/>
              <a:gd name="connsiteX0" fmla="*/ 11479 w 21218"/>
              <a:gd name="connsiteY0" fmla="*/ 23 h 18072"/>
              <a:gd name="connsiteX1" fmla="*/ 5717 w 21218"/>
              <a:gd name="connsiteY1" fmla="*/ 1085 h 18072"/>
              <a:gd name="connsiteX2" fmla="*/ 1234 w 21218"/>
              <a:gd name="connsiteY2" fmla="*/ 5155 h 18072"/>
              <a:gd name="connsiteX3" fmla="*/ 50 w 21218"/>
              <a:gd name="connsiteY3" fmla="*/ 9089 h 18072"/>
              <a:gd name="connsiteX4" fmla="*/ 367 w 21218"/>
              <a:gd name="connsiteY4" fmla="*/ 13412 h 18072"/>
              <a:gd name="connsiteX5" fmla="*/ 1961 w 21218"/>
              <a:gd name="connsiteY5" fmla="*/ 16736 h 18072"/>
              <a:gd name="connsiteX6" fmla="*/ 6196 w 21218"/>
              <a:gd name="connsiteY6" fmla="*/ 17438 h 18072"/>
              <a:gd name="connsiteX7" fmla="*/ 8646 w 21218"/>
              <a:gd name="connsiteY7" fmla="*/ 17760 h 18072"/>
              <a:gd name="connsiteX8" fmla="*/ 11014 w 21218"/>
              <a:gd name="connsiteY8" fmla="*/ 18044 h 18072"/>
              <a:gd name="connsiteX9" fmla="*/ 13912 w 21218"/>
              <a:gd name="connsiteY9" fmla="*/ 17031 h 18072"/>
              <a:gd name="connsiteX10" fmla="*/ 15619 w 21218"/>
              <a:gd name="connsiteY10" fmla="*/ 16855 h 18072"/>
              <a:gd name="connsiteX11" fmla="*/ 19106 w 21218"/>
              <a:gd name="connsiteY11" fmla="*/ 15924 h 18072"/>
              <a:gd name="connsiteX12" fmla="*/ 21218 w 21218"/>
              <a:gd name="connsiteY12" fmla="*/ 12780 h 18072"/>
              <a:gd name="connsiteX13" fmla="*/ 19095 w 21218"/>
              <a:gd name="connsiteY13" fmla="*/ 5582 h 18072"/>
              <a:gd name="connsiteX14" fmla="*/ 18414 w 21218"/>
              <a:gd name="connsiteY14" fmla="*/ 2817 h 18072"/>
              <a:gd name="connsiteX15" fmla="*/ 15213 w 21218"/>
              <a:gd name="connsiteY15" fmla="*/ 859 h 18072"/>
              <a:gd name="connsiteX16" fmla="*/ 11479 w 21218"/>
              <a:gd name="connsiteY16" fmla="*/ 23 h 18072"/>
              <a:gd name="connsiteX0" fmla="*/ 11479 w 21218"/>
              <a:gd name="connsiteY0" fmla="*/ 23 h 18072"/>
              <a:gd name="connsiteX1" fmla="*/ 5717 w 21218"/>
              <a:gd name="connsiteY1" fmla="*/ 1085 h 18072"/>
              <a:gd name="connsiteX2" fmla="*/ 1234 w 21218"/>
              <a:gd name="connsiteY2" fmla="*/ 5155 h 18072"/>
              <a:gd name="connsiteX3" fmla="*/ 50 w 21218"/>
              <a:gd name="connsiteY3" fmla="*/ 9089 h 18072"/>
              <a:gd name="connsiteX4" fmla="*/ 367 w 21218"/>
              <a:gd name="connsiteY4" fmla="*/ 13412 h 18072"/>
              <a:gd name="connsiteX5" fmla="*/ 1961 w 21218"/>
              <a:gd name="connsiteY5" fmla="*/ 16736 h 18072"/>
              <a:gd name="connsiteX6" fmla="*/ 6196 w 21218"/>
              <a:gd name="connsiteY6" fmla="*/ 17438 h 18072"/>
              <a:gd name="connsiteX7" fmla="*/ 8646 w 21218"/>
              <a:gd name="connsiteY7" fmla="*/ 17760 h 18072"/>
              <a:gd name="connsiteX8" fmla="*/ 11014 w 21218"/>
              <a:gd name="connsiteY8" fmla="*/ 18044 h 18072"/>
              <a:gd name="connsiteX9" fmla="*/ 13912 w 21218"/>
              <a:gd name="connsiteY9" fmla="*/ 17031 h 18072"/>
              <a:gd name="connsiteX10" fmla="*/ 15619 w 21218"/>
              <a:gd name="connsiteY10" fmla="*/ 16855 h 18072"/>
              <a:gd name="connsiteX11" fmla="*/ 19106 w 21218"/>
              <a:gd name="connsiteY11" fmla="*/ 15924 h 18072"/>
              <a:gd name="connsiteX12" fmla="*/ 21218 w 21218"/>
              <a:gd name="connsiteY12" fmla="*/ 12780 h 18072"/>
              <a:gd name="connsiteX13" fmla="*/ 19095 w 21218"/>
              <a:gd name="connsiteY13" fmla="*/ 5582 h 18072"/>
              <a:gd name="connsiteX14" fmla="*/ 18414 w 21218"/>
              <a:gd name="connsiteY14" fmla="*/ 2817 h 18072"/>
              <a:gd name="connsiteX15" fmla="*/ 15213 w 21218"/>
              <a:gd name="connsiteY15" fmla="*/ 859 h 18072"/>
              <a:gd name="connsiteX16" fmla="*/ 11479 w 21218"/>
              <a:gd name="connsiteY16" fmla="*/ 23 h 18072"/>
              <a:gd name="connsiteX0" fmla="*/ 11479 w 19615"/>
              <a:gd name="connsiteY0" fmla="*/ 23 h 18072"/>
              <a:gd name="connsiteX1" fmla="*/ 5717 w 19615"/>
              <a:gd name="connsiteY1" fmla="*/ 1085 h 18072"/>
              <a:gd name="connsiteX2" fmla="*/ 1234 w 19615"/>
              <a:gd name="connsiteY2" fmla="*/ 5155 h 18072"/>
              <a:gd name="connsiteX3" fmla="*/ 50 w 19615"/>
              <a:gd name="connsiteY3" fmla="*/ 9089 h 18072"/>
              <a:gd name="connsiteX4" fmla="*/ 367 w 19615"/>
              <a:gd name="connsiteY4" fmla="*/ 13412 h 18072"/>
              <a:gd name="connsiteX5" fmla="*/ 1961 w 19615"/>
              <a:gd name="connsiteY5" fmla="*/ 16736 h 18072"/>
              <a:gd name="connsiteX6" fmla="*/ 6196 w 19615"/>
              <a:gd name="connsiteY6" fmla="*/ 17438 h 18072"/>
              <a:gd name="connsiteX7" fmla="*/ 8646 w 19615"/>
              <a:gd name="connsiteY7" fmla="*/ 17760 h 18072"/>
              <a:gd name="connsiteX8" fmla="*/ 11014 w 19615"/>
              <a:gd name="connsiteY8" fmla="*/ 18044 h 18072"/>
              <a:gd name="connsiteX9" fmla="*/ 13912 w 19615"/>
              <a:gd name="connsiteY9" fmla="*/ 17031 h 18072"/>
              <a:gd name="connsiteX10" fmla="*/ 15619 w 19615"/>
              <a:gd name="connsiteY10" fmla="*/ 16855 h 18072"/>
              <a:gd name="connsiteX11" fmla="*/ 19106 w 19615"/>
              <a:gd name="connsiteY11" fmla="*/ 15924 h 18072"/>
              <a:gd name="connsiteX12" fmla="*/ 19594 w 19615"/>
              <a:gd name="connsiteY12" fmla="*/ 10685 h 18072"/>
              <a:gd name="connsiteX13" fmla="*/ 19095 w 19615"/>
              <a:gd name="connsiteY13" fmla="*/ 5582 h 18072"/>
              <a:gd name="connsiteX14" fmla="*/ 18414 w 19615"/>
              <a:gd name="connsiteY14" fmla="*/ 2817 h 18072"/>
              <a:gd name="connsiteX15" fmla="*/ 15213 w 19615"/>
              <a:gd name="connsiteY15" fmla="*/ 859 h 18072"/>
              <a:gd name="connsiteX16" fmla="*/ 11479 w 19615"/>
              <a:gd name="connsiteY16" fmla="*/ 23 h 18072"/>
              <a:gd name="connsiteX0" fmla="*/ 11479 w 19602"/>
              <a:gd name="connsiteY0" fmla="*/ 23 h 18072"/>
              <a:gd name="connsiteX1" fmla="*/ 5717 w 19602"/>
              <a:gd name="connsiteY1" fmla="*/ 1085 h 18072"/>
              <a:gd name="connsiteX2" fmla="*/ 1234 w 19602"/>
              <a:gd name="connsiteY2" fmla="*/ 5155 h 18072"/>
              <a:gd name="connsiteX3" fmla="*/ 50 w 19602"/>
              <a:gd name="connsiteY3" fmla="*/ 9089 h 18072"/>
              <a:gd name="connsiteX4" fmla="*/ 367 w 19602"/>
              <a:gd name="connsiteY4" fmla="*/ 13412 h 18072"/>
              <a:gd name="connsiteX5" fmla="*/ 1961 w 19602"/>
              <a:gd name="connsiteY5" fmla="*/ 16736 h 18072"/>
              <a:gd name="connsiteX6" fmla="*/ 6196 w 19602"/>
              <a:gd name="connsiteY6" fmla="*/ 17438 h 18072"/>
              <a:gd name="connsiteX7" fmla="*/ 8646 w 19602"/>
              <a:gd name="connsiteY7" fmla="*/ 17760 h 18072"/>
              <a:gd name="connsiteX8" fmla="*/ 11014 w 19602"/>
              <a:gd name="connsiteY8" fmla="*/ 18044 h 18072"/>
              <a:gd name="connsiteX9" fmla="*/ 13912 w 19602"/>
              <a:gd name="connsiteY9" fmla="*/ 17031 h 18072"/>
              <a:gd name="connsiteX10" fmla="*/ 15619 w 19602"/>
              <a:gd name="connsiteY10" fmla="*/ 16855 h 18072"/>
              <a:gd name="connsiteX11" fmla="*/ 19106 w 19602"/>
              <a:gd name="connsiteY11" fmla="*/ 15924 h 18072"/>
              <a:gd name="connsiteX12" fmla="*/ 19594 w 19602"/>
              <a:gd name="connsiteY12" fmla="*/ 10685 h 18072"/>
              <a:gd name="connsiteX13" fmla="*/ 19278 w 19602"/>
              <a:gd name="connsiteY13" fmla="*/ 6616 h 18072"/>
              <a:gd name="connsiteX14" fmla="*/ 18414 w 19602"/>
              <a:gd name="connsiteY14" fmla="*/ 2817 h 18072"/>
              <a:gd name="connsiteX15" fmla="*/ 15213 w 19602"/>
              <a:gd name="connsiteY15" fmla="*/ 859 h 18072"/>
              <a:gd name="connsiteX16" fmla="*/ 11479 w 19602"/>
              <a:gd name="connsiteY16" fmla="*/ 23 h 18072"/>
              <a:gd name="connsiteX0" fmla="*/ 11479 w 19603"/>
              <a:gd name="connsiteY0" fmla="*/ 23 h 18072"/>
              <a:gd name="connsiteX1" fmla="*/ 5717 w 19603"/>
              <a:gd name="connsiteY1" fmla="*/ 1085 h 18072"/>
              <a:gd name="connsiteX2" fmla="*/ 1234 w 19603"/>
              <a:gd name="connsiteY2" fmla="*/ 5155 h 18072"/>
              <a:gd name="connsiteX3" fmla="*/ 50 w 19603"/>
              <a:gd name="connsiteY3" fmla="*/ 9089 h 18072"/>
              <a:gd name="connsiteX4" fmla="*/ 367 w 19603"/>
              <a:gd name="connsiteY4" fmla="*/ 13412 h 18072"/>
              <a:gd name="connsiteX5" fmla="*/ 1961 w 19603"/>
              <a:gd name="connsiteY5" fmla="*/ 16736 h 18072"/>
              <a:gd name="connsiteX6" fmla="*/ 6196 w 19603"/>
              <a:gd name="connsiteY6" fmla="*/ 17438 h 18072"/>
              <a:gd name="connsiteX7" fmla="*/ 8646 w 19603"/>
              <a:gd name="connsiteY7" fmla="*/ 17760 h 18072"/>
              <a:gd name="connsiteX8" fmla="*/ 11014 w 19603"/>
              <a:gd name="connsiteY8" fmla="*/ 18044 h 18072"/>
              <a:gd name="connsiteX9" fmla="*/ 13912 w 19603"/>
              <a:gd name="connsiteY9" fmla="*/ 17031 h 18072"/>
              <a:gd name="connsiteX10" fmla="*/ 15619 w 19603"/>
              <a:gd name="connsiteY10" fmla="*/ 16855 h 18072"/>
              <a:gd name="connsiteX11" fmla="*/ 19106 w 19603"/>
              <a:gd name="connsiteY11" fmla="*/ 15924 h 18072"/>
              <a:gd name="connsiteX12" fmla="*/ 19594 w 19603"/>
              <a:gd name="connsiteY12" fmla="*/ 10685 h 18072"/>
              <a:gd name="connsiteX13" fmla="*/ 19347 w 19603"/>
              <a:gd name="connsiteY13" fmla="*/ 8393 h 18072"/>
              <a:gd name="connsiteX14" fmla="*/ 18414 w 19603"/>
              <a:gd name="connsiteY14" fmla="*/ 2817 h 18072"/>
              <a:gd name="connsiteX15" fmla="*/ 15213 w 19603"/>
              <a:gd name="connsiteY15" fmla="*/ 859 h 18072"/>
              <a:gd name="connsiteX16" fmla="*/ 11479 w 19603"/>
              <a:gd name="connsiteY16" fmla="*/ 23 h 18072"/>
              <a:gd name="connsiteX0" fmla="*/ 11479 w 19597"/>
              <a:gd name="connsiteY0" fmla="*/ 23 h 18072"/>
              <a:gd name="connsiteX1" fmla="*/ 5717 w 19597"/>
              <a:gd name="connsiteY1" fmla="*/ 1085 h 18072"/>
              <a:gd name="connsiteX2" fmla="*/ 1234 w 19597"/>
              <a:gd name="connsiteY2" fmla="*/ 5155 h 18072"/>
              <a:gd name="connsiteX3" fmla="*/ 50 w 19597"/>
              <a:gd name="connsiteY3" fmla="*/ 9089 h 18072"/>
              <a:gd name="connsiteX4" fmla="*/ 367 w 19597"/>
              <a:gd name="connsiteY4" fmla="*/ 13412 h 18072"/>
              <a:gd name="connsiteX5" fmla="*/ 1961 w 19597"/>
              <a:gd name="connsiteY5" fmla="*/ 16736 h 18072"/>
              <a:gd name="connsiteX6" fmla="*/ 6196 w 19597"/>
              <a:gd name="connsiteY6" fmla="*/ 17438 h 18072"/>
              <a:gd name="connsiteX7" fmla="*/ 8646 w 19597"/>
              <a:gd name="connsiteY7" fmla="*/ 17760 h 18072"/>
              <a:gd name="connsiteX8" fmla="*/ 11014 w 19597"/>
              <a:gd name="connsiteY8" fmla="*/ 18044 h 18072"/>
              <a:gd name="connsiteX9" fmla="*/ 13912 w 19597"/>
              <a:gd name="connsiteY9" fmla="*/ 17031 h 18072"/>
              <a:gd name="connsiteX10" fmla="*/ 15619 w 19597"/>
              <a:gd name="connsiteY10" fmla="*/ 16855 h 18072"/>
              <a:gd name="connsiteX11" fmla="*/ 19106 w 19597"/>
              <a:gd name="connsiteY11" fmla="*/ 15924 h 18072"/>
              <a:gd name="connsiteX12" fmla="*/ 19594 w 19597"/>
              <a:gd name="connsiteY12" fmla="*/ 10685 h 18072"/>
              <a:gd name="connsiteX13" fmla="*/ 19347 w 19597"/>
              <a:gd name="connsiteY13" fmla="*/ 8393 h 18072"/>
              <a:gd name="connsiteX14" fmla="*/ 18414 w 19597"/>
              <a:gd name="connsiteY14" fmla="*/ 2817 h 18072"/>
              <a:gd name="connsiteX15" fmla="*/ 15213 w 19597"/>
              <a:gd name="connsiteY15" fmla="*/ 859 h 18072"/>
              <a:gd name="connsiteX16" fmla="*/ 11479 w 19597"/>
              <a:gd name="connsiteY16" fmla="*/ 23 h 18072"/>
              <a:gd name="connsiteX0" fmla="*/ 11479 w 19748"/>
              <a:gd name="connsiteY0" fmla="*/ 23 h 18072"/>
              <a:gd name="connsiteX1" fmla="*/ 5717 w 19748"/>
              <a:gd name="connsiteY1" fmla="*/ 1085 h 18072"/>
              <a:gd name="connsiteX2" fmla="*/ 1234 w 19748"/>
              <a:gd name="connsiteY2" fmla="*/ 5155 h 18072"/>
              <a:gd name="connsiteX3" fmla="*/ 50 w 19748"/>
              <a:gd name="connsiteY3" fmla="*/ 9089 h 18072"/>
              <a:gd name="connsiteX4" fmla="*/ 367 w 19748"/>
              <a:gd name="connsiteY4" fmla="*/ 13412 h 18072"/>
              <a:gd name="connsiteX5" fmla="*/ 1961 w 19748"/>
              <a:gd name="connsiteY5" fmla="*/ 16736 h 18072"/>
              <a:gd name="connsiteX6" fmla="*/ 6196 w 19748"/>
              <a:gd name="connsiteY6" fmla="*/ 17438 h 18072"/>
              <a:gd name="connsiteX7" fmla="*/ 8646 w 19748"/>
              <a:gd name="connsiteY7" fmla="*/ 17760 h 18072"/>
              <a:gd name="connsiteX8" fmla="*/ 11014 w 19748"/>
              <a:gd name="connsiteY8" fmla="*/ 18044 h 18072"/>
              <a:gd name="connsiteX9" fmla="*/ 13912 w 19748"/>
              <a:gd name="connsiteY9" fmla="*/ 17031 h 18072"/>
              <a:gd name="connsiteX10" fmla="*/ 15619 w 19748"/>
              <a:gd name="connsiteY10" fmla="*/ 16855 h 18072"/>
              <a:gd name="connsiteX11" fmla="*/ 19106 w 19748"/>
              <a:gd name="connsiteY11" fmla="*/ 15924 h 18072"/>
              <a:gd name="connsiteX12" fmla="*/ 19594 w 19748"/>
              <a:gd name="connsiteY12" fmla="*/ 10685 h 18072"/>
              <a:gd name="connsiteX13" fmla="*/ 19347 w 19748"/>
              <a:gd name="connsiteY13" fmla="*/ 8393 h 18072"/>
              <a:gd name="connsiteX14" fmla="*/ 18986 w 19748"/>
              <a:gd name="connsiteY14" fmla="*/ 3374 h 18072"/>
              <a:gd name="connsiteX15" fmla="*/ 15213 w 19748"/>
              <a:gd name="connsiteY15" fmla="*/ 859 h 18072"/>
              <a:gd name="connsiteX16" fmla="*/ 11479 w 19748"/>
              <a:gd name="connsiteY16" fmla="*/ 23 h 18072"/>
              <a:gd name="connsiteX0" fmla="*/ 11479 w 19638"/>
              <a:gd name="connsiteY0" fmla="*/ 23 h 18072"/>
              <a:gd name="connsiteX1" fmla="*/ 5717 w 19638"/>
              <a:gd name="connsiteY1" fmla="*/ 1085 h 18072"/>
              <a:gd name="connsiteX2" fmla="*/ 1234 w 19638"/>
              <a:gd name="connsiteY2" fmla="*/ 5155 h 18072"/>
              <a:gd name="connsiteX3" fmla="*/ 50 w 19638"/>
              <a:gd name="connsiteY3" fmla="*/ 9089 h 18072"/>
              <a:gd name="connsiteX4" fmla="*/ 367 w 19638"/>
              <a:gd name="connsiteY4" fmla="*/ 13412 h 18072"/>
              <a:gd name="connsiteX5" fmla="*/ 1961 w 19638"/>
              <a:gd name="connsiteY5" fmla="*/ 16736 h 18072"/>
              <a:gd name="connsiteX6" fmla="*/ 6196 w 19638"/>
              <a:gd name="connsiteY6" fmla="*/ 17438 h 18072"/>
              <a:gd name="connsiteX7" fmla="*/ 8646 w 19638"/>
              <a:gd name="connsiteY7" fmla="*/ 17760 h 18072"/>
              <a:gd name="connsiteX8" fmla="*/ 11014 w 19638"/>
              <a:gd name="connsiteY8" fmla="*/ 18044 h 18072"/>
              <a:gd name="connsiteX9" fmla="*/ 13912 w 19638"/>
              <a:gd name="connsiteY9" fmla="*/ 17031 h 18072"/>
              <a:gd name="connsiteX10" fmla="*/ 15619 w 19638"/>
              <a:gd name="connsiteY10" fmla="*/ 16855 h 18072"/>
              <a:gd name="connsiteX11" fmla="*/ 19106 w 19638"/>
              <a:gd name="connsiteY11" fmla="*/ 15924 h 18072"/>
              <a:gd name="connsiteX12" fmla="*/ 19594 w 19638"/>
              <a:gd name="connsiteY12" fmla="*/ 10685 h 18072"/>
              <a:gd name="connsiteX13" fmla="*/ 19347 w 19638"/>
              <a:gd name="connsiteY13" fmla="*/ 8393 h 18072"/>
              <a:gd name="connsiteX14" fmla="*/ 18986 w 19638"/>
              <a:gd name="connsiteY14" fmla="*/ 3374 h 18072"/>
              <a:gd name="connsiteX15" fmla="*/ 15213 w 19638"/>
              <a:gd name="connsiteY15" fmla="*/ 859 h 18072"/>
              <a:gd name="connsiteX16" fmla="*/ 11479 w 19638"/>
              <a:gd name="connsiteY16" fmla="*/ 23 h 18072"/>
              <a:gd name="connsiteX0" fmla="*/ 11479 w 19622"/>
              <a:gd name="connsiteY0" fmla="*/ 23 h 18072"/>
              <a:gd name="connsiteX1" fmla="*/ 5717 w 19622"/>
              <a:gd name="connsiteY1" fmla="*/ 1085 h 18072"/>
              <a:gd name="connsiteX2" fmla="*/ 1234 w 19622"/>
              <a:gd name="connsiteY2" fmla="*/ 5155 h 18072"/>
              <a:gd name="connsiteX3" fmla="*/ 50 w 19622"/>
              <a:gd name="connsiteY3" fmla="*/ 9089 h 18072"/>
              <a:gd name="connsiteX4" fmla="*/ 367 w 19622"/>
              <a:gd name="connsiteY4" fmla="*/ 13412 h 18072"/>
              <a:gd name="connsiteX5" fmla="*/ 1961 w 19622"/>
              <a:gd name="connsiteY5" fmla="*/ 16736 h 18072"/>
              <a:gd name="connsiteX6" fmla="*/ 6196 w 19622"/>
              <a:gd name="connsiteY6" fmla="*/ 17438 h 18072"/>
              <a:gd name="connsiteX7" fmla="*/ 8646 w 19622"/>
              <a:gd name="connsiteY7" fmla="*/ 17760 h 18072"/>
              <a:gd name="connsiteX8" fmla="*/ 11014 w 19622"/>
              <a:gd name="connsiteY8" fmla="*/ 18044 h 18072"/>
              <a:gd name="connsiteX9" fmla="*/ 13912 w 19622"/>
              <a:gd name="connsiteY9" fmla="*/ 17031 h 18072"/>
              <a:gd name="connsiteX10" fmla="*/ 15619 w 19622"/>
              <a:gd name="connsiteY10" fmla="*/ 16855 h 18072"/>
              <a:gd name="connsiteX11" fmla="*/ 19106 w 19622"/>
              <a:gd name="connsiteY11" fmla="*/ 15924 h 18072"/>
              <a:gd name="connsiteX12" fmla="*/ 19594 w 19622"/>
              <a:gd name="connsiteY12" fmla="*/ 10685 h 18072"/>
              <a:gd name="connsiteX13" fmla="*/ 19347 w 19622"/>
              <a:gd name="connsiteY13" fmla="*/ 8393 h 18072"/>
              <a:gd name="connsiteX14" fmla="*/ 18963 w 19622"/>
              <a:gd name="connsiteY14" fmla="*/ 3401 h 18072"/>
              <a:gd name="connsiteX15" fmla="*/ 15213 w 19622"/>
              <a:gd name="connsiteY15" fmla="*/ 859 h 18072"/>
              <a:gd name="connsiteX16" fmla="*/ 11479 w 19622"/>
              <a:gd name="connsiteY16" fmla="*/ 23 h 18072"/>
              <a:gd name="connsiteX0" fmla="*/ 11479 w 19622"/>
              <a:gd name="connsiteY0" fmla="*/ 23 h 18072"/>
              <a:gd name="connsiteX1" fmla="*/ 5717 w 19622"/>
              <a:gd name="connsiteY1" fmla="*/ 1085 h 18072"/>
              <a:gd name="connsiteX2" fmla="*/ 1234 w 19622"/>
              <a:gd name="connsiteY2" fmla="*/ 5155 h 18072"/>
              <a:gd name="connsiteX3" fmla="*/ 50 w 19622"/>
              <a:gd name="connsiteY3" fmla="*/ 9089 h 18072"/>
              <a:gd name="connsiteX4" fmla="*/ 367 w 19622"/>
              <a:gd name="connsiteY4" fmla="*/ 13412 h 18072"/>
              <a:gd name="connsiteX5" fmla="*/ 1961 w 19622"/>
              <a:gd name="connsiteY5" fmla="*/ 16736 h 18072"/>
              <a:gd name="connsiteX6" fmla="*/ 6196 w 19622"/>
              <a:gd name="connsiteY6" fmla="*/ 17438 h 18072"/>
              <a:gd name="connsiteX7" fmla="*/ 8646 w 19622"/>
              <a:gd name="connsiteY7" fmla="*/ 17760 h 18072"/>
              <a:gd name="connsiteX8" fmla="*/ 11014 w 19622"/>
              <a:gd name="connsiteY8" fmla="*/ 18044 h 18072"/>
              <a:gd name="connsiteX9" fmla="*/ 13912 w 19622"/>
              <a:gd name="connsiteY9" fmla="*/ 17031 h 18072"/>
              <a:gd name="connsiteX10" fmla="*/ 15619 w 19622"/>
              <a:gd name="connsiteY10" fmla="*/ 16855 h 18072"/>
              <a:gd name="connsiteX11" fmla="*/ 19106 w 19622"/>
              <a:gd name="connsiteY11" fmla="*/ 15924 h 18072"/>
              <a:gd name="connsiteX12" fmla="*/ 19594 w 19622"/>
              <a:gd name="connsiteY12" fmla="*/ 10685 h 18072"/>
              <a:gd name="connsiteX13" fmla="*/ 19347 w 19622"/>
              <a:gd name="connsiteY13" fmla="*/ 8393 h 18072"/>
              <a:gd name="connsiteX14" fmla="*/ 18963 w 19622"/>
              <a:gd name="connsiteY14" fmla="*/ 3401 h 18072"/>
              <a:gd name="connsiteX15" fmla="*/ 15213 w 19622"/>
              <a:gd name="connsiteY15" fmla="*/ 859 h 18072"/>
              <a:gd name="connsiteX16" fmla="*/ 11479 w 19622"/>
              <a:gd name="connsiteY16" fmla="*/ 23 h 18072"/>
              <a:gd name="connsiteX0" fmla="*/ 11479 w 19599"/>
              <a:gd name="connsiteY0" fmla="*/ 23 h 18072"/>
              <a:gd name="connsiteX1" fmla="*/ 5717 w 19599"/>
              <a:gd name="connsiteY1" fmla="*/ 1085 h 18072"/>
              <a:gd name="connsiteX2" fmla="*/ 1234 w 19599"/>
              <a:gd name="connsiteY2" fmla="*/ 5155 h 18072"/>
              <a:gd name="connsiteX3" fmla="*/ 50 w 19599"/>
              <a:gd name="connsiteY3" fmla="*/ 9089 h 18072"/>
              <a:gd name="connsiteX4" fmla="*/ 367 w 19599"/>
              <a:gd name="connsiteY4" fmla="*/ 13412 h 18072"/>
              <a:gd name="connsiteX5" fmla="*/ 1961 w 19599"/>
              <a:gd name="connsiteY5" fmla="*/ 16736 h 18072"/>
              <a:gd name="connsiteX6" fmla="*/ 6196 w 19599"/>
              <a:gd name="connsiteY6" fmla="*/ 17438 h 18072"/>
              <a:gd name="connsiteX7" fmla="*/ 8646 w 19599"/>
              <a:gd name="connsiteY7" fmla="*/ 17760 h 18072"/>
              <a:gd name="connsiteX8" fmla="*/ 11014 w 19599"/>
              <a:gd name="connsiteY8" fmla="*/ 18044 h 18072"/>
              <a:gd name="connsiteX9" fmla="*/ 13912 w 19599"/>
              <a:gd name="connsiteY9" fmla="*/ 17031 h 18072"/>
              <a:gd name="connsiteX10" fmla="*/ 15619 w 19599"/>
              <a:gd name="connsiteY10" fmla="*/ 16855 h 18072"/>
              <a:gd name="connsiteX11" fmla="*/ 19106 w 19599"/>
              <a:gd name="connsiteY11" fmla="*/ 15924 h 18072"/>
              <a:gd name="connsiteX12" fmla="*/ 19594 w 19599"/>
              <a:gd name="connsiteY12" fmla="*/ 10685 h 18072"/>
              <a:gd name="connsiteX13" fmla="*/ 19347 w 19599"/>
              <a:gd name="connsiteY13" fmla="*/ 8393 h 18072"/>
              <a:gd name="connsiteX14" fmla="*/ 18963 w 19599"/>
              <a:gd name="connsiteY14" fmla="*/ 3401 h 18072"/>
              <a:gd name="connsiteX15" fmla="*/ 15213 w 19599"/>
              <a:gd name="connsiteY15" fmla="*/ 859 h 18072"/>
              <a:gd name="connsiteX16" fmla="*/ 11479 w 19599"/>
              <a:gd name="connsiteY16" fmla="*/ 23 h 18072"/>
              <a:gd name="connsiteX0" fmla="*/ 11479 w 19643"/>
              <a:gd name="connsiteY0" fmla="*/ 23 h 18072"/>
              <a:gd name="connsiteX1" fmla="*/ 5717 w 19643"/>
              <a:gd name="connsiteY1" fmla="*/ 1085 h 18072"/>
              <a:gd name="connsiteX2" fmla="*/ 1234 w 19643"/>
              <a:gd name="connsiteY2" fmla="*/ 5155 h 18072"/>
              <a:gd name="connsiteX3" fmla="*/ 50 w 19643"/>
              <a:gd name="connsiteY3" fmla="*/ 9089 h 18072"/>
              <a:gd name="connsiteX4" fmla="*/ 367 w 19643"/>
              <a:gd name="connsiteY4" fmla="*/ 13412 h 18072"/>
              <a:gd name="connsiteX5" fmla="*/ 1961 w 19643"/>
              <a:gd name="connsiteY5" fmla="*/ 16736 h 18072"/>
              <a:gd name="connsiteX6" fmla="*/ 6196 w 19643"/>
              <a:gd name="connsiteY6" fmla="*/ 17438 h 18072"/>
              <a:gd name="connsiteX7" fmla="*/ 8646 w 19643"/>
              <a:gd name="connsiteY7" fmla="*/ 17760 h 18072"/>
              <a:gd name="connsiteX8" fmla="*/ 11014 w 19643"/>
              <a:gd name="connsiteY8" fmla="*/ 18044 h 18072"/>
              <a:gd name="connsiteX9" fmla="*/ 13912 w 19643"/>
              <a:gd name="connsiteY9" fmla="*/ 17031 h 18072"/>
              <a:gd name="connsiteX10" fmla="*/ 15619 w 19643"/>
              <a:gd name="connsiteY10" fmla="*/ 16855 h 18072"/>
              <a:gd name="connsiteX11" fmla="*/ 18328 w 19643"/>
              <a:gd name="connsiteY11" fmla="*/ 15791 h 18072"/>
              <a:gd name="connsiteX12" fmla="*/ 19594 w 19643"/>
              <a:gd name="connsiteY12" fmla="*/ 10685 h 18072"/>
              <a:gd name="connsiteX13" fmla="*/ 19347 w 19643"/>
              <a:gd name="connsiteY13" fmla="*/ 8393 h 18072"/>
              <a:gd name="connsiteX14" fmla="*/ 18963 w 19643"/>
              <a:gd name="connsiteY14" fmla="*/ 3401 h 18072"/>
              <a:gd name="connsiteX15" fmla="*/ 15213 w 19643"/>
              <a:gd name="connsiteY15" fmla="*/ 859 h 18072"/>
              <a:gd name="connsiteX16" fmla="*/ 11479 w 19643"/>
              <a:gd name="connsiteY16" fmla="*/ 23 h 18072"/>
              <a:gd name="connsiteX0" fmla="*/ 11479 w 19643"/>
              <a:gd name="connsiteY0" fmla="*/ 23 h 18072"/>
              <a:gd name="connsiteX1" fmla="*/ 5717 w 19643"/>
              <a:gd name="connsiteY1" fmla="*/ 1085 h 18072"/>
              <a:gd name="connsiteX2" fmla="*/ 1234 w 19643"/>
              <a:gd name="connsiteY2" fmla="*/ 5155 h 18072"/>
              <a:gd name="connsiteX3" fmla="*/ 50 w 19643"/>
              <a:gd name="connsiteY3" fmla="*/ 9089 h 18072"/>
              <a:gd name="connsiteX4" fmla="*/ 367 w 19643"/>
              <a:gd name="connsiteY4" fmla="*/ 13412 h 18072"/>
              <a:gd name="connsiteX5" fmla="*/ 1961 w 19643"/>
              <a:gd name="connsiteY5" fmla="*/ 16736 h 18072"/>
              <a:gd name="connsiteX6" fmla="*/ 6196 w 19643"/>
              <a:gd name="connsiteY6" fmla="*/ 17438 h 18072"/>
              <a:gd name="connsiteX7" fmla="*/ 8646 w 19643"/>
              <a:gd name="connsiteY7" fmla="*/ 17760 h 18072"/>
              <a:gd name="connsiteX8" fmla="*/ 11014 w 19643"/>
              <a:gd name="connsiteY8" fmla="*/ 18044 h 18072"/>
              <a:gd name="connsiteX9" fmla="*/ 13912 w 19643"/>
              <a:gd name="connsiteY9" fmla="*/ 17031 h 18072"/>
              <a:gd name="connsiteX10" fmla="*/ 15619 w 19643"/>
              <a:gd name="connsiteY10" fmla="*/ 16855 h 18072"/>
              <a:gd name="connsiteX11" fmla="*/ 18328 w 19643"/>
              <a:gd name="connsiteY11" fmla="*/ 15791 h 18072"/>
              <a:gd name="connsiteX12" fmla="*/ 19594 w 19643"/>
              <a:gd name="connsiteY12" fmla="*/ 10685 h 18072"/>
              <a:gd name="connsiteX13" fmla="*/ 19347 w 19643"/>
              <a:gd name="connsiteY13" fmla="*/ 8393 h 18072"/>
              <a:gd name="connsiteX14" fmla="*/ 18963 w 19643"/>
              <a:gd name="connsiteY14" fmla="*/ 3401 h 18072"/>
              <a:gd name="connsiteX15" fmla="*/ 15213 w 19643"/>
              <a:gd name="connsiteY15" fmla="*/ 859 h 18072"/>
              <a:gd name="connsiteX16" fmla="*/ 11479 w 19643"/>
              <a:gd name="connsiteY16" fmla="*/ 23 h 18072"/>
              <a:gd name="connsiteX0" fmla="*/ 11479 w 19597"/>
              <a:gd name="connsiteY0" fmla="*/ 23 h 18072"/>
              <a:gd name="connsiteX1" fmla="*/ 5717 w 19597"/>
              <a:gd name="connsiteY1" fmla="*/ 1085 h 18072"/>
              <a:gd name="connsiteX2" fmla="*/ 1234 w 19597"/>
              <a:gd name="connsiteY2" fmla="*/ 5155 h 18072"/>
              <a:gd name="connsiteX3" fmla="*/ 50 w 19597"/>
              <a:gd name="connsiteY3" fmla="*/ 9089 h 18072"/>
              <a:gd name="connsiteX4" fmla="*/ 367 w 19597"/>
              <a:gd name="connsiteY4" fmla="*/ 13412 h 18072"/>
              <a:gd name="connsiteX5" fmla="*/ 1961 w 19597"/>
              <a:gd name="connsiteY5" fmla="*/ 16736 h 18072"/>
              <a:gd name="connsiteX6" fmla="*/ 6196 w 19597"/>
              <a:gd name="connsiteY6" fmla="*/ 17438 h 18072"/>
              <a:gd name="connsiteX7" fmla="*/ 8646 w 19597"/>
              <a:gd name="connsiteY7" fmla="*/ 17760 h 18072"/>
              <a:gd name="connsiteX8" fmla="*/ 11014 w 19597"/>
              <a:gd name="connsiteY8" fmla="*/ 18044 h 18072"/>
              <a:gd name="connsiteX9" fmla="*/ 13912 w 19597"/>
              <a:gd name="connsiteY9" fmla="*/ 17031 h 18072"/>
              <a:gd name="connsiteX10" fmla="*/ 15619 w 19597"/>
              <a:gd name="connsiteY10" fmla="*/ 16855 h 18072"/>
              <a:gd name="connsiteX11" fmla="*/ 19152 w 19597"/>
              <a:gd name="connsiteY11" fmla="*/ 15924 h 18072"/>
              <a:gd name="connsiteX12" fmla="*/ 19594 w 19597"/>
              <a:gd name="connsiteY12" fmla="*/ 10685 h 18072"/>
              <a:gd name="connsiteX13" fmla="*/ 19347 w 19597"/>
              <a:gd name="connsiteY13" fmla="*/ 8393 h 18072"/>
              <a:gd name="connsiteX14" fmla="*/ 18963 w 19597"/>
              <a:gd name="connsiteY14" fmla="*/ 3401 h 18072"/>
              <a:gd name="connsiteX15" fmla="*/ 15213 w 19597"/>
              <a:gd name="connsiteY15" fmla="*/ 859 h 18072"/>
              <a:gd name="connsiteX16" fmla="*/ 11479 w 19597"/>
              <a:gd name="connsiteY16" fmla="*/ 23 h 18072"/>
              <a:gd name="connsiteX0" fmla="*/ 11479 w 19468"/>
              <a:gd name="connsiteY0" fmla="*/ 23 h 18072"/>
              <a:gd name="connsiteX1" fmla="*/ 5717 w 19468"/>
              <a:gd name="connsiteY1" fmla="*/ 1085 h 18072"/>
              <a:gd name="connsiteX2" fmla="*/ 1234 w 19468"/>
              <a:gd name="connsiteY2" fmla="*/ 5155 h 18072"/>
              <a:gd name="connsiteX3" fmla="*/ 50 w 19468"/>
              <a:gd name="connsiteY3" fmla="*/ 9089 h 18072"/>
              <a:gd name="connsiteX4" fmla="*/ 367 w 19468"/>
              <a:gd name="connsiteY4" fmla="*/ 13412 h 18072"/>
              <a:gd name="connsiteX5" fmla="*/ 1961 w 19468"/>
              <a:gd name="connsiteY5" fmla="*/ 16736 h 18072"/>
              <a:gd name="connsiteX6" fmla="*/ 6196 w 19468"/>
              <a:gd name="connsiteY6" fmla="*/ 17438 h 18072"/>
              <a:gd name="connsiteX7" fmla="*/ 8646 w 19468"/>
              <a:gd name="connsiteY7" fmla="*/ 17760 h 18072"/>
              <a:gd name="connsiteX8" fmla="*/ 11014 w 19468"/>
              <a:gd name="connsiteY8" fmla="*/ 18044 h 18072"/>
              <a:gd name="connsiteX9" fmla="*/ 13912 w 19468"/>
              <a:gd name="connsiteY9" fmla="*/ 17031 h 18072"/>
              <a:gd name="connsiteX10" fmla="*/ 15619 w 19468"/>
              <a:gd name="connsiteY10" fmla="*/ 16855 h 18072"/>
              <a:gd name="connsiteX11" fmla="*/ 19152 w 19468"/>
              <a:gd name="connsiteY11" fmla="*/ 15924 h 18072"/>
              <a:gd name="connsiteX12" fmla="*/ 19319 w 19468"/>
              <a:gd name="connsiteY12" fmla="*/ 12038 h 18072"/>
              <a:gd name="connsiteX13" fmla="*/ 19347 w 19468"/>
              <a:gd name="connsiteY13" fmla="*/ 8393 h 18072"/>
              <a:gd name="connsiteX14" fmla="*/ 18963 w 19468"/>
              <a:gd name="connsiteY14" fmla="*/ 3401 h 18072"/>
              <a:gd name="connsiteX15" fmla="*/ 15213 w 19468"/>
              <a:gd name="connsiteY15" fmla="*/ 859 h 18072"/>
              <a:gd name="connsiteX16" fmla="*/ 11479 w 19468"/>
              <a:gd name="connsiteY16" fmla="*/ 23 h 18072"/>
              <a:gd name="connsiteX0" fmla="*/ 11470 w 19459"/>
              <a:gd name="connsiteY0" fmla="*/ 23 h 18072"/>
              <a:gd name="connsiteX1" fmla="*/ 5708 w 19459"/>
              <a:gd name="connsiteY1" fmla="*/ 1085 h 18072"/>
              <a:gd name="connsiteX2" fmla="*/ 1225 w 19459"/>
              <a:gd name="connsiteY2" fmla="*/ 5155 h 18072"/>
              <a:gd name="connsiteX3" fmla="*/ 41 w 19459"/>
              <a:gd name="connsiteY3" fmla="*/ 9089 h 18072"/>
              <a:gd name="connsiteX4" fmla="*/ 358 w 19459"/>
              <a:gd name="connsiteY4" fmla="*/ 13412 h 18072"/>
              <a:gd name="connsiteX5" fmla="*/ 1494 w 19459"/>
              <a:gd name="connsiteY5" fmla="*/ 15993 h 18072"/>
              <a:gd name="connsiteX6" fmla="*/ 6187 w 19459"/>
              <a:gd name="connsiteY6" fmla="*/ 17438 h 18072"/>
              <a:gd name="connsiteX7" fmla="*/ 8637 w 19459"/>
              <a:gd name="connsiteY7" fmla="*/ 17760 h 18072"/>
              <a:gd name="connsiteX8" fmla="*/ 11005 w 19459"/>
              <a:gd name="connsiteY8" fmla="*/ 18044 h 18072"/>
              <a:gd name="connsiteX9" fmla="*/ 13903 w 19459"/>
              <a:gd name="connsiteY9" fmla="*/ 17031 h 18072"/>
              <a:gd name="connsiteX10" fmla="*/ 15610 w 19459"/>
              <a:gd name="connsiteY10" fmla="*/ 16855 h 18072"/>
              <a:gd name="connsiteX11" fmla="*/ 19143 w 19459"/>
              <a:gd name="connsiteY11" fmla="*/ 15924 h 18072"/>
              <a:gd name="connsiteX12" fmla="*/ 19310 w 19459"/>
              <a:gd name="connsiteY12" fmla="*/ 12038 h 18072"/>
              <a:gd name="connsiteX13" fmla="*/ 19338 w 19459"/>
              <a:gd name="connsiteY13" fmla="*/ 8393 h 18072"/>
              <a:gd name="connsiteX14" fmla="*/ 18954 w 19459"/>
              <a:gd name="connsiteY14" fmla="*/ 3401 h 18072"/>
              <a:gd name="connsiteX15" fmla="*/ 15204 w 19459"/>
              <a:gd name="connsiteY15" fmla="*/ 859 h 18072"/>
              <a:gd name="connsiteX16" fmla="*/ 11470 w 19459"/>
              <a:gd name="connsiteY16" fmla="*/ 23 h 18072"/>
              <a:gd name="connsiteX0" fmla="*/ 11470 w 19459"/>
              <a:gd name="connsiteY0" fmla="*/ 23 h 18072"/>
              <a:gd name="connsiteX1" fmla="*/ 5708 w 19459"/>
              <a:gd name="connsiteY1" fmla="*/ 1085 h 18072"/>
              <a:gd name="connsiteX2" fmla="*/ 1225 w 19459"/>
              <a:gd name="connsiteY2" fmla="*/ 5155 h 18072"/>
              <a:gd name="connsiteX3" fmla="*/ 41 w 19459"/>
              <a:gd name="connsiteY3" fmla="*/ 9089 h 18072"/>
              <a:gd name="connsiteX4" fmla="*/ 358 w 19459"/>
              <a:gd name="connsiteY4" fmla="*/ 13412 h 18072"/>
              <a:gd name="connsiteX5" fmla="*/ 1494 w 19459"/>
              <a:gd name="connsiteY5" fmla="*/ 15993 h 18072"/>
              <a:gd name="connsiteX6" fmla="*/ 6187 w 19459"/>
              <a:gd name="connsiteY6" fmla="*/ 17438 h 18072"/>
              <a:gd name="connsiteX7" fmla="*/ 8637 w 19459"/>
              <a:gd name="connsiteY7" fmla="*/ 17760 h 18072"/>
              <a:gd name="connsiteX8" fmla="*/ 11005 w 19459"/>
              <a:gd name="connsiteY8" fmla="*/ 18044 h 18072"/>
              <a:gd name="connsiteX9" fmla="*/ 13903 w 19459"/>
              <a:gd name="connsiteY9" fmla="*/ 17031 h 18072"/>
              <a:gd name="connsiteX10" fmla="*/ 15610 w 19459"/>
              <a:gd name="connsiteY10" fmla="*/ 16855 h 18072"/>
              <a:gd name="connsiteX11" fmla="*/ 19143 w 19459"/>
              <a:gd name="connsiteY11" fmla="*/ 15924 h 18072"/>
              <a:gd name="connsiteX12" fmla="*/ 19310 w 19459"/>
              <a:gd name="connsiteY12" fmla="*/ 12038 h 18072"/>
              <a:gd name="connsiteX13" fmla="*/ 19338 w 19459"/>
              <a:gd name="connsiteY13" fmla="*/ 8393 h 18072"/>
              <a:gd name="connsiteX14" fmla="*/ 18954 w 19459"/>
              <a:gd name="connsiteY14" fmla="*/ 3401 h 18072"/>
              <a:gd name="connsiteX15" fmla="*/ 15204 w 19459"/>
              <a:gd name="connsiteY15" fmla="*/ 859 h 18072"/>
              <a:gd name="connsiteX16" fmla="*/ 11470 w 19459"/>
              <a:gd name="connsiteY16" fmla="*/ 23 h 18072"/>
              <a:gd name="connsiteX0" fmla="*/ 11465 w 19454"/>
              <a:gd name="connsiteY0" fmla="*/ 23 h 18072"/>
              <a:gd name="connsiteX1" fmla="*/ 5703 w 19454"/>
              <a:gd name="connsiteY1" fmla="*/ 1085 h 18072"/>
              <a:gd name="connsiteX2" fmla="*/ 1220 w 19454"/>
              <a:gd name="connsiteY2" fmla="*/ 5155 h 18072"/>
              <a:gd name="connsiteX3" fmla="*/ 36 w 19454"/>
              <a:gd name="connsiteY3" fmla="*/ 9089 h 18072"/>
              <a:gd name="connsiteX4" fmla="*/ 353 w 19454"/>
              <a:gd name="connsiteY4" fmla="*/ 13412 h 18072"/>
              <a:gd name="connsiteX5" fmla="*/ 1192 w 19454"/>
              <a:gd name="connsiteY5" fmla="*/ 15940 h 18072"/>
              <a:gd name="connsiteX6" fmla="*/ 6182 w 19454"/>
              <a:gd name="connsiteY6" fmla="*/ 17438 h 18072"/>
              <a:gd name="connsiteX7" fmla="*/ 8632 w 19454"/>
              <a:gd name="connsiteY7" fmla="*/ 17760 h 18072"/>
              <a:gd name="connsiteX8" fmla="*/ 11000 w 19454"/>
              <a:gd name="connsiteY8" fmla="*/ 18044 h 18072"/>
              <a:gd name="connsiteX9" fmla="*/ 13898 w 19454"/>
              <a:gd name="connsiteY9" fmla="*/ 17031 h 18072"/>
              <a:gd name="connsiteX10" fmla="*/ 15605 w 19454"/>
              <a:gd name="connsiteY10" fmla="*/ 16855 h 18072"/>
              <a:gd name="connsiteX11" fmla="*/ 19138 w 19454"/>
              <a:gd name="connsiteY11" fmla="*/ 15924 h 18072"/>
              <a:gd name="connsiteX12" fmla="*/ 19305 w 19454"/>
              <a:gd name="connsiteY12" fmla="*/ 12038 h 18072"/>
              <a:gd name="connsiteX13" fmla="*/ 19333 w 19454"/>
              <a:gd name="connsiteY13" fmla="*/ 8393 h 18072"/>
              <a:gd name="connsiteX14" fmla="*/ 18949 w 19454"/>
              <a:gd name="connsiteY14" fmla="*/ 3401 h 18072"/>
              <a:gd name="connsiteX15" fmla="*/ 15199 w 19454"/>
              <a:gd name="connsiteY15" fmla="*/ 859 h 18072"/>
              <a:gd name="connsiteX16" fmla="*/ 11465 w 19454"/>
              <a:gd name="connsiteY16" fmla="*/ 23 h 18072"/>
              <a:gd name="connsiteX0" fmla="*/ 11465 w 19454"/>
              <a:gd name="connsiteY0" fmla="*/ 23 h 18091"/>
              <a:gd name="connsiteX1" fmla="*/ 5703 w 19454"/>
              <a:gd name="connsiteY1" fmla="*/ 1085 h 18091"/>
              <a:gd name="connsiteX2" fmla="*/ 1220 w 19454"/>
              <a:gd name="connsiteY2" fmla="*/ 5155 h 18091"/>
              <a:gd name="connsiteX3" fmla="*/ 36 w 19454"/>
              <a:gd name="connsiteY3" fmla="*/ 9089 h 18091"/>
              <a:gd name="connsiteX4" fmla="*/ 353 w 19454"/>
              <a:gd name="connsiteY4" fmla="*/ 13412 h 18091"/>
              <a:gd name="connsiteX5" fmla="*/ 1192 w 19454"/>
              <a:gd name="connsiteY5" fmla="*/ 15940 h 18091"/>
              <a:gd name="connsiteX6" fmla="*/ 6228 w 19454"/>
              <a:gd name="connsiteY6" fmla="*/ 16324 h 18091"/>
              <a:gd name="connsiteX7" fmla="*/ 8632 w 19454"/>
              <a:gd name="connsiteY7" fmla="*/ 17760 h 18091"/>
              <a:gd name="connsiteX8" fmla="*/ 11000 w 19454"/>
              <a:gd name="connsiteY8" fmla="*/ 18044 h 18091"/>
              <a:gd name="connsiteX9" fmla="*/ 13898 w 19454"/>
              <a:gd name="connsiteY9" fmla="*/ 17031 h 18091"/>
              <a:gd name="connsiteX10" fmla="*/ 15605 w 19454"/>
              <a:gd name="connsiteY10" fmla="*/ 16855 h 18091"/>
              <a:gd name="connsiteX11" fmla="*/ 19138 w 19454"/>
              <a:gd name="connsiteY11" fmla="*/ 15924 h 18091"/>
              <a:gd name="connsiteX12" fmla="*/ 19305 w 19454"/>
              <a:gd name="connsiteY12" fmla="*/ 12038 h 18091"/>
              <a:gd name="connsiteX13" fmla="*/ 19333 w 19454"/>
              <a:gd name="connsiteY13" fmla="*/ 8393 h 18091"/>
              <a:gd name="connsiteX14" fmla="*/ 18949 w 19454"/>
              <a:gd name="connsiteY14" fmla="*/ 3401 h 18091"/>
              <a:gd name="connsiteX15" fmla="*/ 15199 w 19454"/>
              <a:gd name="connsiteY15" fmla="*/ 859 h 18091"/>
              <a:gd name="connsiteX16" fmla="*/ 11465 w 19454"/>
              <a:gd name="connsiteY16" fmla="*/ 23 h 18091"/>
              <a:gd name="connsiteX0" fmla="*/ 11465 w 19454"/>
              <a:gd name="connsiteY0" fmla="*/ 23 h 18091"/>
              <a:gd name="connsiteX1" fmla="*/ 5703 w 19454"/>
              <a:gd name="connsiteY1" fmla="*/ 1085 h 18091"/>
              <a:gd name="connsiteX2" fmla="*/ 1220 w 19454"/>
              <a:gd name="connsiteY2" fmla="*/ 5155 h 18091"/>
              <a:gd name="connsiteX3" fmla="*/ 36 w 19454"/>
              <a:gd name="connsiteY3" fmla="*/ 9089 h 18091"/>
              <a:gd name="connsiteX4" fmla="*/ 353 w 19454"/>
              <a:gd name="connsiteY4" fmla="*/ 13412 h 18091"/>
              <a:gd name="connsiteX5" fmla="*/ 1192 w 19454"/>
              <a:gd name="connsiteY5" fmla="*/ 15940 h 18091"/>
              <a:gd name="connsiteX6" fmla="*/ 6228 w 19454"/>
              <a:gd name="connsiteY6" fmla="*/ 16324 h 18091"/>
              <a:gd name="connsiteX7" fmla="*/ 8632 w 19454"/>
              <a:gd name="connsiteY7" fmla="*/ 17760 h 18091"/>
              <a:gd name="connsiteX8" fmla="*/ 11000 w 19454"/>
              <a:gd name="connsiteY8" fmla="*/ 18044 h 18091"/>
              <a:gd name="connsiteX9" fmla="*/ 13898 w 19454"/>
              <a:gd name="connsiteY9" fmla="*/ 17031 h 18091"/>
              <a:gd name="connsiteX10" fmla="*/ 15605 w 19454"/>
              <a:gd name="connsiteY10" fmla="*/ 16855 h 18091"/>
              <a:gd name="connsiteX11" fmla="*/ 19138 w 19454"/>
              <a:gd name="connsiteY11" fmla="*/ 15924 h 18091"/>
              <a:gd name="connsiteX12" fmla="*/ 19305 w 19454"/>
              <a:gd name="connsiteY12" fmla="*/ 12038 h 18091"/>
              <a:gd name="connsiteX13" fmla="*/ 19333 w 19454"/>
              <a:gd name="connsiteY13" fmla="*/ 8393 h 18091"/>
              <a:gd name="connsiteX14" fmla="*/ 18949 w 19454"/>
              <a:gd name="connsiteY14" fmla="*/ 3401 h 18091"/>
              <a:gd name="connsiteX15" fmla="*/ 15199 w 19454"/>
              <a:gd name="connsiteY15" fmla="*/ 859 h 18091"/>
              <a:gd name="connsiteX16" fmla="*/ 11465 w 19454"/>
              <a:gd name="connsiteY16" fmla="*/ 23 h 18091"/>
              <a:gd name="connsiteX0" fmla="*/ 11465 w 19454"/>
              <a:gd name="connsiteY0" fmla="*/ 23 h 18044"/>
              <a:gd name="connsiteX1" fmla="*/ 5703 w 19454"/>
              <a:gd name="connsiteY1" fmla="*/ 1085 h 18044"/>
              <a:gd name="connsiteX2" fmla="*/ 1220 w 19454"/>
              <a:gd name="connsiteY2" fmla="*/ 5155 h 18044"/>
              <a:gd name="connsiteX3" fmla="*/ 36 w 19454"/>
              <a:gd name="connsiteY3" fmla="*/ 9089 h 18044"/>
              <a:gd name="connsiteX4" fmla="*/ 353 w 19454"/>
              <a:gd name="connsiteY4" fmla="*/ 13412 h 18044"/>
              <a:gd name="connsiteX5" fmla="*/ 1192 w 19454"/>
              <a:gd name="connsiteY5" fmla="*/ 15940 h 18044"/>
              <a:gd name="connsiteX6" fmla="*/ 6228 w 19454"/>
              <a:gd name="connsiteY6" fmla="*/ 16324 h 18044"/>
              <a:gd name="connsiteX7" fmla="*/ 8792 w 19454"/>
              <a:gd name="connsiteY7" fmla="*/ 16911 h 18044"/>
              <a:gd name="connsiteX8" fmla="*/ 11000 w 19454"/>
              <a:gd name="connsiteY8" fmla="*/ 18044 h 18044"/>
              <a:gd name="connsiteX9" fmla="*/ 13898 w 19454"/>
              <a:gd name="connsiteY9" fmla="*/ 17031 h 18044"/>
              <a:gd name="connsiteX10" fmla="*/ 15605 w 19454"/>
              <a:gd name="connsiteY10" fmla="*/ 16855 h 18044"/>
              <a:gd name="connsiteX11" fmla="*/ 19138 w 19454"/>
              <a:gd name="connsiteY11" fmla="*/ 15924 h 18044"/>
              <a:gd name="connsiteX12" fmla="*/ 19305 w 19454"/>
              <a:gd name="connsiteY12" fmla="*/ 12038 h 18044"/>
              <a:gd name="connsiteX13" fmla="*/ 19333 w 19454"/>
              <a:gd name="connsiteY13" fmla="*/ 8393 h 18044"/>
              <a:gd name="connsiteX14" fmla="*/ 18949 w 19454"/>
              <a:gd name="connsiteY14" fmla="*/ 3401 h 18044"/>
              <a:gd name="connsiteX15" fmla="*/ 15199 w 19454"/>
              <a:gd name="connsiteY15" fmla="*/ 859 h 18044"/>
              <a:gd name="connsiteX16" fmla="*/ 11465 w 19454"/>
              <a:gd name="connsiteY16" fmla="*/ 23 h 18044"/>
              <a:gd name="connsiteX0" fmla="*/ 11465 w 19454"/>
              <a:gd name="connsiteY0" fmla="*/ 23 h 17034"/>
              <a:gd name="connsiteX1" fmla="*/ 5703 w 19454"/>
              <a:gd name="connsiteY1" fmla="*/ 1085 h 17034"/>
              <a:gd name="connsiteX2" fmla="*/ 1220 w 19454"/>
              <a:gd name="connsiteY2" fmla="*/ 5155 h 17034"/>
              <a:gd name="connsiteX3" fmla="*/ 36 w 19454"/>
              <a:gd name="connsiteY3" fmla="*/ 9089 h 17034"/>
              <a:gd name="connsiteX4" fmla="*/ 353 w 19454"/>
              <a:gd name="connsiteY4" fmla="*/ 13412 h 17034"/>
              <a:gd name="connsiteX5" fmla="*/ 1192 w 19454"/>
              <a:gd name="connsiteY5" fmla="*/ 15940 h 17034"/>
              <a:gd name="connsiteX6" fmla="*/ 6228 w 19454"/>
              <a:gd name="connsiteY6" fmla="*/ 16324 h 17034"/>
              <a:gd name="connsiteX7" fmla="*/ 8792 w 19454"/>
              <a:gd name="connsiteY7" fmla="*/ 16911 h 17034"/>
              <a:gd name="connsiteX8" fmla="*/ 11183 w 19454"/>
              <a:gd name="connsiteY8" fmla="*/ 16797 h 17034"/>
              <a:gd name="connsiteX9" fmla="*/ 13898 w 19454"/>
              <a:gd name="connsiteY9" fmla="*/ 17031 h 17034"/>
              <a:gd name="connsiteX10" fmla="*/ 15605 w 19454"/>
              <a:gd name="connsiteY10" fmla="*/ 16855 h 17034"/>
              <a:gd name="connsiteX11" fmla="*/ 19138 w 19454"/>
              <a:gd name="connsiteY11" fmla="*/ 15924 h 17034"/>
              <a:gd name="connsiteX12" fmla="*/ 19305 w 19454"/>
              <a:gd name="connsiteY12" fmla="*/ 12038 h 17034"/>
              <a:gd name="connsiteX13" fmla="*/ 19333 w 19454"/>
              <a:gd name="connsiteY13" fmla="*/ 8393 h 17034"/>
              <a:gd name="connsiteX14" fmla="*/ 18949 w 19454"/>
              <a:gd name="connsiteY14" fmla="*/ 3401 h 17034"/>
              <a:gd name="connsiteX15" fmla="*/ 15199 w 19454"/>
              <a:gd name="connsiteY15" fmla="*/ 859 h 17034"/>
              <a:gd name="connsiteX16" fmla="*/ 11465 w 19454"/>
              <a:gd name="connsiteY16" fmla="*/ 23 h 17034"/>
              <a:gd name="connsiteX0" fmla="*/ 11465 w 19454"/>
              <a:gd name="connsiteY0" fmla="*/ 23 h 16937"/>
              <a:gd name="connsiteX1" fmla="*/ 5703 w 19454"/>
              <a:gd name="connsiteY1" fmla="*/ 1085 h 16937"/>
              <a:gd name="connsiteX2" fmla="*/ 1220 w 19454"/>
              <a:gd name="connsiteY2" fmla="*/ 5155 h 16937"/>
              <a:gd name="connsiteX3" fmla="*/ 36 w 19454"/>
              <a:gd name="connsiteY3" fmla="*/ 9089 h 16937"/>
              <a:gd name="connsiteX4" fmla="*/ 353 w 19454"/>
              <a:gd name="connsiteY4" fmla="*/ 13412 h 16937"/>
              <a:gd name="connsiteX5" fmla="*/ 1192 w 19454"/>
              <a:gd name="connsiteY5" fmla="*/ 15940 h 16937"/>
              <a:gd name="connsiteX6" fmla="*/ 6228 w 19454"/>
              <a:gd name="connsiteY6" fmla="*/ 16324 h 16937"/>
              <a:gd name="connsiteX7" fmla="*/ 8792 w 19454"/>
              <a:gd name="connsiteY7" fmla="*/ 16911 h 16937"/>
              <a:gd name="connsiteX8" fmla="*/ 11183 w 19454"/>
              <a:gd name="connsiteY8" fmla="*/ 16797 h 16937"/>
              <a:gd name="connsiteX9" fmla="*/ 13806 w 19454"/>
              <a:gd name="connsiteY9" fmla="*/ 16448 h 16937"/>
              <a:gd name="connsiteX10" fmla="*/ 15605 w 19454"/>
              <a:gd name="connsiteY10" fmla="*/ 16855 h 16937"/>
              <a:gd name="connsiteX11" fmla="*/ 19138 w 19454"/>
              <a:gd name="connsiteY11" fmla="*/ 15924 h 16937"/>
              <a:gd name="connsiteX12" fmla="*/ 19305 w 19454"/>
              <a:gd name="connsiteY12" fmla="*/ 12038 h 16937"/>
              <a:gd name="connsiteX13" fmla="*/ 19333 w 19454"/>
              <a:gd name="connsiteY13" fmla="*/ 8393 h 16937"/>
              <a:gd name="connsiteX14" fmla="*/ 18949 w 19454"/>
              <a:gd name="connsiteY14" fmla="*/ 3401 h 16937"/>
              <a:gd name="connsiteX15" fmla="*/ 15199 w 19454"/>
              <a:gd name="connsiteY15" fmla="*/ 859 h 16937"/>
              <a:gd name="connsiteX16" fmla="*/ 11465 w 19454"/>
              <a:gd name="connsiteY16" fmla="*/ 23 h 16937"/>
              <a:gd name="connsiteX0" fmla="*/ 11465 w 19445"/>
              <a:gd name="connsiteY0" fmla="*/ 23 h 16937"/>
              <a:gd name="connsiteX1" fmla="*/ 5703 w 19445"/>
              <a:gd name="connsiteY1" fmla="*/ 1085 h 16937"/>
              <a:gd name="connsiteX2" fmla="*/ 1220 w 19445"/>
              <a:gd name="connsiteY2" fmla="*/ 5155 h 16937"/>
              <a:gd name="connsiteX3" fmla="*/ 36 w 19445"/>
              <a:gd name="connsiteY3" fmla="*/ 9089 h 16937"/>
              <a:gd name="connsiteX4" fmla="*/ 353 w 19445"/>
              <a:gd name="connsiteY4" fmla="*/ 13412 h 16937"/>
              <a:gd name="connsiteX5" fmla="*/ 1192 w 19445"/>
              <a:gd name="connsiteY5" fmla="*/ 15940 h 16937"/>
              <a:gd name="connsiteX6" fmla="*/ 6228 w 19445"/>
              <a:gd name="connsiteY6" fmla="*/ 16324 h 16937"/>
              <a:gd name="connsiteX7" fmla="*/ 8792 w 19445"/>
              <a:gd name="connsiteY7" fmla="*/ 16911 h 16937"/>
              <a:gd name="connsiteX8" fmla="*/ 11183 w 19445"/>
              <a:gd name="connsiteY8" fmla="*/ 16797 h 16937"/>
              <a:gd name="connsiteX9" fmla="*/ 13806 w 19445"/>
              <a:gd name="connsiteY9" fmla="*/ 16448 h 16937"/>
              <a:gd name="connsiteX10" fmla="*/ 15719 w 19445"/>
              <a:gd name="connsiteY10" fmla="*/ 16033 h 16937"/>
              <a:gd name="connsiteX11" fmla="*/ 19138 w 19445"/>
              <a:gd name="connsiteY11" fmla="*/ 15924 h 16937"/>
              <a:gd name="connsiteX12" fmla="*/ 19305 w 19445"/>
              <a:gd name="connsiteY12" fmla="*/ 12038 h 16937"/>
              <a:gd name="connsiteX13" fmla="*/ 19333 w 19445"/>
              <a:gd name="connsiteY13" fmla="*/ 8393 h 16937"/>
              <a:gd name="connsiteX14" fmla="*/ 18949 w 19445"/>
              <a:gd name="connsiteY14" fmla="*/ 3401 h 16937"/>
              <a:gd name="connsiteX15" fmla="*/ 15199 w 19445"/>
              <a:gd name="connsiteY15" fmla="*/ 859 h 16937"/>
              <a:gd name="connsiteX16" fmla="*/ 11465 w 19445"/>
              <a:gd name="connsiteY16" fmla="*/ 23 h 16937"/>
              <a:gd name="connsiteX0" fmla="*/ 11465 w 19445"/>
              <a:gd name="connsiteY0" fmla="*/ 23 h 16953"/>
              <a:gd name="connsiteX1" fmla="*/ 5703 w 19445"/>
              <a:gd name="connsiteY1" fmla="*/ 1085 h 16953"/>
              <a:gd name="connsiteX2" fmla="*/ 1220 w 19445"/>
              <a:gd name="connsiteY2" fmla="*/ 5155 h 16953"/>
              <a:gd name="connsiteX3" fmla="*/ 36 w 19445"/>
              <a:gd name="connsiteY3" fmla="*/ 9089 h 16953"/>
              <a:gd name="connsiteX4" fmla="*/ 353 w 19445"/>
              <a:gd name="connsiteY4" fmla="*/ 13412 h 16953"/>
              <a:gd name="connsiteX5" fmla="*/ 1192 w 19445"/>
              <a:gd name="connsiteY5" fmla="*/ 15940 h 16953"/>
              <a:gd name="connsiteX6" fmla="*/ 6228 w 19445"/>
              <a:gd name="connsiteY6" fmla="*/ 16324 h 16953"/>
              <a:gd name="connsiteX7" fmla="*/ 8792 w 19445"/>
              <a:gd name="connsiteY7" fmla="*/ 16911 h 16953"/>
              <a:gd name="connsiteX8" fmla="*/ 11183 w 19445"/>
              <a:gd name="connsiteY8" fmla="*/ 16797 h 16953"/>
              <a:gd name="connsiteX9" fmla="*/ 13806 w 19445"/>
              <a:gd name="connsiteY9" fmla="*/ 15918 h 16953"/>
              <a:gd name="connsiteX10" fmla="*/ 15719 w 19445"/>
              <a:gd name="connsiteY10" fmla="*/ 16033 h 16953"/>
              <a:gd name="connsiteX11" fmla="*/ 19138 w 19445"/>
              <a:gd name="connsiteY11" fmla="*/ 15924 h 16953"/>
              <a:gd name="connsiteX12" fmla="*/ 19305 w 19445"/>
              <a:gd name="connsiteY12" fmla="*/ 12038 h 16953"/>
              <a:gd name="connsiteX13" fmla="*/ 19333 w 19445"/>
              <a:gd name="connsiteY13" fmla="*/ 8393 h 16953"/>
              <a:gd name="connsiteX14" fmla="*/ 18949 w 19445"/>
              <a:gd name="connsiteY14" fmla="*/ 3401 h 16953"/>
              <a:gd name="connsiteX15" fmla="*/ 15199 w 19445"/>
              <a:gd name="connsiteY15" fmla="*/ 859 h 16953"/>
              <a:gd name="connsiteX16" fmla="*/ 11465 w 19445"/>
              <a:gd name="connsiteY16" fmla="*/ 23 h 16953"/>
              <a:gd name="connsiteX0" fmla="*/ 11465 w 19445"/>
              <a:gd name="connsiteY0" fmla="*/ 23 h 16917"/>
              <a:gd name="connsiteX1" fmla="*/ 5703 w 19445"/>
              <a:gd name="connsiteY1" fmla="*/ 1085 h 16917"/>
              <a:gd name="connsiteX2" fmla="*/ 1220 w 19445"/>
              <a:gd name="connsiteY2" fmla="*/ 5155 h 16917"/>
              <a:gd name="connsiteX3" fmla="*/ 36 w 19445"/>
              <a:gd name="connsiteY3" fmla="*/ 9089 h 16917"/>
              <a:gd name="connsiteX4" fmla="*/ 353 w 19445"/>
              <a:gd name="connsiteY4" fmla="*/ 13412 h 16917"/>
              <a:gd name="connsiteX5" fmla="*/ 1192 w 19445"/>
              <a:gd name="connsiteY5" fmla="*/ 15940 h 16917"/>
              <a:gd name="connsiteX6" fmla="*/ 6228 w 19445"/>
              <a:gd name="connsiteY6" fmla="*/ 16324 h 16917"/>
              <a:gd name="connsiteX7" fmla="*/ 8792 w 19445"/>
              <a:gd name="connsiteY7" fmla="*/ 16911 h 16917"/>
              <a:gd name="connsiteX8" fmla="*/ 11000 w 19445"/>
              <a:gd name="connsiteY8" fmla="*/ 15895 h 16917"/>
              <a:gd name="connsiteX9" fmla="*/ 13806 w 19445"/>
              <a:gd name="connsiteY9" fmla="*/ 15918 h 16917"/>
              <a:gd name="connsiteX10" fmla="*/ 15719 w 19445"/>
              <a:gd name="connsiteY10" fmla="*/ 16033 h 16917"/>
              <a:gd name="connsiteX11" fmla="*/ 19138 w 19445"/>
              <a:gd name="connsiteY11" fmla="*/ 15924 h 16917"/>
              <a:gd name="connsiteX12" fmla="*/ 19305 w 19445"/>
              <a:gd name="connsiteY12" fmla="*/ 12038 h 16917"/>
              <a:gd name="connsiteX13" fmla="*/ 19333 w 19445"/>
              <a:gd name="connsiteY13" fmla="*/ 8393 h 16917"/>
              <a:gd name="connsiteX14" fmla="*/ 18949 w 19445"/>
              <a:gd name="connsiteY14" fmla="*/ 3401 h 16917"/>
              <a:gd name="connsiteX15" fmla="*/ 15199 w 19445"/>
              <a:gd name="connsiteY15" fmla="*/ 859 h 16917"/>
              <a:gd name="connsiteX16" fmla="*/ 11465 w 19445"/>
              <a:gd name="connsiteY16" fmla="*/ 23 h 16917"/>
              <a:gd name="connsiteX0" fmla="*/ 11465 w 19445"/>
              <a:gd name="connsiteY0" fmla="*/ 23 h 16917"/>
              <a:gd name="connsiteX1" fmla="*/ 5703 w 19445"/>
              <a:gd name="connsiteY1" fmla="*/ 1085 h 16917"/>
              <a:gd name="connsiteX2" fmla="*/ 1220 w 19445"/>
              <a:gd name="connsiteY2" fmla="*/ 5155 h 16917"/>
              <a:gd name="connsiteX3" fmla="*/ 36 w 19445"/>
              <a:gd name="connsiteY3" fmla="*/ 9089 h 16917"/>
              <a:gd name="connsiteX4" fmla="*/ 353 w 19445"/>
              <a:gd name="connsiteY4" fmla="*/ 13412 h 16917"/>
              <a:gd name="connsiteX5" fmla="*/ 1192 w 19445"/>
              <a:gd name="connsiteY5" fmla="*/ 15940 h 16917"/>
              <a:gd name="connsiteX6" fmla="*/ 6228 w 19445"/>
              <a:gd name="connsiteY6" fmla="*/ 16324 h 16917"/>
              <a:gd name="connsiteX7" fmla="*/ 8792 w 19445"/>
              <a:gd name="connsiteY7" fmla="*/ 16911 h 16917"/>
              <a:gd name="connsiteX8" fmla="*/ 11000 w 19445"/>
              <a:gd name="connsiteY8" fmla="*/ 15895 h 16917"/>
              <a:gd name="connsiteX9" fmla="*/ 13829 w 19445"/>
              <a:gd name="connsiteY9" fmla="*/ 15573 h 16917"/>
              <a:gd name="connsiteX10" fmla="*/ 15719 w 19445"/>
              <a:gd name="connsiteY10" fmla="*/ 16033 h 16917"/>
              <a:gd name="connsiteX11" fmla="*/ 19138 w 19445"/>
              <a:gd name="connsiteY11" fmla="*/ 15924 h 16917"/>
              <a:gd name="connsiteX12" fmla="*/ 19305 w 19445"/>
              <a:gd name="connsiteY12" fmla="*/ 12038 h 16917"/>
              <a:gd name="connsiteX13" fmla="*/ 19333 w 19445"/>
              <a:gd name="connsiteY13" fmla="*/ 8393 h 16917"/>
              <a:gd name="connsiteX14" fmla="*/ 18949 w 19445"/>
              <a:gd name="connsiteY14" fmla="*/ 3401 h 16917"/>
              <a:gd name="connsiteX15" fmla="*/ 15199 w 19445"/>
              <a:gd name="connsiteY15" fmla="*/ 859 h 16917"/>
              <a:gd name="connsiteX16" fmla="*/ 11465 w 19445"/>
              <a:gd name="connsiteY16" fmla="*/ 23 h 16917"/>
              <a:gd name="connsiteX0" fmla="*/ 11465 w 19445"/>
              <a:gd name="connsiteY0" fmla="*/ 23 h 16917"/>
              <a:gd name="connsiteX1" fmla="*/ 5703 w 19445"/>
              <a:gd name="connsiteY1" fmla="*/ 1085 h 16917"/>
              <a:gd name="connsiteX2" fmla="*/ 1220 w 19445"/>
              <a:gd name="connsiteY2" fmla="*/ 5155 h 16917"/>
              <a:gd name="connsiteX3" fmla="*/ 36 w 19445"/>
              <a:gd name="connsiteY3" fmla="*/ 9089 h 16917"/>
              <a:gd name="connsiteX4" fmla="*/ 353 w 19445"/>
              <a:gd name="connsiteY4" fmla="*/ 13412 h 16917"/>
              <a:gd name="connsiteX5" fmla="*/ 1192 w 19445"/>
              <a:gd name="connsiteY5" fmla="*/ 15940 h 16917"/>
              <a:gd name="connsiteX6" fmla="*/ 6228 w 19445"/>
              <a:gd name="connsiteY6" fmla="*/ 16324 h 16917"/>
              <a:gd name="connsiteX7" fmla="*/ 8792 w 19445"/>
              <a:gd name="connsiteY7" fmla="*/ 16911 h 16917"/>
              <a:gd name="connsiteX8" fmla="*/ 11000 w 19445"/>
              <a:gd name="connsiteY8" fmla="*/ 15895 h 16917"/>
              <a:gd name="connsiteX9" fmla="*/ 13829 w 19445"/>
              <a:gd name="connsiteY9" fmla="*/ 15573 h 16917"/>
              <a:gd name="connsiteX10" fmla="*/ 15719 w 19445"/>
              <a:gd name="connsiteY10" fmla="*/ 15715 h 16917"/>
              <a:gd name="connsiteX11" fmla="*/ 19138 w 19445"/>
              <a:gd name="connsiteY11" fmla="*/ 15924 h 16917"/>
              <a:gd name="connsiteX12" fmla="*/ 19305 w 19445"/>
              <a:gd name="connsiteY12" fmla="*/ 12038 h 16917"/>
              <a:gd name="connsiteX13" fmla="*/ 19333 w 19445"/>
              <a:gd name="connsiteY13" fmla="*/ 8393 h 16917"/>
              <a:gd name="connsiteX14" fmla="*/ 18949 w 19445"/>
              <a:gd name="connsiteY14" fmla="*/ 3401 h 16917"/>
              <a:gd name="connsiteX15" fmla="*/ 15199 w 19445"/>
              <a:gd name="connsiteY15" fmla="*/ 859 h 16917"/>
              <a:gd name="connsiteX16" fmla="*/ 11465 w 19445"/>
              <a:gd name="connsiteY16" fmla="*/ 23 h 16917"/>
              <a:gd name="connsiteX0" fmla="*/ 11465 w 19390"/>
              <a:gd name="connsiteY0" fmla="*/ 23 h 16917"/>
              <a:gd name="connsiteX1" fmla="*/ 5703 w 19390"/>
              <a:gd name="connsiteY1" fmla="*/ 1085 h 16917"/>
              <a:gd name="connsiteX2" fmla="*/ 1220 w 19390"/>
              <a:gd name="connsiteY2" fmla="*/ 5155 h 16917"/>
              <a:gd name="connsiteX3" fmla="*/ 36 w 19390"/>
              <a:gd name="connsiteY3" fmla="*/ 9089 h 16917"/>
              <a:gd name="connsiteX4" fmla="*/ 353 w 19390"/>
              <a:gd name="connsiteY4" fmla="*/ 13412 h 16917"/>
              <a:gd name="connsiteX5" fmla="*/ 1192 w 19390"/>
              <a:gd name="connsiteY5" fmla="*/ 15940 h 16917"/>
              <a:gd name="connsiteX6" fmla="*/ 6228 w 19390"/>
              <a:gd name="connsiteY6" fmla="*/ 16324 h 16917"/>
              <a:gd name="connsiteX7" fmla="*/ 8792 w 19390"/>
              <a:gd name="connsiteY7" fmla="*/ 16911 h 16917"/>
              <a:gd name="connsiteX8" fmla="*/ 11000 w 19390"/>
              <a:gd name="connsiteY8" fmla="*/ 15895 h 16917"/>
              <a:gd name="connsiteX9" fmla="*/ 13829 w 19390"/>
              <a:gd name="connsiteY9" fmla="*/ 15573 h 16917"/>
              <a:gd name="connsiteX10" fmla="*/ 15719 w 19390"/>
              <a:gd name="connsiteY10" fmla="*/ 15715 h 16917"/>
              <a:gd name="connsiteX11" fmla="*/ 18543 w 19390"/>
              <a:gd name="connsiteY11" fmla="*/ 15924 h 16917"/>
              <a:gd name="connsiteX12" fmla="*/ 19305 w 19390"/>
              <a:gd name="connsiteY12" fmla="*/ 12038 h 16917"/>
              <a:gd name="connsiteX13" fmla="*/ 19333 w 19390"/>
              <a:gd name="connsiteY13" fmla="*/ 8393 h 16917"/>
              <a:gd name="connsiteX14" fmla="*/ 18949 w 19390"/>
              <a:gd name="connsiteY14" fmla="*/ 3401 h 16917"/>
              <a:gd name="connsiteX15" fmla="*/ 15199 w 19390"/>
              <a:gd name="connsiteY15" fmla="*/ 859 h 16917"/>
              <a:gd name="connsiteX16" fmla="*/ 11465 w 19390"/>
              <a:gd name="connsiteY16" fmla="*/ 23 h 16917"/>
              <a:gd name="connsiteX0" fmla="*/ 11465 w 19390"/>
              <a:gd name="connsiteY0" fmla="*/ 23 h 16917"/>
              <a:gd name="connsiteX1" fmla="*/ 5703 w 19390"/>
              <a:gd name="connsiteY1" fmla="*/ 1085 h 16917"/>
              <a:gd name="connsiteX2" fmla="*/ 1220 w 19390"/>
              <a:gd name="connsiteY2" fmla="*/ 5155 h 16917"/>
              <a:gd name="connsiteX3" fmla="*/ 36 w 19390"/>
              <a:gd name="connsiteY3" fmla="*/ 9089 h 16917"/>
              <a:gd name="connsiteX4" fmla="*/ 353 w 19390"/>
              <a:gd name="connsiteY4" fmla="*/ 13412 h 16917"/>
              <a:gd name="connsiteX5" fmla="*/ 1192 w 19390"/>
              <a:gd name="connsiteY5" fmla="*/ 15940 h 16917"/>
              <a:gd name="connsiteX6" fmla="*/ 6228 w 19390"/>
              <a:gd name="connsiteY6" fmla="*/ 16324 h 16917"/>
              <a:gd name="connsiteX7" fmla="*/ 8792 w 19390"/>
              <a:gd name="connsiteY7" fmla="*/ 16911 h 16917"/>
              <a:gd name="connsiteX8" fmla="*/ 11000 w 19390"/>
              <a:gd name="connsiteY8" fmla="*/ 15895 h 16917"/>
              <a:gd name="connsiteX9" fmla="*/ 13829 w 19390"/>
              <a:gd name="connsiteY9" fmla="*/ 15573 h 16917"/>
              <a:gd name="connsiteX10" fmla="*/ 15719 w 19390"/>
              <a:gd name="connsiteY10" fmla="*/ 15715 h 16917"/>
              <a:gd name="connsiteX11" fmla="*/ 18543 w 19390"/>
              <a:gd name="connsiteY11" fmla="*/ 15924 h 16917"/>
              <a:gd name="connsiteX12" fmla="*/ 19305 w 19390"/>
              <a:gd name="connsiteY12" fmla="*/ 12038 h 16917"/>
              <a:gd name="connsiteX13" fmla="*/ 19333 w 19390"/>
              <a:gd name="connsiteY13" fmla="*/ 8393 h 16917"/>
              <a:gd name="connsiteX14" fmla="*/ 18949 w 19390"/>
              <a:gd name="connsiteY14" fmla="*/ 3401 h 16917"/>
              <a:gd name="connsiteX15" fmla="*/ 15199 w 19390"/>
              <a:gd name="connsiteY15" fmla="*/ 859 h 16917"/>
              <a:gd name="connsiteX16" fmla="*/ 11465 w 19390"/>
              <a:gd name="connsiteY16" fmla="*/ 23 h 16917"/>
              <a:gd name="connsiteX0" fmla="*/ 11465 w 19390"/>
              <a:gd name="connsiteY0" fmla="*/ 23 h 16917"/>
              <a:gd name="connsiteX1" fmla="*/ 5703 w 19390"/>
              <a:gd name="connsiteY1" fmla="*/ 1085 h 16917"/>
              <a:gd name="connsiteX2" fmla="*/ 1220 w 19390"/>
              <a:gd name="connsiteY2" fmla="*/ 5155 h 16917"/>
              <a:gd name="connsiteX3" fmla="*/ 36 w 19390"/>
              <a:gd name="connsiteY3" fmla="*/ 9089 h 16917"/>
              <a:gd name="connsiteX4" fmla="*/ 353 w 19390"/>
              <a:gd name="connsiteY4" fmla="*/ 13412 h 16917"/>
              <a:gd name="connsiteX5" fmla="*/ 1192 w 19390"/>
              <a:gd name="connsiteY5" fmla="*/ 15940 h 16917"/>
              <a:gd name="connsiteX6" fmla="*/ 6228 w 19390"/>
              <a:gd name="connsiteY6" fmla="*/ 16324 h 16917"/>
              <a:gd name="connsiteX7" fmla="*/ 8792 w 19390"/>
              <a:gd name="connsiteY7" fmla="*/ 16911 h 16917"/>
              <a:gd name="connsiteX8" fmla="*/ 11000 w 19390"/>
              <a:gd name="connsiteY8" fmla="*/ 15895 h 16917"/>
              <a:gd name="connsiteX9" fmla="*/ 13829 w 19390"/>
              <a:gd name="connsiteY9" fmla="*/ 15573 h 16917"/>
              <a:gd name="connsiteX10" fmla="*/ 15719 w 19390"/>
              <a:gd name="connsiteY10" fmla="*/ 15715 h 16917"/>
              <a:gd name="connsiteX11" fmla="*/ 18543 w 19390"/>
              <a:gd name="connsiteY11" fmla="*/ 15924 h 16917"/>
              <a:gd name="connsiteX12" fmla="*/ 19305 w 19390"/>
              <a:gd name="connsiteY12" fmla="*/ 12038 h 16917"/>
              <a:gd name="connsiteX13" fmla="*/ 19333 w 19390"/>
              <a:gd name="connsiteY13" fmla="*/ 8393 h 16917"/>
              <a:gd name="connsiteX14" fmla="*/ 18949 w 19390"/>
              <a:gd name="connsiteY14" fmla="*/ 3401 h 16917"/>
              <a:gd name="connsiteX15" fmla="*/ 15199 w 19390"/>
              <a:gd name="connsiteY15" fmla="*/ 859 h 16917"/>
              <a:gd name="connsiteX16" fmla="*/ 11465 w 19390"/>
              <a:gd name="connsiteY16" fmla="*/ 23 h 16917"/>
              <a:gd name="connsiteX0" fmla="*/ 11465 w 19379"/>
              <a:gd name="connsiteY0" fmla="*/ 23 h 16917"/>
              <a:gd name="connsiteX1" fmla="*/ 5703 w 19379"/>
              <a:gd name="connsiteY1" fmla="*/ 1085 h 16917"/>
              <a:gd name="connsiteX2" fmla="*/ 1220 w 19379"/>
              <a:gd name="connsiteY2" fmla="*/ 5155 h 16917"/>
              <a:gd name="connsiteX3" fmla="*/ 36 w 19379"/>
              <a:gd name="connsiteY3" fmla="*/ 9089 h 16917"/>
              <a:gd name="connsiteX4" fmla="*/ 353 w 19379"/>
              <a:gd name="connsiteY4" fmla="*/ 13412 h 16917"/>
              <a:gd name="connsiteX5" fmla="*/ 1192 w 19379"/>
              <a:gd name="connsiteY5" fmla="*/ 15940 h 16917"/>
              <a:gd name="connsiteX6" fmla="*/ 6228 w 19379"/>
              <a:gd name="connsiteY6" fmla="*/ 16324 h 16917"/>
              <a:gd name="connsiteX7" fmla="*/ 8792 w 19379"/>
              <a:gd name="connsiteY7" fmla="*/ 16911 h 16917"/>
              <a:gd name="connsiteX8" fmla="*/ 11000 w 19379"/>
              <a:gd name="connsiteY8" fmla="*/ 15895 h 16917"/>
              <a:gd name="connsiteX9" fmla="*/ 13829 w 19379"/>
              <a:gd name="connsiteY9" fmla="*/ 15573 h 16917"/>
              <a:gd name="connsiteX10" fmla="*/ 15719 w 19379"/>
              <a:gd name="connsiteY10" fmla="*/ 15715 h 16917"/>
              <a:gd name="connsiteX11" fmla="*/ 18543 w 19379"/>
              <a:gd name="connsiteY11" fmla="*/ 15924 h 16917"/>
              <a:gd name="connsiteX12" fmla="*/ 19305 w 19379"/>
              <a:gd name="connsiteY12" fmla="*/ 12038 h 16917"/>
              <a:gd name="connsiteX13" fmla="*/ 19310 w 19379"/>
              <a:gd name="connsiteY13" fmla="*/ 8976 h 16917"/>
              <a:gd name="connsiteX14" fmla="*/ 18949 w 19379"/>
              <a:gd name="connsiteY14" fmla="*/ 3401 h 16917"/>
              <a:gd name="connsiteX15" fmla="*/ 15199 w 19379"/>
              <a:gd name="connsiteY15" fmla="*/ 859 h 16917"/>
              <a:gd name="connsiteX16" fmla="*/ 11465 w 19379"/>
              <a:gd name="connsiteY16" fmla="*/ 23 h 16917"/>
              <a:gd name="connsiteX0" fmla="*/ 11465 w 19372"/>
              <a:gd name="connsiteY0" fmla="*/ 23 h 16917"/>
              <a:gd name="connsiteX1" fmla="*/ 5703 w 19372"/>
              <a:gd name="connsiteY1" fmla="*/ 1085 h 16917"/>
              <a:gd name="connsiteX2" fmla="*/ 1220 w 19372"/>
              <a:gd name="connsiteY2" fmla="*/ 5155 h 16917"/>
              <a:gd name="connsiteX3" fmla="*/ 36 w 19372"/>
              <a:gd name="connsiteY3" fmla="*/ 9089 h 16917"/>
              <a:gd name="connsiteX4" fmla="*/ 353 w 19372"/>
              <a:gd name="connsiteY4" fmla="*/ 13412 h 16917"/>
              <a:gd name="connsiteX5" fmla="*/ 1192 w 19372"/>
              <a:gd name="connsiteY5" fmla="*/ 15940 h 16917"/>
              <a:gd name="connsiteX6" fmla="*/ 6228 w 19372"/>
              <a:gd name="connsiteY6" fmla="*/ 16324 h 16917"/>
              <a:gd name="connsiteX7" fmla="*/ 8792 w 19372"/>
              <a:gd name="connsiteY7" fmla="*/ 16911 h 16917"/>
              <a:gd name="connsiteX8" fmla="*/ 11000 w 19372"/>
              <a:gd name="connsiteY8" fmla="*/ 15895 h 16917"/>
              <a:gd name="connsiteX9" fmla="*/ 13829 w 19372"/>
              <a:gd name="connsiteY9" fmla="*/ 15573 h 16917"/>
              <a:gd name="connsiteX10" fmla="*/ 15719 w 19372"/>
              <a:gd name="connsiteY10" fmla="*/ 15715 h 16917"/>
              <a:gd name="connsiteX11" fmla="*/ 18543 w 19372"/>
              <a:gd name="connsiteY11" fmla="*/ 15924 h 16917"/>
              <a:gd name="connsiteX12" fmla="*/ 19305 w 19372"/>
              <a:gd name="connsiteY12" fmla="*/ 12038 h 16917"/>
              <a:gd name="connsiteX13" fmla="*/ 19310 w 19372"/>
              <a:gd name="connsiteY13" fmla="*/ 8976 h 16917"/>
              <a:gd name="connsiteX14" fmla="*/ 18949 w 19372"/>
              <a:gd name="connsiteY14" fmla="*/ 3401 h 16917"/>
              <a:gd name="connsiteX15" fmla="*/ 15199 w 19372"/>
              <a:gd name="connsiteY15" fmla="*/ 859 h 16917"/>
              <a:gd name="connsiteX16" fmla="*/ 11465 w 19372"/>
              <a:gd name="connsiteY16" fmla="*/ 23 h 16917"/>
              <a:gd name="connsiteX0" fmla="*/ 11465 w 19318"/>
              <a:gd name="connsiteY0" fmla="*/ 23 h 16917"/>
              <a:gd name="connsiteX1" fmla="*/ 5703 w 19318"/>
              <a:gd name="connsiteY1" fmla="*/ 1085 h 16917"/>
              <a:gd name="connsiteX2" fmla="*/ 1220 w 19318"/>
              <a:gd name="connsiteY2" fmla="*/ 5155 h 16917"/>
              <a:gd name="connsiteX3" fmla="*/ 36 w 19318"/>
              <a:gd name="connsiteY3" fmla="*/ 9089 h 16917"/>
              <a:gd name="connsiteX4" fmla="*/ 353 w 19318"/>
              <a:gd name="connsiteY4" fmla="*/ 13412 h 16917"/>
              <a:gd name="connsiteX5" fmla="*/ 1192 w 19318"/>
              <a:gd name="connsiteY5" fmla="*/ 15940 h 16917"/>
              <a:gd name="connsiteX6" fmla="*/ 6228 w 19318"/>
              <a:gd name="connsiteY6" fmla="*/ 16324 h 16917"/>
              <a:gd name="connsiteX7" fmla="*/ 8792 w 19318"/>
              <a:gd name="connsiteY7" fmla="*/ 16911 h 16917"/>
              <a:gd name="connsiteX8" fmla="*/ 11000 w 19318"/>
              <a:gd name="connsiteY8" fmla="*/ 15895 h 16917"/>
              <a:gd name="connsiteX9" fmla="*/ 13829 w 19318"/>
              <a:gd name="connsiteY9" fmla="*/ 15573 h 16917"/>
              <a:gd name="connsiteX10" fmla="*/ 15719 w 19318"/>
              <a:gd name="connsiteY10" fmla="*/ 15715 h 16917"/>
              <a:gd name="connsiteX11" fmla="*/ 18543 w 19318"/>
              <a:gd name="connsiteY11" fmla="*/ 15924 h 16917"/>
              <a:gd name="connsiteX12" fmla="*/ 19099 w 19318"/>
              <a:gd name="connsiteY12" fmla="*/ 12224 h 16917"/>
              <a:gd name="connsiteX13" fmla="*/ 19310 w 19318"/>
              <a:gd name="connsiteY13" fmla="*/ 8976 h 16917"/>
              <a:gd name="connsiteX14" fmla="*/ 18949 w 19318"/>
              <a:gd name="connsiteY14" fmla="*/ 3401 h 16917"/>
              <a:gd name="connsiteX15" fmla="*/ 15199 w 19318"/>
              <a:gd name="connsiteY15" fmla="*/ 859 h 16917"/>
              <a:gd name="connsiteX16" fmla="*/ 11465 w 19318"/>
              <a:gd name="connsiteY16" fmla="*/ 23 h 16917"/>
              <a:gd name="connsiteX0" fmla="*/ 11465 w 19167"/>
              <a:gd name="connsiteY0" fmla="*/ 23 h 16917"/>
              <a:gd name="connsiteX1" fmla="*/ 5703 w 19167"/>
              <a:gd name="connsiteY1" fmla="*/ 1085 h 16917"/>
              <a:gd name="connsiteX2" fmla="*/ 1220 w 19167"/>
              <a:gd name="connsiteY2" fmla="*/ 5155 h 16917"/>
              <a:gd name="connsiteX3" fmla="*/ 36 w 19167"/>
              <a:gd name="connsiteY3" fmla="*/ 9089 h 16917"/>
              <a:gd name="connsiteX4" fmla="*/ 353 w 19167"/>
              <a:gd name="connsiteY4" fmla="*/ 13412 h 16917"/>
              <a:gd name="connsiteX5" fmla="*/ 1192 w 19167"/>
              <a:gd name="connsiteY5" fmla="*/ 15940 h 16917"/>
              <a:gd name="connsiteX6" fmla="*/ 6228 w 19167"/>
              <a:gd name="connsiteY6" fmla="*/ 16324 h 16917"/>
              <a:gd name="connsiteX7" fmla="*/ 8792 w 19167"/>
              <a:gd name="connsiteY7" fmla="*/ 16911 h 16917"/>
              <a:gd name="connsiteX8" fmla="*/ 11000 w 19167"/>
              <a:gd name="connsiteY8" fmla="*/ 15895 h 16917"/>
              <a:gd name="connsiteX9" fmla="*/ 13829 w 19167"/>
              <a:gd name="connsiteY9" fmla="*/ 15573 h 16917"/>
              <a:gd name="connsiteX10" fmla="*/ 15719 w 19167"/>
              <a:gd name="connsiteY10" fmla="*/ 15715 h 16917"/>
              <a:gd name="connsiteX11" fmla="*/ 18543 w 19167"/>
              <a:gd name="connsiteY11" fmla="*/ 15924 h 16917"/>
              <a:gd name="connsiteX12" fmla="*/ 19099 w 19167"/>
              <a:gd name="connsiteY12" fmla="*/ 12224 h 16917"/>
              <a:gd name="connsiteX13" fmla="*/ 18944 w 19167"/>
              <a:gd name="connsiteY13" fmla="*/ 9029 h 16917"/>
              <a:gd name="connsiteX14" fmla="*/ 18949 w 19167"/>
              <a:gd name="connsiteY14" fmla="*/ 3401 h 16917"/>
              <a:gd name="connsiteX15" fmla="*/ 15199 w 19167"/>
              <a:gd name="connsiteY15" fmla="*/ 859 h 16917"/>
              <a:gd name="connsiteX16" fmla="*/ 11465 w 19167"/>
              <a:gd name="connsiteY16" fmla="*/ 23 h 16917"/>
              <a:gd name="connsiteX0" fmla="*/ 11465 w 19242"/>
              <a:gd name="connsiteY0" fmla="*/ 23 h 16917"/>
              <a:gd name="connsiteX1" fmla="*/ 5703 w 19242"/>
              <a:gd name="connsiteY1" fmla="*/ 1085 h 16917"/>
              <a:gd name="connsiteX2" fmla="*/ 1220 w 19242"/>
              <a:gd name="connsiteY2" fmla="*/ 5155 h 16917"/>
              <a:gd name="connsiteX3" fmla="*/ 36 w 19242"/>
              <a:gd name="connsiteY3" fmla="*/ 9089 h 16917"/>
              <a:gd name="connsiteX4" fmla="*/ 353 w 19242"/>
              <a:gd name="connsiteY4" fmla="*/ 13412 h 16917"/>
              <a:gd name="connsiteX5" fmla="*/ 1192 w 19242"/>
              <a:gd name="connsiteY5" fmla="*/ 15940 h 16917"/>
              <a:gd name="connsiteX6" fmla="*/ 6228 w 19242"/>
              <a:gd name="connsiteY6" fmla="*/ 16324 h 16917"/>
              <a:gd name="connsiteX7" fmla="*/ 8792 w 19242"/>
              <a:gd name="connsiteY7" fmla="*/ 16911 h 16917"/>
              <a:gd name="connsiteX8" fmla="*/ 11000 w 19242"/>
              <a:gd name="connsiteY8" fmla="*/ 15895 h 16917"/>
              <a:gd name="connsiteX9" fmla="*/ 13829 w 19242"/>
              <a:gd name="connsiteY9" fmla="*/ 15573 h 16917"/>
              <a:gd name="connsiteX10" fmla="*/ 15719 w 19242"/>
              <a:gd name="connsiteY10" fmla="*/ 15715 h 16917"/>
              <a:gd name="connsiteX11" fmla="*/ 18543 w 19242"/>
              <a:gd name="connsiteY11" fmla="*/ 15924 h 16917"/>
              <a:gd name="connsiteX12" fmla="*/ 19099 w 19242"/>
              <a:gd name="connsiteY12" fmla="*/ 12224 h 16917"/>
              <a:gd name="connsiteX13" fmla="*/ 19173 w 19242"/>
              <a:gd name="connsiteY13" fmla="*/ 9029 h 16917"/>
              <a:gd name="connsiteX14" fmla="*/ 18949 w 19242"/>
              <a:gd name="connsiteY14" fmla="*/ 3401 h 16917"/>
              <a:gd name="connsiteX15" fmla="*/ 15199 w 19242"/>
              <a:gd name="connsiteY15" fmla="*/ 859 h 16917"/>
              <a:gd name="connsiteX16" fmla="*/ 11465 w 19242"/>
              <a:gd name="connsiteY16" fmla="*/ 23 h 16917"/>
              <a:gd name="connsiteX0" fmla="*/ 11465 w 19188"/>
              <a:gd name="connsiteY0" fmla="*/ 23 h 16917"/>
              <a:gd name="connsiteX1" fmla="*/ 5703 w 19188"/>
              <a:gd name="connsiteY1" fmla="*/ 1085 h 16917"/>
              <a:gd name="connsiteX2" fmla="*/ 1220 w 19188"/>
              <a:gd name="connsiteY2" fmla="*/ 5155 h 16917"/>
              <a:gd name="connsiteX3" fmla="*/ 36 w 19188"/>
              <a:gd name="connsiteY3" fmla="*/ 9089 h 16917"/>
              <a:gd name="connsiteX4" fmla="*/ 353 w 19188"/>
              <a:gd name="connsiteY4" fmla="*/ 13412 h 16917"/>
              <a:gd name="connsiteX5" fmla="*/ 1192 w 19188"/>
              <a:gd name="connsiteY5" fmla="*/ 15940 h 16917"/>
              <a:gd name="connsiteX6" fmla="*/ 6228 w 19188"/>
              <a:gd name="connsiteY6" fmla="*/ 16324 h 16917"/>
              <a:gd name="connsiteX7" fmla="*/ 8792 w 19188"/>
              <a:gd name="connsiteY7" fmla="*/ 16911 h 16917"/>
              <a:gd name="connsiteX8" fmla="*/ 11000 w 19188"/>
              <a:gd name="connsiteY8" fmla="*/ 15895 h 16917"/>
              <a:gd name="connsiteX9" fmla="*/ 13829 w 19188"/>
              <a:gd name="connsiteY9" fmla="*/ 15573 h 16917"/>
              <a:gd name="connsiteX10" fmla="*/ 15719 w 19188"/>
              <a:gd name="connsiteY10" fmla="*/ 15715 h 16917"/>
              <a:gd name="connsiteX11" fmla="*/ 18543 w 19188"/>
              <a:gd name="connsiteY11" fmla="*/ 15924 h 16917"/>
              <a:gd name="connsiteX12" fmla="*/ 19099 w 19188"/>
              <a:gd name="connsiteY12" fmla="*/ 12224 h 16917"/>
              <a:gd name="connsiteX13" fmla="*/ 19173 w 19188"/>
              <a:gd name="connsiteY13" fmla="*/ 9029 h 16917"/>
              <a:gd name="connsiteX14" fmla="*/ 18949 w 19188"/>
              <a:gd name="connsiteY14" fmla="*/ 3401 h 16917"/>
              <a:gd name="connsiteX15" fmla="*/ 15199 w 19188"/>
              <a:gd name="connsiteY15" fmla="*/ 859 h 16917"/>
              <a:gd name="connsiteX16" fmla="*/ 11465 w 19188"/>
              <a:gd name="connsiteY16" fmla="*/ 23 h 16917"/>
              <a:gd name="connsiteX0" fmla="*/ 11465 w 19188"/>
              <a:gd name="connsiteY0" fmla="*/ 23 h 16917"/>
              <a:gd name="connsiteX1" fmla="*/ 5703 w 19188"/>
              <a:gd name="connsiteY1" fmla="*/ 1085 h 16917"/>
              <a:gd name="connsiteX2" fmla="*/ 1220 w 19188"/>
              <a:gd name="connsiteY2" fmla="*/ 5155 h 16917"/>
              <a:gd name="connsiteX3" fmla="*/ 36 w 19188"/>
              <a:gd name="connsiteY3" fmla="*/ 9089 h 16917"/>
              <a:gd name="connsiteX4" fmla="*/ 353 w 19188"/>
              <a:gd name="connsiteY4" fmla="*/ 13412 h 16917"/>
              <a:gd name="connsiteX5" fmla="*/ 1192 w 19188"/>
              <a:gd name="connsiteY5" fmla="*/ 15940 h 16917"/>
              <a:gd name="connsiteX6" fmla="*/ 6228 w 19188"/>
              <a:gd name="connsiteY6" fmla="*/ 16324 h 16917"/>
              <a:gd name="connsiteX7" fmla="*/ 8792 w 19188"/>
              <a:gd name="connsiteY7" fmla="*/ 16911 h 16917"/>
              <a:gd name="connsiteX8" fmla="*/ 11000 w 19188"/>
              <a:gd name="connsiteY8" fmla="*/ 15895 h 16917"/>
              <a:gd name="connsiteX9" fmla="*/ 13829 w 19188"/>
              <a:gd name="connsiteY9" fmla="*/ 15573 h 16917"/>
              <a:gd name="connsiteX10" fmla="*/ 15719 w 19188"/>
              <a:gd name="connsiteY10" fmla="*/ 15715 h 16917"/>
              <a:gd name="connsiteX11" fmla="*/ 18543 w 19188"/>
              <a:gd name="connsiteY11" fmla="*/ 15924 h 16917"/>
              <a:gd name="connsiteX12" fmla="*/ 19099 w 19188"/>
              <a:gd name="connsiteY12" fmla="*/ 12224 h 16917"/>
              <a:gd name="connsiteX13" fmla="*/ 19173 w 19188"/>
              <a:gd name="connsiteY13" fmla="*/ 9029 h 16917"/>
              <a:gd name="connsiteX14" fmla="*/ 19145 w 19188"/>
              <a:gd name="connsiteY14" fmla="*/ 3629 h 16917"/>
              <a:gd name="connsiteX15" fmla="*/ 15199 w 19188"/>
              <a:gd name="connsiteY15" fmla="*/ 859 h 16917"/>
              <a:gd name="connsiteX16" fmla="*/ 11465 w 19188"/>
              <a:gd name="connsiteY16" fmla="*/ 23 h 16917"/>
              <a:gd name="connsiteX0" fmla="*/ 11465 w 19188"/>
              <a:gd name="connsiteY0" fmla="*/ 23 h 16917"/>
              <a:gd name="connsiteX1" fmla="*/ 5703 w 19188"/>
              <a:gd name="connsiteY1" fmla="*/ 1085 h 16917"/>
              <a:gd name="connsiteX2" fmla="*/ 1220 w 19188"/>
              <a:gd name="connsiteY2" fmla="*/ 5155 h 16917"/>
              <a:gd name="connsiteX3" fmla="*/ 36 w 19188"/>
              <a:gd name="connsiteY3" fmla="*/ 9089 h 16917"/>
              <a:gd name="connsiteX4" fmla="*/ 353 w 19188"/>
              <a:gd name="connsiteY4" fmla="*/ 13412 h 16917"/>
              <a:gd name="connsiteX5" fmla="*/ 1192 w 19188"/>
              <a:gd name="connsiteY5" fmla="*/ 15940 h 16917"/>
              <a:gd name="connsiteX6" fmla="*/ 6228 w 19188"/>
              <a:gd name="connsiteY6" fmla="*/ 16324 h 16917"/>
              <a:gd name="connsiteX7" fmla="*/ 8792 w 19188"/>
              <a:gd name="connsiteY7" fmla="*/ 16911 h 16917"/>
              <a:gd name="connsiteX8" fmla="*/ 11000 w 19188"/>
              <a:gd name="connsiteY8" fmla="*/ 15895 h 16917"/>
              <a:gd name="connsiteX9" fmla="*/ 13829 w 19188"/>
              <a:gd name="connsiteY9" fmla="*/ 15573 h 16917"/>
              <a:gd name="connsiteX10" fmla="*/ 15719 w 19188"/>
              <a:gd name="connsiteY10" fmla="*/ 15715 h 16917"/>
              <a:gd name="connsiteX11" fmla="*/ 18543 w 19188"/>
              <a:gd name="connsiteY11" fmla="*/ 15924 h 16917"/>
              <a:gd name="connsiteX12" fmla="*/ 19099 w 19188"/>
              <a:gd name="connsiteY12" fmla="*/ 12224 h 16917"/>
              <a:gd name="connsiteX13" fmla="*/ 19173 w 19188"/>
              <a:gd name="connsiteY13" fmla="*/ 9029 h 16917"/>
              <a:gd name="connsiteX14" fmla="*/ 19145 w 19188"/>
              <a:gd name="connsiteY14" fmla="*/ 3629 h 16917"/>
              <a:gd name="connsiteX15" fmla="*/ 15199 w 19188"/>
              <a:gd name="connsiteY15" fmla="*/ 859 h 16917"/>
              <a:gd name="connsiteX16" fmla="*/ 11465 w 19188"/>
              <a:gd name="connsiteY16" fmla="*/ 23 h 16917"/>
              <a:gd name="connsiteX0" fmla="*/ 11465 w 19198"/>
              <a:gd name="connsiteY0" fmla="*/ 23 h 16917"/>
              <a:gd name="connsiteX1" fmla="*/ 5703 w 19198"/>
              <a:gd name="connsiteY1" fmla="*/ 1085 h 16917"/>
              <a:gd name="connsiteX2" fmla="*/ 1220 w 19198"/>
              <a:gd name="connsiteY2" fmla="*/ 5155 h 16917"/>
              <a:gd name="connsiteX3" fmla="*/ 36 w 19198"/>
              <a:gd name="connsiteY3" fmla="*/ 9089 h 16917"/>
              <a:gd name="connsiteX4" fmla="*/ 353 w 19198"/>
              <a:gd name="connsiteY4" fmla="*/ 13412 h 16917"/>
              <a:gd name="connsiteX5" fmla="*/ 1192 w 19198"/>
              <a:gd name="connsiteY5" fmla="*/ 15940 h 16917"/>
              <a:gd name="connsiteX6" fmla="*/ 6228 w 19198"/>
              <a:gd name="connsiteY6" fmla="*/ 16324 h 16917"/>
              <a:gd name="connsiteX7" fmla="*/ 8792 w 19198"/>
              <a:gd name="connsiteY7" fmla="*/ 16911 h 16917"/>
              <a:gd name="connsiteX8" fmla="*/ 11000 w 19198"/>
              <a:gd name="connsiteY8" fmla="*/ 15895 h 16917"/>
              <a:gd name="connsiteX9" fmla="*/ 13829 w 19198"/>
              <a:gd name="connsiteY9" fmla="*/ 15573 h 16917"/>
              <a:gd name="connsiteX10" fmla="*/ 15719 w 19198"/>
              <a:gd name="connsiteY10" fmla="*/ 15715 h 16917"/>
              <a:gd name="connsiteX11" fmla="*/ 18543 w 19198"/>
              <a:gd name="connsiteY11" fmla="*/ 15924 h 16917"/>
              <a:gd name="connsiteX12" fmla="*/ 19099 w 19198"/>
              <a:gd name="connsiteY12" fmla="*/ 12224 h 16917"/>
              <a:gd name="connsiteX13" fmla="*/ 19173 w 19198"/>
              <a:gd name="connsiteY13" fmla="*/ 9029 h 16917"/>
              <a:gd name="connsiteX14" fmla="*/ 19161 w 19198"/>
              <a:gd name="connsiteY14" fmla="*/ 3610 h 16917"/>
              <a:gd name="connsiteX15" fmla="*/ 15199 w 19198"/>
              <a:gd name="connsiteY15" fmla="*/ 859 h 16917"/>
              <a:gd name="connsiteX16" fmla="*/ 11465 w 19198"/>
              <a:gd name="connsiteY16" fmla="*/ 23 h 16917"/>
              <a:gd name="connsiteX0" fmla="*/ 11465 w 19359"/>
              <a:gd name="connsiteY0" fmla="*/ 23 h 16917"/>
              <a:gd name="connsiteX1" fmla="*/ 5703 w 19359"/>
              <a:gd name="connsiteY1" fmla="*/ 1085 h 16917"/>
              <a:gd name="connsiteX2" fmla="*/ 1220 w 19359"/>
              <a:gd name="connsiteY2" fmla="*/ 5155 h 16917"/>
              <a:gd name="connsiteX3" fmla="*/ 36 w 19359"/>
              <a:gd name="connsiteY3" fmla="*/ 9089 h 16917"/>
              <a:gd name="connsiteX4" fmla="*/ 353 w 19359"/>
              <a:gd name="connsiteY4" fmla="*/ 13412 h 16917"/>
              <a:gd name="connsiteX5" fmla="*/ 1192 w 19359"/>
              <a:gd name="connsiteY5" fmla="*/ 15940 h 16917"/>
              <a:gd name="connsiteX6" fmla="*/ 6228 w 19359"/>
              <a:gd name="connsiteY6" fmla="*/ 16324 h 16917"/>
              <a:gd name="connsiteX7" fmla="*/ 8792 w 19359"/>
              <a:gd name="connsiteY7" fmla="*/ 16911 h 16917"/>
              <a:gd name="connsiteX8" fmla="*/ 11000 w 19359"/>
              <a:gd name="connsiteY8" fmla="*/ 15895 h 16917"/>
              <a:gd name="connsiteX9" fmla="*/ 13829 w 19359"/>
              <a:gd name="connsiteY9" fmla="*/ 15573 h 16917"/>
              <a:gd name="connsiteX10" fmla="*/ 15719 w 19359"/>
              <a:gd name="connsiteY10" fmla="*/ 15715 h 16917"/>
              <a:gd name="connsiteX11" fmla="*/ 19116 w 19359"/>
              <a:gd name="connsiteY11" fmla="*/ 15943 h 16917"/>
              <a:gd name="connsiteX12" fmla="*/ 19099 w 19359"/>
              <a:gd name="connsiteY12" fmla="*/ 12224 h 16917"/>
              <a:gd name="connsiteX13" fmla="*/ 19173 w 19359"/>
              <a:gd name="connsiteY13" fmla="*/ 9029 h 16917"/>
              <a:gd name="connsiteX14" fmla="*/ 19161 w 19359"/>
              <a:gd name="connsiteY14" fmla="*/ 3610 h 16917"/>
              <a:gd name="connsiteX15" fmla="*/ 15199 w 19359"/>
              <a:gd name="connsiteY15" fmla="*/ 859 h 16917"/>
              <a:gd name="connsiteX16" fmla="*/ 11465 w 19359"/>
              <a:gd name="connsiteY16" fmla="*/ 23 h 16917"/>
              <a:gd name="connsiteX0" fmla="*/ 11465 w 19198"/>
              <a:gd name="connsiteY0" fmla="*/ 23 h 16917"/>
              <a:gd name="connsiteX1" fmla="*/ 5703 w 19198"/>
              <a:gd name="connsiteY1" fmla="*/ 1085 h 16917"/>
              <a:gd name="connsiteX2" fmla="*/ 1220 w 19198"/>
              <a:gd name="connsiteY2" fmla="*/ 5155 h 16917"/>
              <a:gd name="connsiteX3" fmla="*/ 36 w 19198"/>
              <a:gd name="connsiteY3" fmla="*/ 9089 h 16917"/>
              <a:gd name="connsiteX4" fmla="*/ 353 w 19198"/>
              <a:gd name="connsiteY4" fmla="*/ 13412 h 16917"/>
              <a:gd name="connsiteX5" fmla="*/ 1192 w 19198"/>
              <a:gd name="connsiteY5" fmla="*/ 15940 h 16917"/>
              <a:gd name="connsiteX6" fmla="*/ 6228 w 19198"/>
              <a:gd name="connsiteY6" fmla="*/ 16324 h 16917"/>
              <a:gd name="connsiteX7" fmla="*/ 8792 w 19198"/>
              <a:gd name="connsiteY7" fmla="*/ 16911 h 16917"/>
              <a:gd name="connsiteX8" fmla="*/ 11000 w 19198"/>
              <a:gd name="connsiteY8" fmla="*/ 15895 h 16917"/>
              <a:gd name="connsiteX9" fmla="*/ 13829 w 19198"/>
              <a:gd name="connsiteY9" fmla="*/ 15573 h 16917"/>
              <a:gd name="connsiteX10" fmla="*/ 15719 w 19198"/>
              <a:gd name="connsiteY10" fmla="*/ 15715 h 16917"/>
              <a:gd name="connsiteX11" fmla="*/ 19116 w 19198"/>
              <a:gd name="connsiteY11" fmla="*/ 15943 h 16917"/>
              <a:gd name="connsiteX12" fmla="*/ 19099 w 19198"/>
              <a:gd name="connsiteY12" fmla="*/ 12224 h 16917"/>
              <a:gd name="connsiteX13" fmla="*/ 19173 w 19198"/>
              <a:gd name="connsiteY13" fmla="*/ 9029 h 16917"/>
              <a:gd name="connsiteX14" fmla="*/ 19161 w 19198"/>
              <a:gd name="connsiteY14" fmla="*/ 3610 h 16917"/>
              <a:gd name="connsiteX15" fmla="*/ 15199 w 19198"/>
              <a:gd name="connsiteY15" fmla="*/ 859 h 16917"/>
              <a:gd name="connsiteX16" fmla="*/ 11465 w 19198"/>
              <a:gd name="connsiteY16" fmla="*/ 23 h 16917"/>
              <a:gd name="connsiteX0" fmla="*/ 11465 w 19198"/>
              <a:gd name="connsiteY0" fmla="*/ 23 h 16917"/>
              <a:gd name="connsiteX1" fmla="*/ 5703 w 19198"/>
              <a:gd name="connsiteY1" fmla="*/ 1085 h 16917"/>
              <a:gd name="connsiteX2" fmla="*/ 1220 w 19198"/>
              <a:gd name="connsiteY2" fmla="*/ 5155 h 16917"/>
              <a:gd name="connsiteX3" fmla="*/ 36 w 19198"/>
              <a:gd name="connsiteY3" fmla="*/ 9089 h 16917"/>
              <a:gd name="connsiteX4" fmla="*/ 353 w 19198"/>
              <a:gd name="connsiteY4" fmla="*/ 13412 h 16917"/>
              <a:gd name="connsiteX5" fmla="*/ 1192 w 19198"/>
              <a:gd name="connsiteY5" fmla="*/ 15940 h 16917"/>
              <a:gd name="connsiteX6" fmla="*/ 6228 w 19198"/>
              <a:gd name="connsiteY6" fmla="*/ 16324 h 16917"/>
              <a:gd name="connsiteX7" fmla="*/ 8792 w 19198"/>
              <a:gd name="connsiteY7" fmla="*/ 16911 h 16917"/>
              <a:gd name="connsiteX8" fmla="*/ 11000 w 19198"/>
              <a:gd name="connsiteY8" fmla="*/ 15895 h 16917"/>
              <a:gd name="connsiteX9" fmla="*/ 13829 w 19198"/>
              <a:gd name="connsiteY9" fmla="*/ 15573 h 16917"/>
              <a:gd name="connsiteX10" fmla="*/ 15719 w 19198"/>
              <a:gd name="connsiteY10" fmla="*/ 15715 h 16917"/>
              <a:gd name="connsiteX11" fmla="*/ 19177 w 19198"/>
              <a:gd name="connsiteY11" fmla="*/ 15966 h 16917"/>
              <a:gd name="connsiteX12" fmla="*/ 19099 w 19198"/>
              <a:gd name="connsiteY12" fmla="*/ 12224 h 16917"/>
              <a:gd name="connsiteX13" fmla="*/ 19173 w 19198"/>
              <a:gd name="connsiteY13" fmla="*/ 9029 h 16917"/>
              <a:gd name="connsiteX14" fmla="*/ 19161 w 19198"/>
              <a:gd name="connsiteY14" fmla="*/ 3610 h 16917"/>
              <a:gd name="connsiteX15" fmla="*/ 15199 w 19198"/>
              <a:gd name="connsiteY15" fmla="*/ 859 h 16917"/>
              <a:gd name="connsiteX16" fmla="*/ 11465 w 19198"/>
              <a:gd name="connsiteY16" fmla="*/ 23 h 16917"/>
              <a:gd name="connsiteX0" fmla="*/ 11465 w 19434"/>
              <a:gd name="connsiteY0" fmla="*/ 23 h 16917"/>
              <a:gd name="connsiteX1" fmla="*/ 5703 w 19434"/>
              <a:gd name="connsiteY1" fmla="*/ 1085 h 16917"/>
              <a:gd name="connsiteX2" fmla="*/ 1220 w 19434"/>
              <a:gd name="connsiteY2" fmla="*/ 5155 h 16917"/>
              <a:gd name="connsiteX3" fmla="*/ 36 w 19434"/>
              <a:gd name="connsiteY3" fmla="*/ 9089 h 16917"/>
              <a:gd name="connsiteX4" fmla="*/ 353 w 19434"/>
              <a:gd name="connsiteY4" fmla="*/ 13412 h 16917"/>
              <a:gd name="connsiteX5" fmla="*/ 1192 w 19434"/>
              <a:gd name="connsiteY5" fmla="*/ 15940 h 16917"/>
              <a:gd name="connsiteX6" fmla="*/ 6228 w 19434"/>
              <a:gd name="connsiteY6" fmla="*/ 16324 h 16917"/>
              <a:gd name="connsiteX7" fmla="*/ 8792 w 19434"/>
              <a:gd name="connsiteY7" fmla="*/ 16911 h 16917"/>
              <a:gd name="connsiteX8" fmla="*/ 11000 w 19434"/>
              <a:gd name="connsiteY8" fmla="*/ 15895 h 16917"/>
              <a:gd name="connsiteX9" fmla="*/ 13829 w 19434"/>
              <a:gd name="connsiteY9" fmla="*/ 15573 h 16917"/>
              <a:gd name="connsiteX10" fmla="*/ 15719 w 19434"/>
              <a:gd name="connsiteY10" fmla="*/ 15715 h 16917"/>
              <a:gd name="connsiteX11" fmla="*/ 19177 w 19434"/>
              <a:gd name="connsiteY11" fmla="*/ 15966 h 16917"/>
              <a:gd name="connsiteX12" fmla="*/ 19180 w 19434"/>
              <a:gd name="connsiteY12" fmla="*/ 12271 h 16917"/>
              <a:gd name="connsiteX13" fmla="*/ 19173 w 19434"/>
              <a:gd name="connsiteY13" fmla="*/ 9029 h 16917"/>
              <a:gd name="connsiteX14" fmla="*/ 19161 w 19434"/>
              <a:gd name="connsiteY14" fmla="*/ 3610 h 16917"/>
              <a:gd name="connsiteX15" fmla="*/ 15199 w 19434"/>
              <a:gd name="connsiteY15" fmla="*/ 859 h 16917"/>
              <a:gd name="connsiteX16" fmla="*/ 11465 w 19434"/>
              <a:gd name="connsiteY16" fmla="*/ 23 h 16917"/>
              <a:gd name="connsiteX0" fmla="*/ 11465 w 19195"/>
              <a:gd name="connsiteY0" fmla="*/ 23 h 16917"/>
              <a:gd name="connsiteX1" fmla="*/ 5703 w 19195"/>
              <a:gd name="connsiteY1" fmla="*/ 1085 h 16917"/>
              <a:gd name="connsiteX2" fmla="*/ 1220 w 19195"/>
              <a:gd name="connsiteY2" fmla="*/ 5155 h 16917"/>
              <a:gd name="connsiteX3" fmla="*/ 36 w 19195"/>
              <a:gd name="connsiteY3" fmla="*/ 9089 h 16917"/>
              <a:gd name="connsiteX4" fmla="*/ 353 w 19195"/>
              <a:gd name="connsiteY4" fmla="*/ 13412 h 16917"/>
              <a:gd name="connsiteX5" fmla="*/ 1192 w 19195"/>
              <a:gd name="connsiteY5" fmla="*/ 15940 h 16917"/>
              <a:gd name="connsiteX6" fmla="*/ 6228 w 19195"/>
              <a:gd name="connsiteY6" fmla="*/ 16324 h 16917"/>
              <a:gd name="connsiteX7" fmla="*/ 8792 w 19195"/>
              <a:gd name="connsiteY7" fmla="*/ 16911 h 16917"/>
              <a:gd name="connsiteX8" fmla="*/ 11000 w 19195"/>
              <a:gd name="connsiteY8" fmla="*/ 15895 h 16917"/>
              <a:gd name="connsiteX9" fmla="*/ 13829 w 19195"/>
              <a:gd name="connsiteY9" fmla="*/ 15573 h 16917"/>
              <a:gd name="connsiteX10" fmla="*/ 15719 w 19195"/>
              <a:gd name="connsiteY10" fmla="*/ 15715 h 16917"/>
              <a:gd name="connsiteX11" fmla="*/ 19177 w 19195"/>
              <a:gd name="connsiteY11" fmla="*/ 15966 h 16917"/>
              <a:gd name="connsiteX12" fmla="*/ 19180 w 19195"/>
              <a:gd name="connsiteY12" fmla="*/ 12271 h 16917"/>
              <a:gd name="connsiteX13" fmla="*/ 19173 w 19195"/>
              <a:gd name="connsiteY13" fmla="*/ 9029 h 16917"/>
              <a:gd name="connsiteX14" fmla="*/ 19161 w 19195"/>
              <a:gd name="connsiteY14" fmla="*/ 3610 h 16917"/>
              <a:gd name="connsiteX15" fmla="*/ 15199 w 19195"/>
              <a:gd name="connsiteY15" fmla="*/ 859 h 16917"/>
              <a:gd name="connsiteX16" fmla="*/ 11465 w 19195"/>
              <a:gd name="connsiteY16" fmla="*/ 23 h 16917"/>
              <a:gd name="connsiteX0" fmla="*/ 11465 w 19259"/>
              <a:gd name="connsiteY0" fmla="*/ 23 h 16917"/>
              <a:gd name="connsiteX1" fmla="*/ 5703 w 19259"/>
              <a:gd name="connsiteY1" fmla="*/ 1085 h 16917"/>
              <a:gd name="connsiteX2" fmla="*/ 1220 w 19259"/>
              <a:gd name="connsiteY2" fmla="*/ 5155 h 16917"/>
              <a:gd name="connsiteX3" fmla="*/ 36 w 19259"/>
              <a:gd name="connsiteY3" fmla="*/ 9089 h 16917"/>
              <a:gd name="connsiteX4" fmla="*/ 353 w 19259"/>
              <a:gd name="connsiteY4" fmla="*/ 13412 h 16917"/>
              <a:gd name="connsiteX5" fmla="*/ 1192 w 19259"/>
              <a:gd name="connsiteY5" fmla="*/ 15940 h 16917"/>
              <a:gd name="connsiteX6" fmla="*/ 6228 w 19259"/>
              <a:gd name="connsiteY6" fmla="*/ 16324 h 16917"/>
              <a:gd name="connsiteX7" fmla="*/ 8792 w 19259"/>
              <a:gd name="connsiteY7" fmla="*/ 16911 h 16917"/>
              <a:gd name="connsiteX8" fmla="*/ 11000 w 19259"/>
              <a:gd name="connsiteY8" fmla="*/ 15895 h 16917"/>
              <a:gd name="connsiteX9" fmla="*/ 13829 w 19259"/>
              <a:gd name="connsiteY9" fmla="*/ 15573 h 16917"/>
              <a:gd name="connsiteX10" fmla="*/ 15719 w 19259"/>
              <a:gd name="connsiteY10" fmla="*/ 15715 h 16917"/>
              <a:gd name="connsiteX11" fmla="*/ 19177 w 19259"/>
              <a:gd name="connsiteY11" fmla="*/ 15966 h 16917"/>
              <a:gd name="connsiteX12" fmla="*/ 19180 w 19259"/>
              <a:gd name="connsiteY12" fmla="*/ 12271 h 16917"/>
              <a:gd name="connsiteX13" fmla="*/ 19259 w 19259"/>
              <a:gd name="connsiteY13" fmla="*/ 9054 h 16917"/>
              <a:gd name="connsiteX14" fmla="*/ 19161 w 19259"/>
              <a:gd name="connsiteY14" fmla="*/ 3610 h 16917"/>
              <a:gd name="connsiteX15" fmla="*/ 15199 w 19259"/>
              <a:gd name="connsiteY15" fmla="*/ 859 h 16917"/>
              <a:gd name="connsiteX16" fmla="*/ 11465 w 19259"/>
              <a:gd name="connsiteY16" fmla="*/ 23 h 16917"/>
              <a:gd name="connsiteX0" fmla="*/ 11465 w 19263"/>
              <a:gd name="connsiteY0" fmla="*/ 23 h 16917"/>
              <a:gd name="connsiteX1" fmla="*/ 5703 w 19263"/>
              <a:gd name="connsiteY1" fmla="*/ 1085 h 16917"/>
              <a:gd name="connsiteX2" fmla="*/ 1220 w 19263"/>
              <a:gd name="connsiteY2" fmla="*/ 5155 h 16917"/>
              <a:gd name="connsiteX3" fmla="*/ 36 w 19263"/>
              <a:gd name="connsiteY3" fmla="*/ 9089 h 16917"/>
              <a:gd name="connsiteX4" fmla="*/ 353 w 19263"/>
              <a:gd name="connsiteY4" fmla="*/ 13412 h 16917"/>
              <a:gd name="connsiteX5" fmla="*/ 1192 w 19263"/>
              <a:gd name="connsiteY5" fmla="*/ 15940 h 16917"/>
              <a:gd name="connsiteX6" fmla="*/ 6228 w 19263"/>
              <a:gd name="connsiteY6" fmla="*/ 16324 h 16917"/>
              <a:gd name="connsiteX7" fmla="*/ 8792 w 19263"/>
              <a:gd name="connsiteY7" fmla="*/ 16911 h 16917"/>
              <a:gd name="connsiteX8" fmla="*/ 11000 w 19263"/>
              <a:gd name="connsiteY8" fmla="*/ 15895 h 16917"/>
              <a:gd name="connsiteX9" fmla="*/ 13829 w 19263"/>
              <a:gd name="connsiteY9" fmla="*/ 15573 h 16917"/>
              <a:gd name="connsiteX10" fmla="*/ 15719 w 19263"/>
              <a:gd name="connsiteY10" fmla="*/ 15715 h 16917"/>
              <a:gd name="connsiteX11" fmla="*/ 19177 w 19263"/>
              <a:gd name="connsiteY11" fmla="*/ 15966 h 16917"/>
              <a:gd name="connsiteX12" fmla="*/ 19180 w 19263"/>
              <a:gd name="connsiteY12" fmla="*/ 12271 h 16917"/>
              <a:gd name="connsiteX13" fmla="*/ 19259 w 19263"/>
              <a:gd name="connsiteY13" fmla="*/ 9054 h 16917"/>
              <a:gd name="connsiteX14" fmla="*/ 19161 w 19263"/>
              <a:gd name="connsiteY14" fmla="*/ 3610 h 16917"/>
              <a:gd name="connsiteX15" fmla="*/ 15199 w 19263"/>
              <a:gd name="connsiteY15" fmla="*/ 859 h 16917"/>
              <a:gd name="connsiteX16" fmla="*/ 11465 w 19263"/>
              <a:gd name="connsiteY16" fmla="*/ 23 h 16917"/>
              <a:gd name="connsiteX0" fmla="*/ 11465 w 19263"/>
              <a:gd name="connsiteY0" fmla="*/ 23 h 16917"/>
              <a:gd name="connsiteX1" fmla="*/ 5703 w 19263"/>
              <a:gd name="connsiteY1" fmla="*/ 1085 h 16917"/>
              <a:gd name="connsiteX2" fmla="*/ 1220 w 19263"/>
              <a:gd name="connsiteY2" fmla="*/ 5155 h 16917"/>
              <a:gd name="connsiteX3" fmla="*/ 36 w 19263"/>
              <a:gd name="connsiteY3" fmla="*/ 9089 h 16917"/>
              <a:gd name="connsiteX4" fmla="*/ 353 w 19263"/>
              <a:gd name="connsiteY4" fmla="*/ 13412 h 16917"/>
              <a:gd name="connsiteX5" fmla="*/ 1192 w 19263"/>
              <a:gd name="connsiteY5" fmla="*/ 15940 h 16917"/>
              <a:gd name="connsiteX6" fmla="*/ 6228 w 19263"/>
              <a:gd name="connsiteY6" fmla="*/ 16324 h 16917"/>
              <a:gd name="connsiteX7" fmla="*/ 8792 w 19263"/>
              <a:gd name="connsiteY7" fmla="*/ 16911 h 16917"/>
              <a:gd name="connsiteX8" fmla="*/ 11000 w 19263"/>
              <a:gd name="connsiteY8" fmla="*/ 15895 h 16917"/>
              <a:gd name="connsiteX9" fmla="*/ 13829 w 19263"/>
              <a:gd name="connsiteY9" fmla="*/ 15573 h 16917"/>
              <a:gd name="connsiteX10" fmla="*/ 15719 w 19263"/>
              <a:gd name="connsiteY10" fmla="*/ 15715 h 16917"/>
              <a:gd name="connsiteX11" fmla="*/ 19177 w 19263"/>
              <a:gd name="connsiteY11" fmla="*/ 15966 h 16917"/>
              <a:gd name="connsiteX12" fmla="*/ 19180 w 19263"/>
              <a:gd name="connsiteY12" fmla="*/ 12271 h 16917"/>
              <a:gd name="connsiteX13" fmla="*/ 19259 w 19263"/>
              <a:gd name="connsiteY13" fmla="*/ 9054 h 16917"/>
              <a:gd name="connsiteX14" fmla="*/ 19161 w 19263"/>
              <a:gd name="connsiteY14" fmla="*/ 3610 h 16917"/>
              <a:gd name="connsiteX15" fmla="*/ 15199 w 19263"/>
              <a:gd name="connsiteY15" fmla="*/ 859 h 16917"/>
              <a:gd name="connsiteX16" fmla="*/ 11465 w 19263"/>
              <a:gd name="connsiteY16" fmla="*/ 23 h 16917"/>
              <a:gd name="connsiteX0" fmla="*/ 11465 w 19202"/>
              <a:gd name="connsiteY0" fmla="*/ 23 h 16917"/>
              <a:gd name="connsiteX1" fmla="*/ 5703 w 19202"/>
              <a:gd name="connsiteY1" fmla="*/ 1085 h 16917"/>
              <a:gd name="connsiteX2" fmla="*/ 1220 w 19202"/>
              <a:gd name="connsiteY2" fmla="*/ 5155 h 16917"/>
              <a:gd name="connsiteX3" fmla="*/ 36 w 19202"/>
              <a:gd name="connsiteY3" fmla="*/ 9089 h 16917"/>
              <a:gd name="connsiteX4" fmla="*/ 353 w 19202"/>
              <a:gd name="connsiteY4" fmla="*/ 13412 h 16917"/>
              <a:gd name="connsiteX5" fmla="*/ 1192 w 19202"/>
              <a:gd name="connsiteY5" fmla="*/ 15940 h 16917"/>
              <a:gd name="connsiteX6" fmla="*/ 6228 w 19202"/>
              <a:gd name="connsiteY6" fmla="*/ 16324 h 16917"/>
              <a:gd name="connsiteX7" fmla="*/ 8792 w 19202"/>
              <a:gd name="connsiteY7" fmla="*/ 16911 h 16917"/>
              <a:gd name="connsiteX8" fmla="*/ 11000 w 19202"/>
              <a:gd name="connsiteY8" fmla="*/ 15895 h 16917"/>
              <a:gd name="connsiteX9" fmla="*/ 13829 w 19202"/>
              <a:gd name="connsiteY9" fmla="*/ 15573 h 16917"/>
              <a:gd name="connsiteX10" fmla="*/ 15719 w 19202"/>
              <a:gd name="connsiteY10" fmla="*/ 15715 h 16917"/>
              <a:gd name="connsiteX11" fmla="*/ 19177 w 19202"/>
              <a:gd name="connsiteY11" fmla="*/ 15966 h 16917"/>
              <a:gd name="connsiteX12" fmla="*/ 19180 w 19202"/>
              <a:gd name="connsiteY12" fmla="*/ 12271 h 16917"/>
              <a:gd name="connsiteX13" fmla="*/ 18851 w 19202"/>
              <a:gd name="connsiteY13" fmla="*/ 9079 h 16917"/>
              <a:gd name="connsiteX14" fmla="*/ 19161 w 19202"/>
              <a:gd name="connsiteY14" fmla="*/ 3610 h 16917"/>
              <a:gd name="connsiteX15" fmla="*/ 15199 w 19202"/>
              <a:gd name="connsiteY15" fmla="*/ 859 h 16917"/>
              <a:gd name="connsiteX16" fmla="*/ 11465 w 19202"/>
              <a:gd name="connsiteY16" fmla="*/ 23 h 16917"/>
              <a:gd name="connsiteX0" fmla="*/ 11465 w 19186"/>
              <a:gd name="connsiteY0" fmla="*/ 23 h 16917"/>
              <a:gd name="connsiteX1" fmla="*/ 5703 w 19186"/>
              <a:gd name="connsiteY1" fmla="*/ 1085 h 16917"/>
              <a:gd name="connsiteX2" fmla="*/ 1220 w 19186"/>
              <a:gd name="connsiteY2" fmla="*/ 5155 h 16917"/>
              <a:gd name="connsiteX3" fmla="*/ 36 w 19186"/>
              <a:gd name="connsiteY3" fmla="*/ 9089 h 16917"/>
              <a:gd name="connsiteX4" fmla="*/ 353 w 19186"/>
              <a:gd name="connsiteY4" fmla="*/ 13412 h 16917"/>
              <a:gd name="connsiteX5" fmla="*/ 1192 w 19186"/>
              <a:gd name="connsiteY5" fmla="*/ 15940 h 16917"/>
              <a:gd name="connsiteX6" fmla="*/ 6228 w 19186"/>
              <a:gd name="connsiteY6" fmla="*/ 16324 h 16917"/>
              <a:gd name="connsiteX7" fmla="*/ 8792 w 19186"/>
              <a:gd name="connsiteY7" fmla="*/ 16911 h 16917"/>
              <a:gd name="connsiteX8" fmla="*/ 11000 w 19186"/>
              <a:gd name="connsiteY8" fmla="*/ 15895 h 16917"/>
              <a:gd name="connsiteX9" fmla="*/ 13829 w 19186"/>
              <a:gd name="connsiteY9" fmla="*/ 15573 h 16917"/>
              <a:gd name="connsiteX10" fmla="*/ 15719 w 19186"/>
              <a:gd name="connsiteY10" fmla="*/ 15715 h 16917"/>
              <a:gd name="connsiteX11" fmla="*/ 19177 w 19186"/>
              <a:gd name="connsiteY11" fmla="*/ 15966 h 16917"/>
              <a:gd name="connsiteX12" fmla="*/ 19180 w 19186"/>
              <a:gd name="connsiteY12" fmla="*/ 12271 h 16917"/>
              <a:gd name="connsiteX13" fmla="*/ 19152 w 19186"/>
              <a:gd name="connsiteY13" fmla="*/ 9129 h 16917"/>
              <a:gd name="connsiteX14" fmla="*/ 19161 w 19186"/>
              <a:gd name="connsiteY14" fmla="*/ 3610 h 16917"/>
              <a:gd name="connsiteX15" fmla="*/ 15199 w 19186"/>
              <a:gd name="connsiteY15" fmla="*/ 859 h 16917"/>
              <a:gd name="connsiteX16" fmla="*/ 11465 w 19186"/>
              <a:gd name="connsiteY16" fmla="*/ 23 h 16917"/>
              <a:gd name="connsiteX0" fmla="*/ 11465 w 19203"/>
              <a:gd name="connsiteY0" fmla="*/ 23 h 16917"/>
              <a:gd name="connsiteX1" fmla="*/ 5703 w 19203"/>
              <a:gd name="connsiteY1" fmla="*/ 1085 h 16917"/>
              <a:gd name="connsiteX2" fmla="*/ 1220 w 19203"/>
              <a:gd name="connsiteY2" fmla="*/ 5155 h 16917"/>
              <a:gd name="connsiteX3" fmla="*/ 36 w 19203"/>
              <a:gd name="connsiteY3" fmla="*/ 9089 h 16917"/>
              <a:gd name="connsiteX4" fmla="*/ 353 w 19203"/>
              <a:gd name="connsiteY4" fmla="*/ 13412 h 16917"/>
              <a:gd name="connsiteX5" fmla="*/ 1192 w 19203"/>
              <a:gd name="connsiteY5" fmla="*/ 15940 h 16917"/>
              <a:gd name="connsiteX6" fmla="*/ 6228 w 19203"/>
              <a:gd name="connsiteY6" fmla="*/ 16324 h 16917"/>
              <a:gd name="connsiteX7" fmla="*/ 8792 w 19203"/>
              <a:gd name="connsiteY7" fmla="*/ 16911 h 16917"/>
              <a:gd name="connsiteX8" fmla="*/ 11000 w 19203"/>
              <a:gd name="connsiteY8" fmla="*/ 15895 h 16917"/>
              <a:gd name="connsiteX9" fmla="*/ 13829 w 19203"/>
              <a:gd name="connsiteY9" fmla="*/ 15573 h 16917"/>
              <a:gd name="connsiteX10" fmla="*/ 15719 w 19203"/>
              <a:gd name="connsiteY10" fmla="*/ 15715 h 16917"/>
              <a:gd name="connsiteX11" fmla="*/ 19177 w 19203"/>
              <a:gd name="connsiteY11" fmla="*/ 15966 h 16917"/>
              <a:gd name="connsiteX12" fmla="*/ 19180 w 19203"/>
              <a:gd name="connsiteY12" fmla="*/ 12271 h 16917"/>
              <a:gd name="connsiteX13" fmla="*/ 19195 w 19203"/>
              <a:gd name="connsiteY13" fmla="*/ 9129 h 16917"/>
              <a:gd name="connsiteX14" fmla="*/ 19161 w 19203"/>
              <a:gd name="connsiteY14" fmla="*/ 3610 h 16917"/>
              <a:gd name="connsiteX15" fmla="*/ 15199 w 19203"/>
              <a:gd name="connsiteY15" fmla="*/ 859 h 16917"/>
              <a:gd name="connsiteX16" fmla="*/ 11465 w 19203"/>
              <a:gd name="connsiteY16" fmla="*/ 23 h 16917"/>
              <a:gd name="connsiteX0" fmla="*/ 11465 w 19203"/>
              <a:gd name="connsiteY0" fmla="*/ 23 h 16917"/>
              <a:gd name="connsiteX1" fmla="*/ 5703 w 19203"/>
              <a:gd name="connsiteY1" fmla="*/ 1085 h 16917"/>
              <a:gd name="connsiteX2" fmla="*/ 1220 w 19203"/>
              <a:gd name="connsiteY2" fmla="*/ 5155 h 16917"/>
              <a:gd name="connsiteX3" fmla="*/ 36 w 19203"/>
              <a:gd name="connsiteY3" fmla="*/ 9089 h 16917"/>
              <a:gd name="connsiteX4" fmla="*/ 353 w 19203"/>
              <a:gd name="connsiteY4" fmla="*/ 13412 h 16917"/>
              <a:gd name="connsiteX5" fmla="*/ 1192 w 19203"/>
              <a:gd name="connsiteY5" fmla="*/ 15940 h 16917"/>
              <a:gd name="connsiteX6" fmla="*/ 6228 w 19203"/>
              <a:gd name="connsiteY6" fmla="*/ 16324 h 16917"/>
              <a:gd name="connsiteX7" fmla="*/ 8792 w 19203"/>
              <a:gd name="connsiteY7" fmla="*/ 16911 h 16917"/>
              <a:gd name="connsiteX8" fmla="*/ 11000 w 19203"/>
              <a:gd name="connsiteY8" fmla="*/ 15895 h 16917"/>
              <a:gd name="connsiteX9" fmla="*/ 13829 w 19203"/>
              <a:gd name="connsiteY9" fmla="*/ 15573 h 16917"/>
              <a:gd name="connsiteX10" fmla="*/ 15719 w 19203"/>
              <a:gd name="connsiteY10" fmla="*/ 15715 h 16917"/>
              <a:gd name="connsiteX11" fmla="*/ 19177 w 19203"/>
              <a:gd name="connsiteY11" fmla="*/ 15966 h 16917"/>
              <a:gd name="connsiteX12" fmla="*/ 19180 w 19203"/>
              <a:gd name="connsiteY12" fmla="*/ 12271 h 16917"/>
              <a:gd name="connsiteX13" fmla="*/ 19195 w 19203"/>
              <a:gd name="connsiteY13" fmla="*/ 9129 h 16917"/>
              <a:gd name="connsiteX14" fmla="*/ 19161 w 19203"/>
              <a:gd name="connsiteY14" fmla="*/ 3610 h 16917"/>
              <a:gd name="connsiteX15" fmla="*/ 15199 w 19203"/>
              <a:gd name="connsiteY15" fmla="*/ 859 h 16917"/>
              <a:gd name="connsiteX16" fmla="*/ 11465 w 19203"/>
              <a:gd name="connsiteY16" fmla="*/ 23 h 16917"/>
              <a:gd name="connsiteX0" fmla="*/ 11465 w 19203"/>
              <a:gd name="connsiteY0" fmla="*/ 23 h 16917"/>
              <a:gd name="connsiteX1" fmla="*/ 5703 w 19203"/>
              <a:gd name="connsiteY1" fmla="*/ 1085 h 16917"/>
              <a:gd name="connsiteX2" fmla="*/ 1220 w 19203"/>
              <a:gd name="connsiteY2" fmla="*/ 5155 h 16917"/>
              <a:gd name="connsiteX3" fmla="*/ 36 w 19203"/>
              <a:gd name="connsiteY3" fmla="*/ 9089 h 16917"/>
              <a:gd name="connsiteX4" fmla="*/ 353 w 19203"/>
              <a:gd name="connsiteY4" fmla="*/ 13412 h 16917"/>
              <a:gd name="connsiteX5" fmla="*/ 1192 w 19203"/>
              <a:gd name="connsiteY5" fmla="*/ 15940 h 16917"/>
              <a:gd name="connsiteX6" fmla="*/ 6228 w 19203"/>
              <a:gd name="connsiteY6" fmla="*/ 16324 h 16917"/>
              <a:gd name="connsiteX7" fmla="*/ 8792 w 19203"/>
              <a:gd name="connsiteY7" fmla="*/ 16911 h 16917"/>
              <a:gd name="connsiteX8" fmla="*/ 11000 w 19203"/>
              <a:gd name="connsiteY8" fmla="*/ 15895 h 16917"/>
              <a:gd name="connsiteX9" fmla="*/ 13829 w 19203"/>
              <a:gd name="connsiteY9" fmla="*/ 15573 h 16917"/>
              <a:gd name="connsiteX10" fmla="*/ 15719 w 19203"/>
              <a:gd name="connsiteY10" fmla="*/ 15715 h 16917"/>
              <a:gd name="connsiteX11" fmla="*/ 19177 w 19203"/>
              <a:gd name="connsiteY11" fmla="*/ 15966 h 16917"/>
              <a:gd name="connsiteX12" fmla="*/ 19180 w 19203"/>
              <a:gd name="connsiteY12" fmla="*/ 12271 h 16917"/>
              <a:gd name="connsiteX13" fmla="*/ 19195 w 19203"/>
              <a:gd name="connsiteY13" fmla="*/ 9129 h 16917"/>
              <a:gd name="connsiteX14" fmla="*/ 19161 w 19203"/>
              <a:gd name="connsiteY14" fmla="*/ 3610 h 16917"/>
              <a:gd name="connsiteX15" fmla="*/ 15199 w 19203"/>
              <a:gd name="connsiteY15" fmla="*/ 859 h 16917"/>
              <a:gd name="connsiteX16" fmla="*/ 11465 w 19203"/>
              <a:gd name="connsiteY16" fmla="*/ 23 h 16917"/>
              <a:gd name="connsiteX0" fmla="*/ 11465 w 19203"/>
              <a:gd name="connsiteY0" fmla="*/ 23 h 16917"/>
              <a:gd name="connsiteX1" fmla="*/ 5703 w 19203"/>
              <a:gd name="connsiteY1" fmla="*/ 1085 h 16917"/>
              <a:gd name="connsiteX2" fmla="*/ 1220 w 19203"/>
              <a:gd name="connsiteY2" fmla="*/ 5155 h 16917"/>
              <a:gd name="connsiteX3" fmla="*/ 36 w 19203"/>
              <a:gd name="connsiteY3" fmla="*/ 9089 h 16917"/>
              <a:gd name="connsiteX4" fmla="*/ 353 w 19203"/>
              <a:gd name="connsiteY4" fmla="*/ 13412 h 16917"/>
              <a:gd name="connsiteX5" fmla="*/ 1192 w 19203"/>
              <a:gd name="connsiteY5" fmla="*/ 15940 h 16917"/>
              <a:gd name="connsiteX6" fmla="*/ 6228 w 19203"/>
              <a:gd name="connsiteY6" fmla="*/ 16324 h 16917"/>
              <a:gd name="connsiteX7" fmla="*/ 8792 w 19203"/>
              <a:gd name="connsiteY7" fmla="*/ 16911 h 16917"/>
              <a:gd name="connsiteX8" fmla="*/ 11000 w 19203"/>
              <a:gd name="connsiteY8" fmla="*/ 15895 h 16917"/>
              <a:gd name="connsiteX9" fmla="*/ 13786 w 19203"/>
              <a:gd name="connsiteY9" fmla="*/ 15872 h 16917"/>
              <a:gd name="connsiteX10" fmla="*/ 15719 w 19203"/>
              <a:gd name="connsiteY10" fmla="*/ 15715 h 16917"/>
              <a:gd name="connsiteX11" fmla="*/ 19177 w 19203"/>
              <a:gd name="connsiteY11" fmla="*/ 15966 h 16917"/>
              <a:gd name="connsiteX12" fmla="*/ 19180 w 19203"/>
              <a:gd name="connsiteY12" fmla="*/ 12271 h 16917"/>
              <a:gd name="connsiteX13" fmla="*/ 19195 w 19203"/>
              <a:gd name="connsiteY13" fmla="*/ 9129 h 16917"/>
              <a:gd name="connsiteX14" fmla="*/ 19161 w 19203"/>
              <a:gd name="connsiteY14" fmla="*/ 3610 h 16917"/>
              <a:gd name="connsiteX15" fmla="*/ 15199 w 19203"/>
              <a:gd name="connsiteY15" fmla="*/ 859 h 16917"/>
              <a:gd name="connsiteX16" fmla="*/ 11465 w 19203"/>
              <a:gd name="connsiteY16" fmla="*/ 23 h 16917"/>
              <a:gd name="connsiteX0" fmla="*/ 11465 w 19439"/>
              <a:gd name="connsiteY0" fmla="*/ 23 h 16917"/>
              <a:gd name="connsiteX1" fmla="*/ 5703 w 19439"/>
              <a:gd name="connsiteY1" fmla="*/ 1085 h 16917"/>
              <a:gd name="connsiteX2" fmla="*/ 1220 w 19439"/>
              <a:gd name="connsiteY2" fmla="*/ 5155 h 16917"/>
              <a:gd name="connsiteX3" fmla="*/ 36 w 19439"/>
              <a:gd name="connsiteY3" fmla="*/ 9089 h 16917"/>
              <a:gd name="connsiteX4" fmla="*/ 353 w 19439"/>
              <a:gd name="connsiteY4" fmla="*/ 13412 h 16917"/>
              <a:gd name="connsiteX5" fmla="*/ 1192 w 19439"/>
              <a:gd name="connsiteY5" fmla="*/ 15940 h 16917"/>
              <a:gd name="connsiteX6" fmla="*/ 6228 w 19439"/>
              <a:gd name="connsiteY6" fmla="*/ 16324 h 16917"/>
              <a:gd name="connsiteX7" fmla="*/ 8792 w 19439"/>
              <a:gd name="connsiteY7" fmla="*/ 16911 h 16917"/>
              <a:gd name="connsiteX8" fmla="*/ 11000 w 19439"/>
              <a:gd name="connsiteY8" fmla="*/ 15895 h 16917"/>
              <a:gd name="connsiteX9" fmla="*/ 13786 w 19439"/>
              <a:gd name="connsiteY9" fmla="*/ 15872 h 16917"/>
              <a:gd name="connsiteX10" fmla="*/ 15633 w 19439"/>
              <a:gd name="connsiteY10" fmla="*/ 15840 h 16917"/>
              <a:gd name="connsiteX11" fmla="*/ 19177 w 19439"/>
              <a:gd name="connsiteY11" fmla="*/ 15966 h 16917"/>
              <a:gd name="connsiteX12" fmla="*/ 19180 w 19439"/>
              <a:gd name="connsiteY12" fmla="*/ 12271 h 16917"/>
              <a:gd name="connsiteX13" fmla="*/ 19195 w 19439"/>
              <a:gd name="connsiteY13" fmla="*/ 9129 h 16917"/>
              <a:gd name="connsiteX14" fmla="*/ 19161 w 19439"/>
              <a:gd name="connsiteY14" fmla="*/ 3610 h 16917"/>
              <a:gd name="connsiteX15" fmla="*/ 15199 w 19439"/>
              <a:gd name="connsiteY15" fmla="*/ 859 h 16917"/>
              <a:gd name="connsiteX16" fmla="*/ 11465 w 19439"/>
              <a:gd name="connsiteY16" fmla="*/ 23 h 16917"/>
              <a:gd name="connsiteX0" fmla="*/ 11465 w 19203"/>
              <a:gd name="connsiteY0" fmla="*/ 23 h 16917"/>
              <a:gd name="connsiteX1" fmla="*/ 5703 w 19203"/>
              <a:gd name="connsiteY1" fmla="*/ 1085 h 16917"/>
              <a:gd name="connsiteX2" fmla="*/ 1220 w 19203"/>
              <a:gd name="connsiteY2" fmla="*/ 5155 h 16917"/>
              <a:gd name="connsiteX3" fmla="*/ 36 w 19203"/>
              <a:gd name="connsiteY3" fmla="*/ 9089 h 16917"/>
              <a:gd name="connsiteX4" fmla="*/ 353 w 19203"/>
              <a:gd name="connsiteY4" fmla="*/ 13412 h 16917"/>
              <a:gd name="connsiteX5" fmla="*/ 1192 w 19203"/>
              <a:gd name="connsiteY5" fmla="*/ 15940 h 16917"/>
              <a:gd name="connsiteX6" fmla="*/ 6228 w 19203"/>
              <a:gd name="connsiteY6" fmla="*/ 16324 h 16917"/>
              <a:gd name="connsiteX7" fmla="*/ 8792 w 19203"/>
              <a:gd name="connsiteY7" fmla="*/ 16911 h 16917"/>
              <a:gd name="connsiteX8" fmla="*/ 11000 w 19203"/>
              <a:gd name="connsiteY8" fmla="*/ 15895 h 16917"/>
              <a:gd name="connsiteX9" fmla="*/ 13786 w 19203"/>
              <a:gd name="connsiteY9" fmla="*/ 15872 h 16917"/>
              <a:gd name="connsiteX10" fmla="*/ 15633 w 19203"/>
              <a:gd name="connsiteY10" fmla="*/ 15840 h 16917"/>
              <a:gd name="connsiteX11" fmla="*/ 19177 w 19203"/>
              <a:gd name="connsiteY11" fmla="*/ 15966 h 16917"/>
              <a:gd name="connsiteX12" fmla="*/ 19180 w 19203"/>
              <a:gd name="connsiteY12" fmla="*/ 12271 h 16917"/>
              <a:gd name="connsiteX13" fmla="*/ 19195 w 19203"/>
              <a:gd name="connsiteY13" fmla="*/ 9129 h 16917"/>
              <a:gd name="connsiteX14" fmla="*/ 19161 w 19203"/>
              <a:gd name="connsiteY14" fmla="*/ 3610 h 16917"/>
              <a:gd name="connsiteX15" fmla="*/ 15199 w 19203"/>
              <a:gd name="connsiteY15" fmla="*/ 859 h 16917"/>
              <a:gd name="connsiteX16" fmla="*/ 11465 w 19203"/>
              <a:gd name="connsiteY16" fmla="*/ 23 h 16917"/>
              <a:gd name="connsiteX0" fmla="*/ 11465 w 19203"/>
              <a:gd name="connsiteY0" fmla="*/ 23 h 16335"/>
              <a:gd name="connsiteX1" fmla="*/ 5703 w 19203"/>
              <a:gd name="connsiteY1" fmla="*/ 1085 h 16335"/>
              <a:gd name="connsiteX2" fmla="*/ 1220 w 19203"/>
              <a:gd name="connsiteY2" fmla="*/ 5155 h 16335"/>
              <a:gd name="connsiteX3" fmla="*/ 36 w 19203"/>
              <a:gd name="connsiteY3" fmla="*/ 9089 h 16335"/>
              <a:gd name="connsiteX4" fmla="*/ 353 w 19203"/>
              <a:gd name="connsiteY4" fmla="*/ 13412 h 16335"/>
              <a:gd name="connsiteX5" fmla="*/ 1192 w 19203"/>
              <a:gd name="connsiteY5" fmla="*/ 15940 h 16335"/>
              <a:gd name="connsiteX6" fmla="*/ 6228 w 19203"/>
              <a:gd name="connsiteY6" fmla="*/ 16324 h 16335"/>
              <a:gd name="connsiteX7" fmla="*/ 8678 w 19203"/>
              <a:gd name="connsiteY7" fmla="*/ 15903 h 16335"/>
              <a:gd name="connsiteX8" fmla="*/ 11000 w 19203"/>
              <a:gd name="connsiteY8" fmla="*/ 15895 h 16335"/>
              <a:gd name="connsiteX9" fmla="*/ 13786 w 19203"/>
              <a:gd name="connsiteY9" fmla="*/ 15872 h 16335"/>
              <a:gd name="connsiteX10" fmla="*/ 15633 w 19203"/>
              <a:gd name="connsiteY10" fmla="*/ 15840 h 16335"/>
              <a:gd name="connsiteX11" fmla="*/ 19177 w 19203"/>
              <a:gd name="connsiteY11" fmla="*/ 15966 h 16335"/>
              <a:gd name="connsiteX12" fmla="*/ 19180 w 19203"/>
              <a:gd name="connsiteY12" fmla="*/ 12271 h 16335"/>
              <a:gd name="connsiteX13" fmla="*/ 19195 w 19203"/>
              <a:gd name="connsiteY13" fmla="*/ 9129 h 16335"/>
              <a:gd name="connsiteX14" fmla="*/ 19161 w 19203"/>
              <a:gd name="connsiteY14" fmla="*/ 3610 h 16335"/>
              <a:gd name="connsiteX15" fmla="*/ 15199 w 19203"/>
              <a:gd name="connsiteY15" fmla="*/ 859 h 16335"/>
              <a:gd name="connsiteX16" fmla="*/ 11465 w 19203"/>
              <a:gd name="connsiteY16" fmla="*/ 23 h 16335"/>
              <a:gd name="connsiteX0" fmla="*/ 11465 w 19203"/>
              <a:gd name="connsiteY0" fmla="*/ 23 h 16330"/>
              <a:gd name="connsiteX1" fmla="*/ 5703 w 19203"/>
              <a:gd name="connsiteY1" fmla="*/ 1085 h 16330"/>
              <a:gd name="connsiteX2" fmla="*/ 1220 w 19203"/>
              <a:gd name="connsiteY2" fmla="*/ 5155 h 16330"/>
              <a:gd name="connsiteX3" fmla="*/ 36 w 19203"/>
              <a:gd name="connsiteY3" fmla="*/ 9089 h 16330"/>
              <a:gd name="connsiteX4" fmla="*/ 353 w 19203"/>
              <a:gd name="connsiteY4" fmla="*/ 13412 h 16330"/>
              <a:gd name="connsiteX5" fmla="*/ 1192 w 19203"/>
              <a:gd name="connsiteY5" fmla="*/ 15940 h 16330"/>
              <a:gd name="connsiteX6" fmla="*/ 6228 w 19203"/>
              <a:gd name="connsiteY6" fmla="*/ 16324 h 16330"/>
              <a:gd name="connsiteX7" fmla="*/ 8678 w 19203"/>
              <a:gd name="connsiteY7" fmla="*/ 15903 h 16330"/>
              <a:gd name="connsiteX8" fmla="*/ 11000 w 19203"/>
              <a:gd name="connsiteY8" fmla="*/ 15895 h 16330"/>
              <a:gd name="connsiteX9" fmla="*/ 13786 w 19203"/>
              <a:gd name="connsiteY9" fmla="*/ 15872 h 16330"/>
              <a:gd name="connsiteX10" fmla="*/ 15633 w 19203"/>
              <a:gd name="connsiteY10" fmla="*/ 15840 h 16330"/>
              <a:gd name="connsiteX11" fmla="*/ 19177 w 19203"/>
              <a:gd name="connsiteY11" fmla="*/ 15966 h 16330"/>
              <a:gd name="connsiteX12" fmla="*/ 19180 w 19203"/>
              <a:gd name="connsiteY12" fmla="*/ 12271 h 16330"/>
              <a:gd name="connsiteX13" fmla="*/ 19195 w 19203"/>
              <a:gd name="connsiteY13" fmla="*/ 9129 h 16330"/>
              <a:gd name="connsiteX14" fmla="*/ 19161 w 19203"/>
              <a:gd name="connsiteY14" fmla="*/ 3610 h 16330"/>
              <a:gd name="connsiteX15" fmla="*/ 15199 w 19203"/>
              <a:gd name="connsiteY15" fmla="*/ 859 h 16330"/>
              <a:gd name="connsiteX16" fmla="*/ 11465 w 19203"/>
              <a:gd name="connsiteY16" fmla="*/ 23 h 16330"/>
              <a:gd name="connsiteX0" fmla="*/ 11465 w 19203"/>
              <a:gd name="connsiteY0" fmla="*/ 23 h 16142"/>
              <a:gd name="connsiteX1" fmla="*/ 5703 w 19203"/>
              <a:gd name="connsiteY1" fmla="*/ 1085 h 16142"/>
              <a:gd name="connsiteX2" fmla="*/ 1220 w 19203"/>
              <a:gd name="connsiteY2" fmla="*/ 5155 h 16142"/>
              <a:gd name="connsiteX3" fmla="*/ 36 w 19203"/>
              <a:gd name="connsiteY3" fmla="*/ 9089 h 16142"/>
              <a:gd name="connsiteX4" fmla="*/ 353 w 19203"/>
              <a:gd name="connsiteY4" fmla="*/ 13412 h 16142"/>
              <a:gd name="connsiteX5" fmla="*/ 1192 w 19203"/>
              <a:gd name="connsiteY5" fmla="*/ 15940 h 16142"/>
              <a:gd name="connsiteX6" fmla="*/ 5793 w 19203"/>
              <a:gd name="connsiteY6" fmla="*/ 15979 h 16142"/>
              <a:gd name="connsiteX7" fmla="*/ 8678 w 19203"/>
              <a:gd name="connsiteY7" fmla="*/ 15903 h 16142"/>
              <a:gd name="connsiteX8" fmla="*/ 11000 w 19203"/>
              <a:gd name="connsiteY8" fmla="*/ 15895 h 16142"/>
              <a:gd name="connsiteX9" fmla="*/ 13786 w 19203"/>
              <a:gd name="connsiteY9" fmla="*/ 15872 h 16142"/>
              <a:gd name="connsiteX10" fmla="*/ 15633 w 19203"/>
              <a:gd name="connsiteY10" fmla="*/ 15840 h 16142"/>
              <a:gd name="connsiteX11" fmla="*/ 19177 w 19203"/>
              <a:gd name="connsiteY11" fmla="*/ 15966 h 16142"/>
              <a:gd name="connsiteX12" fmla="*/ 19180 w 19203"/>
              <a:gd name="connsiteY12" fmla="*/ 12271 h 16142"/>
              <a:gd name="connsiteX13" fmla="*/ 19195 w 19203"/>
              <a:gd name="connsiteY13" fmla="*/ 9129 h 16142"/>
              <a:gd name="connsiteX14" fmla="*/ 19161 w 19203"/>
              <a:gd name="connsiteY14" fmla="*/ 3610 h 16142"/>
              <a:gd name="connsiteX15" fmla="*/ 15199 w 19203"/>
              <a:gd name="connsiteY15" fmla="*/ 859 h 16142"/>
              <a:gd name="connsiteX16" fmla="*/ 11465 w 19203"/>
              <a:gd name="connsiteY16" fmla="*/ 23 h 16142"/>
              <a:gd name="connsiteX0" fmla="*/ 11465 w 19203"/>
              <a:gd name="connsiteY0" fmla="*/ 23 h 16118"/>
              <a:gd name="connsiteX1" fmla="*/ 5703 w 19203"/>
              <a:gd name="connsiteY1" fmla="*/ 1085 h 16118"/>
              <a:gd name="connsiteX2" fmla="*/ 1220 w 19203"/>
              <a:gd name="connsiteY2" fmla="*/ 5155 h 16118"/>
              <a:gd name="connsiteX3" fmla="*/ 36 w 19203"/>
              <a:gd name="connsiteY3" fmla="*/ 9089 h 16118"/>
              <a:gd name="connsiteX4" fmla="*/ 353 w 19203"/>
              <a:gd name="connsiteY4" fmla="*/ 13412 h 16118"/>
              <a:gd name="connsiteX5" fmla="*/ 1192 w 19203"/>
              <a:gd name="connsiteY5" fmla="*/ 15940 h 16118"/>
              <a:gd name="connsiteX6" fmla="*/ 5793 w 19203"/>
              <a:gd name="connsiteY6" fmla="*/ 15979 h 16118"/>
              <a:gd name="connsiteX7" fmla="*/ 8678 w 19203"/>
              <a:gd name="connsiteY7" fmla="*/ 15903 h 16118"/>
              <a:gd name="connsiteX8" fmla="*/ 11000 w 19203"/>
              <a:gd name="connsiteY8" fmla="*/ 15895 h 16118"/>
              <a:gd name="connsiteX9" fmla="*/ 13786 w 19203"/>
              <a:gd name="connsiteY9" fmla="*/ 15872 h 16118"/>
              <a:gd name="connsiteX10" fmla="*/ 15633 w 19203"/>
              <a:gd name="connsiteY10" fmla="*/ 15840 h 16118"/>
              <a:gd name="connsiteX11" fmla="*/ 19177 w 19203"/>
              <a:gd name="connsiteY11" fmla="*/ 15966 h 16118"/>
              <a:gd name="connsiteX12" fmla="*/ 19180 w 19203"/>
              <a:gd name="connsiteY12" fmla="*/ 12271 h 16118"/>
              <a:gd name="connsiteX13" fmla="*/ 19195 w 19203"/>
              <a:gd name="connsiteY13" fmla="*/ 9129 h 16118"/>
              <a:gd name="connsiteX14" fmla="*/ 19161 w 19203"/>
              <a:gd name="connsiteY14" fmla="*/ 3610 h 16118"/>
              <a:gd name="connsiteX15" fmla="*/ 15199 w 19203"/>
              <a:gd name="connsiteY15" fmla="*/ 859 h 16118"/>
              <a:gd name="connsiteX16" fmla="*/ 11465 w 19203"/>
              <a:gd name="connsiteY16" fmla="*/ 23 h 16118"/>
              <a:gd name="connsiteX0" fmla="*/ 11465 w 19203"/>
              <a:gd name="connsiteY0" fmla="*/ 23 h 16130"/>
              <a:gd name="connsiteX1" fmla="*/ 5703 w 19203"/>
              <a:gd name="connsiteY1" fmla="*/ 1085 h 16130"/>
              <a:gd name="connsiteX2" fmla="*/ 1220 w 19203"/>
              <a:gd name="connsiteY2" fmla="*/ 5155 h 16130"/>
              <a:gd name="connsiteX3" fmla="*/ 36 w 19203"/>
              <a:gd name="connsiteY3" fmla="*/ 9089 h 16130"/>
              <a:gd name="connsiteX4" fmla="*/ 353 w 19203"/>
              <a:gd name="connsiteY4" fmla="*/ 13412 h 16130"/>
              <a:gd name="connsiteX5" fmla="*/ 1192 w 19203"/>
              <a:gd name="connsiteY5" fmla="*/ 15940 h 16130"/>
              <a:gd name="connsiteX6" fmla="*/ 5793 w 19203"/>
              <a:gd name="connsiteY6" fmla="*/ 15979 h 16130"/>
              <a:gd name="connsiteX7" fmla="*/ 8678 w 19203"/>
              <a:gd name="connsiteY7" fmla="*/ 15903 h 16130"/>
              <a:gd name="connsiteX8" fmla="*/ 11000 w 19203"/>
              <a:gd name="connsiteY8" fmla="*/ 15895 h 16130"/>
              <a:gd name="connsiteX9" fmla="*/ 13786 w 19203"/>
              <a:gd name="connsiteY9" fmla="*/ 15872 h 16130"/>
              <a:gd name="connsiteX10" fmla="*/ 15633 w 19203"/>
              <a:gd name="connsiteY10" fmla="*/ 15840 h 16130"/>
              <a:gd name="connsiteX11" fmla="*/ 19177 w 19203"/>
              <a:gd name="connsiteY11" fmla="*/ 15966 h 16130"/>
              <a:gd name="connsiteX12" fmla="*/ 19180 w 19203"/>
              <a:gd name="connsiteY12" fmla="*/ 12271 h 16130"/>
              <a:gd name="connsiteX13" fmla="*/ 19195 w 19203"/>
              <a:gd name="connsiteY13" fmla="*/ 9129 h 16130"/>
              <a:gd name="connsiteX14" fmla="*/ 19161 w 19203"/>
              <a:gd name="connsiteY14" fmla="*/ 3610 h 16130"/>
              <a:gd name="connsiteX15" fmla="*/ 15199 w 19203"/>
              <a:gd name="connsiteY15" fmla="*/ 859 h 16130"/>
              <a:gd name="connsiteX16" fmla="*/ 11465 w 19203"/>
              <a:gd name="connsiteY16" fmla="*/ 23 h 16130"/>
              <a:gd name="connsiteX0" fmla="*/ 11465 w 19203"/>
              <a:gd name="connsiteY0" fmla="*/ 23 h 16014"/>
              <a:gd name="connsiteX1" fmla="*/ 5703 w 19203"/>
              <a:gd name="connsiteY1" fmla="*/ 1085 h 16014"/>
              <a:gd name="connsiteX2" fmla="*/ 1220 w 19203"/>
              <a:gd name="connsiteY2" fmla="*/ 5155 h 16014"/>
              <a:gd name="connsiteX3" fmla="*/ 36 w 19203"/>
              <a:gd name="connsiteY3" fmla="*/ 9089 h 16014"/>
              <a:gd name="connsiteX4" fmla="*/ 353 w 19203"/>
              <a:gd name="connsiteY4" fmla="*/ 13412 h 16014"/>
              <a:gd name="connsiteX5" fmla="*/ 1192 w 19203"/>
              <a:gd name="connsiteY5" fmla="*/ 15940 h 16014"/>
              <a:gd name="connsiteX6" fmla="*/ 5793 w 19203"/>
              <a:gd name="connsiteY6" fmla="*/ 15979 h 16014"/>
              <a:gd name="connsiteX7" fmla="*/ 8678 w 19203"/>
              <a:gd name="connsiteY7" fmla="*/ 15903 h 16014"/>
              <a:gd name="connsiteX8" fmla="*/ 11000 w 19203"/>
              <a:gd name="connsiteY8" fmla="*/ 15895 h 16014"/>
              <a:gd name="connsiteX9" fmla="*/ 13786 w 19203"/>
              <a:gd name="connsiteY9" fmla="*/ 15872 h 16014"/>
              <a:gd name="connsiteX10" fmla="*/ 15633 w 19203"/>
              <a:gd name="connsiteY10" fmla="*/ 15840 h 16014"/>
              <a:gd name="connsiteX11" fmla="*/ 19177 w 19203"/>
              <a:gd name="connsiteY11" fmla="*/ 15966 h 16014"/>
              <a:gd name="connsiteX12" fmla="*/ 19180 w 19203"/>
              <a:gd name="connsiteY12" fmla="*/ 12271 h 16014"/>
              <a:gd name="connsiteX13" fmla="*/ 19195 w 19203"/>
              <a:gd name="connsiteY13" fmla="*/ 9129 h 16014"/>
              <a:gd name="connsiteX14" fmla="*/ 19161 w 19203"/>
              <a:gd name="connsiteY14" fmla="*/ 3610 h 16014"/>
              <a:gd name="connsiteX15" fmla="*/ 15199 w 19203"/>
              <a:gd name="connsiteY15" fmla="*/ 859 h 16014"/>
              <a:gd name="connsiteX16" fmla="*/ 11465 w 19203"/>
              <a:gd name="connsiteY16" fmla="*/ 23 h 16014"/>
              <a:gd name="connsiteX0" fmla="*/ 11465 w 19203"/>
              <a:gd name="connsiteY0" fmla="*/ 23 h 16061"/>
              <a:gd name="connsiteX1" fmla="*/ 5703 w 19203"/>
              <a:gd name="connsiteY1" fmla="*/ 1085 h 16061"/>
              <a:gd name="connsiteX2" fmla="*/ 1220 w 19203"/>
              <a:gd name="connsiteY2" fmla="*/ 5155 h 16061"/>
              <a:gd name="connsiteX3" fmla="*/ 36 w 19203"/>
              <a:gd name="connsiteY3" fmla="*/ 9089 h 16061"/>
              <a:gd name="connsiteX4" fmla="*/ 353 w 19203"/>
              <a:gd name="connsiteY4" fmla="*/ 13412 h 16061"/>
              <a:gd name="connsiteX5" fmla="*/ 1192 w 19203"/>
              <a:gd name="connsiteY5" fmla="*/ 15940 h 16061"/>
              <a:gd name="connsiteX6" fmla="*/ 5793 w 19203"/>
              <a:gd name="connsiteY6" fmla="*/ 15687 h 16061"/>
              <a:gd name="connsiteX7" fmla="*/ 8678 w 19203"/>
              <a:gd name="connsiteY7" fmla="*/ 15903 h 16061"/>
              <a:gd name="connsiteX8" fmla="*/ 11000 w 19203"/>
              <a:gd name="connsiteY8" fmla="*/ 15895 h 16061"/>
              <a:gd name="connsiteX9" fmla="*/ 13786 w 19203"/>
              <a:gd name="connsiteY9" fmla="*/ 15872 h 16061"/>
              <a:gd name="connsiteX10" fmla="*/ 15633 w 19203"/>
              <a:gd name="connsiteY10" fmla="*/ 15840 h 16061"/>
              <a:gd name="connsiteX11" fmla="*/ 19177 w 19203"/>
              <a:gd name="connsiteY11" fmla="*/ 15966 h 16061"/>
              <a:gd name="connsiteX12" fmla="*/ 19180 w 19203"/>
              <a:gd name="connsiteY12" fmla="*/ 12271 h 16061"/>
              <a:gd name="connsiteX13" fmla="*/ 19195 w 19203"/>
              <a:gd name="connsiteY13" fmla="*/ 9129 h 16061"/>
              <a:gd name="connsiteX14" fmla="*/ 19161 w 19203"/>
              <a:gd name="connsiteY14" fmla="*/ 3610 h 16061"/>
              <a:gd name="connsiteX15" fmla="*/ 15199 w 19203"/>
              <a:gd name="connsiteY15" fmla="*/ 859 h 16061"/>
              <a:gd name="connsiteX16" fmla="*/ 11465 w 19203"/>
              <a:gd name="connsiteY16" fmla="*/ 23 h 16061"/>
              <a:gd name="connsiteX0" fmla="*/ 11465 w 19203"/>
              <a:gd name="connsiteY0" fmla="*/ 23 h 16107"/>
              <a:gd name="connsiteX1" fmla="*/ 5703 w 19203"/>
              <a:gd name="connsiteY1" fmla="*/ 1085 h 16107"/>
              <a:gd name="connsiteX2" fmla="*/ 1220 w 19203"/>
              <a:gd name="connsiteY2" fmla="*/ 5155 h 16107"/>
              <a:gd name="connsiteX3" fmla="*/ 36 w 19203"/>
              <a:gd name="connsiteY3" fmla="*/ 9089 h 16107"/>
              <a:gd name="connsiteX4" fmla="*/ 353 w 19203"/>
              <a:gd name="connsiteY4" fmla="*/ 13412 h 16107"/>
              <a:gd name="connsiteX5" fmla="*/ 1192 w 19203"/>
              <a:gd name="connsiteY5" fmla="*/ 15940 h 16107"/>
              <a:gd name="connsiteX6" fmla="*/ 5793 w 19203"/>
              <a:gd name="connsiteY6" fmla="*/ 15873 h 16107"/>
              <a:gd name="connsiteX7" fmla="*/ 8678 w 19203"/>
              <a:gd name="connsiteY7" fmla="*/ 15903 h 16107"/>
              <a:gd name="connsiteX8" fmla="*/ 11000 w 19203"/>
              <a:gd name="connsiteY8" fmla="*/ 15895 h 16107"/>
              <a:gd name="connsiteX9" fmla="*/ 13786 w 19203"/>
              <a:gd name="connsiteY9" fmla="*/ 15872 h 16107"/>
              <a:gd name="connsiteX10" fmla="*/ 15633 w 19203"/>
              <a:gd name="connsiteY10" fmla="*/ 15840 h 16107"/>
              <a:gd name="connsiteX11" fmla="*/ 19177 w 19203"/>
              <a:gd name="connsiteY11" fmla="*/ 15966 h 16107"/>
              <a:gd name="connsiteX12" fmla="*/ 19180 w 19203"/>
              <a:gd name="connsiteY12" fmla="*/ 12271 h 16107"/>
              <a:gd name="connsiteX13" fmla="*/ 19195 w 19203"/>
              <a:gd name="connsiteY13" fmla="*/ 9129 h 16107"/>
              <a:gd name="connsiteX14" fmla="*/ 19161 w 19203"/>
              <a:gd name="connsiteY14" fmla="*/ 3610 h 16107"/>
              <a:gd name="connsiteX15" fmla="*/ 15199 w 19203"/>
              <a:gd name="connsiteY15" fmla="*/ 859 h 16107"/>
              <a:gd name="connsiteX16" fmla="*/ 11465 w 19203"/>
              <a:gd name="connsiteY16" fmla="*/ 23 h 16107"/>
              <a:gd name="connsiteX0" fmla="*/ 11469 w 19207"/>
              <a:gd name="connsiteY0" fmla="*/ 23 h 15966"/>
              <a:gd name="connsiteX1" fmla="*/ 5707 w 19207"/>
              <a:gd name="connsiteY1" fmla="*/ 1085 h 15966"/>
              <a:gd name="connsiteX2" fmla="*/ 1224 w 19207"/>
              <a:gd name="connsiteY2" fmla="*/ 5155 h 15966"/>
              <a:gd name="connsiteX3" fmla="*/ 40 w 19207"/>
              <a:gd name="connsiteY3" fmla="*/ 9089 h 15966"/>
              <a:gd name="connsiteX4" fmla="*/ 357 w 19207"/>
              <a:gd name="connsiteY4" fmla="*/ 13412 h 15966"/>
              <a:gd name="connsiteX5" fmla="*/ 1448 w 19207"/>
              <a:gd name="connsiteY5" fmla="*/ 15463 h 15966"/>
              <a:gd name="connsiteX6" fmla="*/ 5797 w 19207"/>
              <a:gd name="connsiteY6" fmla="*/ 15873 h 15966"/>
              <a:gd name="connsiteX7" fmla="*/ 8682 w 19207"/>
              <a:gd name="connsiteY7" fmla="*/ 15903 h 15966"/>
              <a:gd name="connsiteX8" fmla="*/ 11004 w 19207"/>
              <a:gd name="connsiteY8" fmla="*/ 15895 h 15966"/>
              <a:gd name="connsiteX9" fmla="*/ 13790 w 19207"/>
              <a:gd name="connsiteY9" fmla="*/ 15872 h 15966"/>
              <a:gd name="connsiteX10" fmla="*/ 15637 w 19207"/>
              <a:gd name="connsiteY10" fmla="*/ 15840 h 15966"/>
              <a:gd name="connsiteX11" fmla="*/ 19181 w 19207"/>
              <a:gd name="connsiteY11" fmla="*/ 15966 h 15966"/>
              <a:gd name="connsiteX12" fmla="*/ 19184 w 19207"/>
              <a:gd name="connsiteY12" fmla="*/ 12271 h 15966"/>
              <a:gd name="connsiteX13" fmla="*/ 19199 w 19207"/>
              <a:gd name="connsiteY13" fmla="*/ 9129 h 15966"/>
              <a:gd name="connsiteX14" fmla="*/ 19165 w 19207"/>
              <a:gd name="connsiteY14" fmla="*/ 3610 h 15966"/>
              <a:gd name="connsiteX15" fmla="*/ 15203 w 19207"/>
              <a:gd name="connsiteY15" fmla="*/ 859 h 15966"/>
              <a:gd name="connsiteX16" fmla="*/ 11469 w 19207"/>
              <a:gd name="connsiteY16" fmla="*/ 23 h 15966"/>
              <a:gd name="connsiteX0" fmla="*/ 11469 w 19207"/>
              <a:gd name="connsiteY0" fmla="*/ 23 h 15966"/>
              <a:gd name="connsiteX1" fmla="*/ 5707 w 19207"/>
              <a:gd name="connsiteY1" fmla="*/ 1085 h 15966"/>
              <a:gd name="connsiteX2" fmla="*/ 1224 w 19207"/>
              <a:gd name="connsiteY2" fmla="*/ 5155 h 15966"/>
              <a:gd name="connsiteX3" fmla="*/ 40 w 19207"/>
              <a:gd name="connsiteY3" fmla="*/ 9089 h 15966"/>
              <a:gd name="connsiteX4" fmla="*/ 357 w 19207"/>
              <a:gd name="connsiteY4" fmla="*/ 13412 h 15966"/>
              <a:gd name="connsiteX5" fmla="*/ 1448 w 19207"/>
              <a:gd name="connsiteY5" fmla="*/ 15463 h 15966"/>
              <a:gd name="connsiteX6" fmla="*/ 5797 w 19207"/>
              <a:gd name="connsiteY6" fmla="*/ 15873 h 15966"/>
              <a:gd name="connsiteX7" fmla="*/ 8682 w 19207"/>
              <a:gd name="connsiteY7" fmla="*/ 15903 h 15966"/>
              <a:gd name="connsiteX8" fmla="*/ 11004 w 19207"/>
              <a:gd name="connsiteY8" fmla="*/ 15895 h 15966"/>
              <a:gd name="connsiteX9" fmla="*/ 13790 w 19207"/>
              <a:gd name="connsiteY9" fmla="*/ 15872 h 15966"/>
              <a:gd name="connsiteX10" fmla="*/ 15637 w 19207"/>
              <a:gd name="connsiteY10" fmla="*/ 15840 h 15966"/>
              <a:gd name="connsiteX11" fmla="*/ 19181 w 19207"/>
              <a:gd name="connsiteY11" fmla="*/ 15966 h 15966"/>
              <a:gd name="connsiteX12" fmla="*/ 19184 w 19207"/>
              <a:gd name="connsiteY12" fmla="*/ 12271 h 15966"/>
              <a:gd name="connsiteX13" fmla="*/ 19199 w 19207"/>
              <a:gd name="connsiteY13" fmla="*/ 9129 h 15966"/>
              <a:gd name="connsiteX14" fmla="*/ 19165 w 19207"/>
              <a:gd name="connsiteY14" fmla="*/ 3610 h 15966"/>
              <a:gd name="connsiteX15" fmla="*/ 15203 w 19207"/>
              <a:gd name="connsiteY15" fmla="*/ 859 h 15966"/>
              <a:gd name="connsiteX16" fmla="*/ 11469 w 19207"/>
              <a:gd name="connsiteY16" fmla="*/ 23 h 15966"/>
              <a:gd name="connsiteX0" fmla="*/ 11468 w 19206"/>
              <a:gd name="connsiteY0" fmla="*/ 23 h 15966"/>
              <a:gd name="connsiteX1" fmla="*/ 5706 w 19206"/>
              <a:gd name="connsiteY1" fmla="*/ 1085 h 15966"/>
              <a:gd name="connsiteX2" fmla="*/ 1223 w 19206"/>
              <a:gd name="connsiteY2" fmla="*/ 5155 h 15966"/>
              <a:gd name="connsiteX3" fmla="*/ 39 w 19206"/>
              <a:gd name="connsiteY3" fmla="*/ 9089 h 15966"/>
              <a:gd name="connsiteX4" fmla="*/ 356 w 19206"/>
              <a:gd name="connsiteY4" fmla="*/ 13412 h 15966"/>
              <a:gd name="connsiteX5" fmla="*/ 1378 w 19206"/>
              <a:gd name="connsiteY5" fmla="*/ 15755 h 15966"/>
              <a:gd name="connsiteX6" fmla="*/ 5796 w 19206"/>
              <a:gd name="connsiteY6" fmla="*/ 15873 h 15966"/>
              <a:gd name="connsiteX7" fmla="*/ 8681 w 19206"/>
              <a:gd name="connsiteY7" fmla="*/ 15903 h 15966"/>
              <a:gd name="connsiteX8" fmla="*/ 11003 w 19206"/>
              <a:gd name="connsiteY8" fmla="*/ 15895 h 15966"/>
              <a:gd name="connsiteX9" fmla="*/ 13789 w 19206"/>
              <a:gd name="connsiteY9" fmla="*/ 15872 h 15966"/>
              <a:gd name="connsiteX10" fmla="*/ 15636 w 19206"/>
              <a:gd name="connsiteY10" fmla="*/ 15840 h 15966"/>
              <a:gd name="connsiteX11" fmla="*/ 19180 w 19206"/>
              <a:gd name="connsiteY11" fmla="*/ 15966 h 15966"/>
              <a:gd name="connsiteX12" fmla="*/ 19183 w 19206"/>
              <a:gd name="connsiteY12" fmla="*/ 12271 h 15966"/>
              <a:gd name="connsiteX13" fmla="*/ 19198 w 19206"/>
              <a:gd name="connsiteY13" fmla="*/ 9129 h 15966"/>
              <a:gd name="connsiteX14" fmla="*/ 19164 w 19206"/>
              <a:gd name="connsiteY14" fmla="*/ 3610 h 15966"/>
              <a:gd name="connsiteX15" fmla="*/ 15202 w 19206"/>
              <a:gd name="connsiteY15" fmla="*/ 859 h 15966"/>
              <a:gd name="connsiteX16" fmla="*/ 11468 w 19206"/>
              <a:gd name="connsiteY16" fmla="*/ 23 h 15966"/>
              <a:gd name="connsiteX0" fmla="*/ 11468 w 19206"/>
              <a:gd name="connsiteY0" fmla="*/ 23 h 15966"/>
              <a:gd name="connsiteX1" fmla="*/ 5706 w 19206"/>
              <a:gd name="connsiteY1" fmla="*/ 1085 h 15966"/>
              <a:gd name="connsiteX2" fmla="*/ 1223 w 19206"/>
              <a:gd name="connsiteY2" fmla="*/ 5155 h 15966"/>
              <a:gd name="connsiteX3" fmla="*/ 39 w 19206"/>
              <a:gd name="connsiteY3" fmla="*/ 9089 h 15966"/>
              <a:gd name="connsiteX4" fmla="*/ 356 w 19206"/>
              <a:gd name="connsiteY4" fmla="*/ 13412 h 15966"/>
              <a:gd name="connsiteX5" fmla="*/ 1378 w 19206"/>
              <a:gd name="connsiteY5" fmla="*/ 15755 h 15966"/>
              <a:gd name="connsiteX6" fmla="*/ 5796 w 19206"/>
              <a:gd name="connsiteY6" fmla="*/ 15873 h 15966"/>
              <a:gd name="connsiteX7" fmla="*/ 8681 w 19206"/>
              <a:gd name="connsiteY7" fmla="*/ 15903 h 15966"/>
              <a:gd name="connsiteX8" fmla="*/ 11003 w 19206"/>
              <a:gd name="connsiteY8" fmla="*/ 15895 h 15966"/>
              <a:gd name="connsiteX9" fmla="*/ 13789 w 19206"/>
              <a:gd name="connsiteY9" fmla="*/ 15872 h 15966"/>
              <a:gd name="connsiteX10" fmla="*/ 15636 w 19206"/>
              <a:gd name="connsiteY10" fmla="*/ 15840 h 15966"/>
              <a:gd name="connsiteX11" fmla="*/ 19180 w 19206"/>
              <a:gd name="connsiteY11" fmla="*/ 15966 h 15966"/>
              <a:gd name="connsiteX12" fmla="*/ 19183 w 19206"/>
              <a:gd name="connsiteY12" fmla="*/ 12271 h 15966"/>
              <a:gd name="connsiteX13" fmla="*/ 19198 w 19206"/>
              <a:gd name="connsiteY13" fmla="*/ 9129 h 15966"/>
              <a:gd name="connsiteX14" fmla="*/ 19164 w 19206"/>
              <a:gd name="connsiteY14" fmla="*/ 3610 h 15966"/>
              <a:gd name="connsiteX15" fmla="*/ 15202 w 19206"/>
              <a:gd name="connsiteY15" fmla="*/ 859 h 15966"/>
              <a:gd name="connsiteX16" fmla="*/ 11468 w 19206"/>
              <a:gd name="connsiteY16" fmla="*/ 23 h 15966"/>
              <a:gd name="connsiteX0" fmla="*/ 11465 w 19203"/>
              <a:gd name="connsiteY0" fmla="*/ 23 h 15966"/>
              <a:gd name="connsiteX1" fmla="*/ 5703 w 19203"/>
              <a:gd name="connsiteY1" fmla="*/ 1085 h 15966"/>
              <a:gd name="connsiteX2" fmla="*/ 1220 w 19203"/>
              <a:gd name="connsiteY2" fmla="*/ 5155 h 15966"/>
              <a:gd name="connsiteX3" fmla="*/ 36 w 19203"/>
              <a:gd name="connsiteY3" fmla="*/ 9089 h 15966"/>
              <a:gd name="connsiteX4" fmla="*/ 353 w 19203"/>
              <a:gd name="connsiteY4" fmla="*/ 13412 h 15966"/>
              <a:gd name="connsiteX5" fmla="*/ 1146 w 19203"/>
              <a:gd name="connsiteY5" fmla="*/ 15835 h 15966"/>
              <a:gd name="connsiteX6" fmla="*/ 5793 w 19203"/>
              <a:gd name="connsiteY6" fmla="*/ 15873 h 15966"/>
              <a:gd name="connsiteX7" fmla="*/ 8678 w 19203"/>
              <a:gd name="connsiteY7" fmla="*/ 15903 h 15966"/>
              <a:gd name="connsiteX8" fmla="*/ 11000 w 19203"/>
              <a:gd name="connsiteY8" fmla="*/ 15895 h 15966"/>
              <a:gd name="connsiteX9" fmla="*/ 13786 w 19203"/>
              <a:gd name="connsiteY9" fmla="*/ 15872 h 15966"/>
              <a:gd name="connsiteX10" fmla="*/ 15633 w 19203"/>
              <a:gd name="connsiteY10" fmla="*/ 15840 h 15966"/>
              <a:gd name="connsiteX11" fmla="*/ 19177 w 19203"/>
              <a:gd name="connsiteY11" fmla="*/ 15966 h 15966"/>
              <a:gd name="connsiteX12" fmla="*/ 19180 w 19203"/>
              <a:gd name="connsiteY12" fmla="*/ 12271 h 15966"/>
              <a:gd name="connsiteX13" fmla="*/ 19195 w 19203"/>
              <a:gd name="connsiteY13" fmla="*/ 9129 h 15966"/>
              <a:gd name="connsiteX14" fmla="*/ 19161 w 19203"/>
              <a:gd name="connsiteY14" fmla="*/ 3610 h 15966"/>
              <a:gd name="connsiteX15" fmla="*/ 15199 w 19203"/>
              <a:gd name="connsiteY15" fmla="*/ 859 h 15966"/>
              <a:gd name="connsiteX16" fmla="*/ 11465 w 19203"/>
              <a:gd name="connsiteY16" fmla="*/ 23 h 15966"/>
              <a:gd name="connsiteX0" fmla="*/ 11465 w 19203"/>
              <a:gd name="connsiteY0" fmla="*/ 23 h 15903"/>
              <a:gd name="connsiteX1" fmla="*/ 5703 w 19203"/>
              <a:gd name="connsiteY1" fmla="*/ 1085 h 15903"/>
              <a:gd name="connsiteX2" fmla="*/ 1220 w 19203"/>
              <a:gd name="connsiteY2" fmla="*/ 5155 h 15903"/>
              <a:gd name="connsiteX3" fmla="*/ 36 w 19203"/>
              <a:gd name="connsiteY3" fmla="*/ 9089 h 15903"/>
              <a:gd name="connsiteX4" fmla="*/ 353 w 19203"/>
              <a:gd name="connsiteY4" fmla="*/ 13412 h 15903"/>
              <a:gd name="connsiteX5" fmla="*/ 1146 w 19203"/>
              <a:gd name="connsiteY5" fmla="*/ 15835 h 15903"/>
              <a:gd name="connsiteX6" fmla="*/ 5793 w 19203"/>
              <a:gd name="connsiteY6" fmla="*/ 15873 h 15903"/>
              <a:gd name="connsiteX7" fmla="*/ 8678 w 19203"/>
              <a:gd name="connsiteY7" fmla="*/ 15903 h 15903"/>
              <a:gd name="connsiteX8" fmla="*/ 11000 w 19203"/>
              <a:gd name="connsiteY8" fmla="*/ 15895 h 15903"/>
              <a:gd name="connsiteX9" fmla="*/ 13786 w 19203"/>
              <a:gd name="connsiteY9" fmla="*/ 15872 h 15903"/>
              <a:gd name="connsiteX10" fmla="*/ 15633 w 19203"/>
              <a:gd name="connsiteY10" fmla="*/ 15840 h 15903"/>
              <a:gd name="connsiteX11" fmla="*/ 19154 w 19203"/>
              <a:gd name="connsiteY11" fmla="*/ 15515 h 15903"/>
              <a:gd name="connsiteX12" fmla="*/ 19180 w 19203"/>
              <a:gd name="connsiteY12" fmla="*/ 12271 h 15903"/>
              <a:gd name="connsiteX13" fmla="*/ 19195 w 19203"/>
              <a:gd name="connsiteY13" fmla="*/ 9129 h 15903"/>
              <a:gd name="connsiteX14" fmla="*/ 19161 w 19203"/>
              <a:gd name="connsiteY14" fmla="*/ 3610 h 15903"/>
              <a:gd name="connsiteX15" fmla="*/ 15199 w 19203"/>
              <a:gd name="connsiteY15" fmla="*/ 859 h 15903"/>
              <a:gd name="connsiteX16" fmla="*/ 11465 w 19203"/>
              <a:gd name="connsiteY16" fmla="*/ 23 h 15903"/>
              <a:gd name="connsiteX0" fmla="*/ 11465 w 19203"/>
              <a:gd name="connsiteY0" fmla="*/ 23 h 15913"/>
              <a:gd name="connsiteX1" fmla="*/ 5703 w 19203"/>
              <a:gd name="connsiteY1" fmla="*/ 1085 h 15913"/>
              <a:gd name="connsiteX2" fmla="*/ 1220 w 19203"/>
              <a:gd name="connsiteY2" fmla="*/ 5155 h 15913"/>
              <a:gd name="connsiteX3" fmla="*/ 36 w 19203"/>
              <a:gd name="connsiteY3" fmla="*/ 9089 h 15913"/>
              <a:gd name="connsiteX4" fmla="*/ 353 w 19203"/>
              <a:gd name="connsiteY4" fmla="*/ 13412 h 15913"/>
              <a:gd name="connsiteX5" fmla="*/ 1146 w 19203"/>
              <a:gd name="connsiteY5" fmla="*/ 15835 h 15913"/>
              <a:gd name="connsiteX6" fmla="*/ 5793 w 19203"/>
              <a:gd name="connsiteY6" fmla="*/ 15873 h 15913"/>
              <a:gd name="connsiteX7" fmla="*/ 8678 w 19203"/>
              <a:gd name="connsiteY7" fmla="*/ 15903 h 15913"/>
              <a:gd name="connsiteX8" fmla="*/ 11000 w 19203"/>
              <a:gd name="connsiteY8" fmla="*/ 15895 h 15913"/>
              <a:gd name="connsiteX9" fmla="*/ 13786 w 19203"/>
              <a:gd name="connsiteY9" fmla="*/ 15872 h 15913"/>
              <a:gd name="connsiteX10" fmla="*/ 15633 w 19203"/>
              <a:gd name="connsiteY10" fmla="*/ 15840 h 15913"/>
              <a:gd name="connsiteX11" fmla="*/ 19154 w 19203"/>
              <a:gd name="connsiteY11" fmla="*/ 15913 h 15913"/>
              <a:gd name="connsiteX12" fmla="*/ 19180 w 19203"/>
              <a:gd name="connsiteY12" fmla="*/ 12271 h 15913"/>
              <a:gd name="connsiteX13" fmla="*/ 19195 w 19203"/>
              <a:gd name="connsiteY13" fmla="*/ 9129 h 15913"/>
              <a:gd name="connsiteX14" fmla="*/ 19161 w 19203"/>
              <a:gd name="connsiteY14" fmla="*/ 3610 h 15913"/>
              <a:gd name="connsiteX15" fmla="*/ 15199 w 19203"/>
              <a:gd name="connsiteY15" fmla="*/ 859 h 15913"/>
              <a:gd name="connsiteX16" fmla="*/ 11465 w 19203"/>
              <a:gd name="connsiteY16" fmla="*/ 23 h 15913"/>
              <a:gd name="connsiteX0" fmla="*/ 11465 w 19203"/>
              <a:gd name="connsiteY0" fmla="*/ 23 h 15913"/>
              <a:gd name="connsiteX1" fmla="*/ 5703 w 19203"/>
              <a:gd name="connsiteY1" fmla="*/ 1085 h 15913"/>
              <a:gd name="connsiteX2" fmla="*/ 1220 w 19203"/>
              <a:gd name="connsiteY2" fmla="*/ 5155 h 15913"/>
              <a:gd name="connsiteX3" fmla="*/ 36 w 19203"/>
              <a:gd name="connsiteY3" fmla="*/ 9089 h 15913"/>
              <a:gd name="connsiteX4" fmla="*/ 353 w 19203"/>
              <a:gd name="connsiteY4" fmla="*/ 13412 h 15913"/>
              <a:gd name="connsiteX5" fmla="*/ 1146 w 19203"/>
              <a:gd name="connsiteY5" fmla="*/ 15835 h 15913"/>
              <a:gd name="connsiteX6" fmla="*/ 5793 w 19203"/>
              <a:gd name="connsiteY6" fmla="*/ 15873 h 15913"/>
              <a:gd name="connsiteX7" fmla="*/ 8678 w 19203"/>
              <a:gd name="connsiteY7" fmla="*/ 15744 h 15913"/>
              <a:gd name="connsiteX8" fmla="*/ 11000 w 19203"/>
              <a:gd name="connsiteY8" fmla="*/ 15895 h 15913"/>
              <a:gd name="connsiteX9" fmla="*/ 13786 w 19203"/>
              <a:gd name="connsiteY9" fmla="*/ 15872 h 15913"/>
              <a:gd name="connsiteX10" fmla="*/ 15633 w 19203"/>
              <a:gd name="connsiteY10" fmla="*/ 15840 h 15913"/>
              <a:gd name="connsiteX11" fmla="*/ 19154 w 19203"/>
              <a:gd name="connsiteY11" fmla="*/ 15913 h 15913"/>
              <a:gd name="connsiteX12" fmla="*/ 19180 w 19203"/>
              <a:gd name="connsiteY12" fmla="*/ 12271 h 15913"/>
              <a:gd name="connsiteX13" fmla="*/ 19195 w 19203"/>
              <a:gd name="connsiteY13" fmla="*/ 9129 h 15913"/>
              <a:gd name="connsiteX14" fmla="*/ 19161 w 19203"/>
              <a:gd name="connsiteY14" fmla="*/ 3610 h 15913"/>
              <a:gd name="connsiteX15" fmla="*/ 15199 w 19203"/>
              <a:gd name="connsiteY15" fmla="*/ 859 h 15913"/>
              <a:gd name="connsiteX16" fmla="*/ 11465 w 19203"/>
              <a:gd name="connsiteY16" fmla="*/ 23 h 15913"/>
              <a:gd name="connsiteX0" fmla="*/ 11465 w 19203"/>
              <a:gd name="connsiteY0" fmla="*/ 23 h 15913"/>
              <a:gd name="connsiteX1" fmla="*/ 5703 w 19203"/>
              <a:gd name="connsiteY1" fmla="*/ 1085 h 15913"/>
              <a:gd name="connsiteX2" fmla="*/ 1220 w 19203"/>
              <a:gd name="connsiteY2" fmla="*/ 5155 h 15913"/>
              <a:gd name="connsiteX3" fmla="*/ 36 w 19203"/>
              <a:gd name="connsiteY3" fmla="*/ 9089 h 15913"/>
              <a:gd name="connsiteX4" fmla="*/ 353 w 19203"/>
              <a:gd name="connsiteY4" fmla="*/ 13412 h 15913"/>
              <a:gd name="connsiteX5" fmla="*/ 1146 w 19203"/>
              <a:gd name="connsiteY5" fmla="*/ 15835 h 15913"/>
              <a:gd name="connsiteX6" fmla="*/ 5793 w 19203"/>
              <a:gd name="connsiteY6" fmla="*/ 15873 h 15913"/>
              <a:gd name="connsiteX7" fmla="*/ 8678 w 19203"/>
              <a:gd name="connsiteY7" fmla="*/ 15877 h 15913"/>
              <a:gd name="connsiteX8" fmla="*/ 11000 w 19203"/>
              <a:gd name="connsiteY8" fmla="*/ 15895 h 15913"/>
              <a:gd name="connsiteX9" fmla="*/ 13786 w 19203"/>
              <a:gd name="connsiteY9" fmla="*/ 15872 h 15913"/>
              <a:gd name="connsiteX10" fmla="*/ 15633 w 19203"/>
              <a:gd name="connsiteY10" fmla="*/ 15840 h 15913"/>
              <a:gd name="connsiteX11" fmla="*/ 19154 w 19203"/>
              <a:gd name="connsiteY11" fmla="*/ 15913 h 15913"/>
              <a:gd name="connsiteX12" fmla="*/ 19180 w 19203"/>
              <a:gd name="connsiteY12" fmla="*/ 12271 h 15913"/>
              <a:gd name="connsiteX13" fmla="*/ 19195 w 19203"/>
              <a:gd name="connsiteY13" fmla="*/ 9129 h 15913"/>
              <a:gd name="connsiteX14" fmla="*/ 19161 w 19203"/>
              <a:gd name="connsiteY14" fmla="*/ 3610 h 15913"/>
              <a:gd name="connsiteX15" fmla="*/ 15199 w 19203"/>
              <a:gd name="connsiteY15" fmla="*/ 859 h 15913"/>
              <a:gd name="connsiteX16" fmla="*/ 11465 w 19203"/>
              <a:gd name="connsiteY16" fmla="*/ 23 h 15913"/>
              <a:gd name="connsiteX0" fmla="*/ 11465 w 19198"/>
              <a:gd name="connsiteY0" fmla="*/ 23 h 15913"/>
              <a:gd name="connsiteX1" fmla="*/ 5703 w 19198"/>
              <a:gd name="connsiteY1" fmla="*/ 1085 h 15913"/>
              <a:gd name="connsiteX2" fmla="*/ 1220 w 19198"/>
              <a:gd name="connsiteY2" fmla="*/ 5155 h 15913"/>
              <a:gd name="connsiteX3" fmla="*/ 36 w 19198"/>
              <a:gd name="connsiteY3" fmla="*/ 9089 h 15913"/>
              <a:gd name="connsiteX4" fmla="*/ 353 w 19198"/>
              <a:gd name="connsiteY4" fmla="*/ 13412 h 15913"/>
              <a:gd name="connsiteX5" fmla="*/ 1146 w 19198"/>
              <a:gd name="connsiteY5" fmla="*/ 15835 h 15913"/>
              <a:gd name="connsiteX6" fmla="*/ 5793 w 19198"/>
              <a:gd name="connsiteY6" fmla="*/ 15873 h 15913"/>
              <a:gd name="connsiteX7" fmla="*/ 8678 w 19198"/>
              <a:gd name="connsiteY7" fmla="*/ 15877 h 15913"/>
              <a:gd name="connsiteX8" fmla="*/ 11000 w 19198"/>
              <a:gd name="connsiteY8" fmla="*/ 15895 h 15913"/>
              <a:gd name="connsiteX9" fmla="*/ 13786 w 19198"/>
              <a:gd name="connsiteY9" fmla="*/ 15872 h 15913"/>
              <a:gd name="connsiteX10" fmla="*/ 15633 w 19198"/>
              <a:gd name="connsiteY10" fmla="*/ 15840 h 15913"/>
              <a:gd name="connsiteX11" fmla="*/ 19154 w 19198"/>
              <a:gd name="connsiteY11" fmla="*/ 15913 h 15913"/>
              <a:gd name="connsiteX12" fmla="*/ 19180 w 19198"/>
              <a:gd name="connsiteY12" fmla="*/ 12271 h 15913"/>
              <a:gd name="connsiteX13" fmla="*/ 18943 w 19198"/>
              <a:gd name="connsiteY13" fmla="*/ 9182 h 15913"/>
              <a:gd name="connsiteX14" fmla="*/ 19161 w 19198"/>
              <a:gd name="connsiteY14" fmla="*/ 3610 h 15913"/>
              <a:gd name="connsiteX15" fmla="*/ 15199 w 19198"/>
              <a:gd name="connsiteY15" fmla="*/ 859 h 15913"/>
              <a:gd name="connsiteX16" fmla="*/ 11465 w 19198"/>
              <a:gd name="connsiteY16" fmla="*/ 23 h 15913"/>
              <a:gd name="connsiteX0" fmla="*/ 11465 w 19190"/>
              <a:gd name="connsiteY0" fmla="*/ 23 h 15913"/>
              <a:gd name="connsiteX1" fmla="*/ 5703 w 19190"/>
              <a:gd name="connsiteY1" fmla="*/ 1085 h 15913"/>
              <a:gd name="connsiteX2" fmla="*/ 1220 w 19190"/>
              <a:gd name="connsiteY2" fmla="*/ 5155 h 15913"/>
              <a:gd name="connsiteX3" fmla="*/ 36 w 19190"/>
              <a:gd name="connsiteY3" fmla="*/ 9089 h 15913"/>
              <a:gd name="connsiteX4" fmla="*/ 353 w 19190"/>
              <a:gd name="connsiteY4" fmla="*/ 13412 h 15913"/>
              <a:gd name="connsiteX5" fmla="*/ 1146 w 19190"/>
              <a:gd name="connsiteY5" fmla="*/ 15835 h 15913"/>
              <a:gd name="connsiteX6" fmla="*/ 5793 w 19190"/>
              <a:gd name="connsiteY6" fmla="*/ 15873 h 15913"/>
              <a:gd name="connsiteX7" fmla="*/ 8678 w 19190"/>
              <a:gd name="connsiteY7" fmla="*/ 15877 h 15913"/>
              <a:gd name="connsiteX8" fmla="*/ 11000 w 19190"/>
              <a:gd name="connsiteY8" fmla="*/ 15895 h 15913"/>
              <a:gd name="connsiteX9" fmla="*/ 13786 w 19190"/>
              <a:gd name="connsiteY9" fmla="*/ 15872 h 15913"/>
              <a:gd name="connsiteX10" fmla="*/ 15633 w 19190"/>
              <a:gd name="connsiteY10" fmla="*/ 15840 h 15913"/>
              <a:gd name="connsiteX11" fmla="*/ 19154 w 19190"/>
              <a:gd name="connsiteY11" fmla="*/ 15913 h 15913"/>
              <a:gd name="connsiteX12" fmla="*/ 19180 w 19190"/>
              <a:gd name="connsiteY12" fmla="*/ 12271 h 15913"/>
              <a:gd name="connsiteX13" fmla="*/ 19172 w 19190"/>
              <a:gd name="connsiteY13" fmla="*/ 9209 h 15913"/>
              <a:gd name="connsiteX14" fmla="*/ 19161 w 19190"/>
              <a:gd name="connsiteY14" fmla="*/ 3610 h 15913"/>
              <a:gd name="connsiteX15" fmla="*/ 15199 w 19190"/>
              <a:gd name="connsiteY15" fmla="*/ 859 h 15913"/>
              <a:gd name="connsiteX16" fmla="*/ 11465 w 19190"/>
              <a:gd name="connsiteY16" fmla="*/ 23 h 15913"/>
              <a:gd name="connsiteX0" fmla="*/ 11465 w 19190"/>
              <a:gd name="connsiteY0" fmla="*/ 23 h 15905"/>
              <a:gd name="connsiteX1" fmla="*/ 5703 w 19190"/>
              <a:gd name="connsiteY1" fmla="*/ 1085 h 15905"/>
              <a:gd name="connsiteX2" fmla="*/ 1220 w 19190"/>
              <a:gd name="connsiteY2" fmla="*/ 5155 h 15905"/>
              <a:gd name="connsiteX3" fmla="*/ 36 w 19190"/>
              <a:gd name="connsiteY3" fmla="*/ 9089 h 15905"/>
              <a:gd name="connsiteX4" fmla="*/ 353 w 19190"/>
              <a:gd name="connsiteY4" fmla="*/ 13412 h 15905"/>
              <a:gd name="connsiteX5" fmla="*/ 1146 w 19190"/>
              <a:gd name="connsiteY5" fmla="*/ 15835 h 15905"/>
              <a:gd name="connsiteX6" fmla="*/ 5793 w 19190"/>
              <a:gd name="connsiteY6" fmla="*/ 15873 h 15905"/>
              <a:gd name="connsiteX7" fmla="*/ 8678 w 19190"/>
              <a:gd name="connsiteY7" fmla="*/ 15877 h 15905"/>
              <a:gd name="connsiteX8" fmla="*/ 11000 w 19190"/>
              <a:gd name="connsiteY8" fmla="*/ 15895 h 15905"/>
              <a:gd name="connsiteX9" fmla="*/ 13786 w 19190"/>
              <a:gd name="connsiteY9" fmla="*/ 15872 h 15905"/>
              <a:gd name="connsiteX10" fmla="*/ 15633 w 19190"/>
              <a:gd name="connsiteY10" fmla="*/ 15840 h 15905"/>
              <a:gd name="connsiteX11" fmla="*/ 19154 w 19190"/>
              <a:gd name="connsiteY11" fmla="*/ 15860 h 15905"/>
              <a:gd name="connsiteX12" fmla="*/ 19180 w 19190"/>
              <a:gd name="connsiteY12" fmla="*/ 12271 h 15905"/>
              <a:gd name="connsiteX13" fmla="*/ 19172 w 19190"/>
              <a:gd name="connsiteY13" fmla="*/ 9209 h 15905"/>
              <a:gd name="connsiteX14" fmla="*/ 19161 w 19190"/>
              <a:gd name="connsiteY14" fmla="*/ 3610 h 15905"/>
              <a:gd name="connsiteX15" fmla="*/ 15199 w 19190"/>
              <a:gd name="connsiteY15" fmla="*/ 859 h 15905"/>
              <a:gd name="connsiteX16" fmla="*/ 11465 w 19190"/>
              <a:gd name="connsiteY16" fmla="*/ 23 h 15905"/>
              <a:gd name="connsiteX0" fmla="*/ 11480 w 19205"/>
              <a:gd name="connsiteY0" fmla="*/ 23 h 15905"/>
              <a:gd name="connsiteX1" fmla="*/ 5718 w 19205"/>
              <a:gd name="connsiteY1" fmla="*/ 1085 h 15905"/>
              <a:gd name="connsiteX2" fmla="*/ 1235 w 19205"/>
              <a:gd name="connsiteY2" fmla="*/ 5155 h 15905"/>
              <a:gd name="connsiteX3" fmla="*/ 51 w 19205"/>
              <a:gd name="connsiteY3" fmla="*/ 9089 h 15905"/>
              <a:gd name="connsiteX4" fmla="*/ 368 w 19205"/>
              <a:gd name="connsiteY4" fmla="*/ 13412 h 15905"/>
              <a:gd name="connsiteX5" fmla="*/ 1161 w 19205"/>
              <a:gd name="connsiteY5" fmla="*/ 15835 h 15905"/>
              <a:gd name="connsiteX6" fmla="*/ 5808 w 19205"/>
              <a:gd name="connsiteY6" fmla="*/ 15873 h 15905"/>
              <a:gd name="connsiteX7" fmla="*/ 8693 w 19205"/>
              <a:gd name="connsiteY7" fmla="*/ 15877 h 15905"/>
              <a:gd name="connsiteX8" fmla="*/ 11015 w 19205"/>
              <a:gd name="connsiteY8" fmla="*/ 15895 h 15905"/>
              <a:gd name="connsiteX9" fmla="*/ 13801 w 19205"/>
              <a:gd name="connsiteY9" fmla="*/ 15872 h 15905"/>
              <a:gd name="connsiteX10" fmla="*/ 15648 w 19205"/>
              <a:gd name="connsiteY10" fmla="*/ 15840 h 15905"/>
              <a:gd name="connsiteX11" fmla="*/ 19169 w 19205"/>
              <a:gd name="connsiteY11" fmla="*/ 15860 h 15905"/>
              <a:gd name="connsiteX12" fmla="*/ 19195 w 19205"/>
              <a:gd name="connsiteY12" fmla="*/ 12271 h 15905"/>
              <a:gd name="connsiteX13" fmla="*/ 19187 w 19205"/>
              <a:gd name="connsiteY13" fmla="*/ 9209 h 15905"/>
              <a:gd name="connsiteX14" fmla="*/ 19176 w 19205"/>
              <a:gd name="connsiteY14" fmla="*/ 3610 h 15905"/>
              <a:gd name="connsiteX15" fmla="*/ 15214 w 19205"/>
              <a:gd name="connsiteY15" fmla="*/ 859 h 15905"/>
              <a:gd name="connsiteX16" fmla="*/ 11480 w 19205"/>
              <a:gd name="connsiteY16" fmla="*/ 23 h 15905"/>
              <a:gd name="connsiteX0" fmla="*/ 11474 w 19199"/>
              <a:gd name="connsiteY0" fmla="*/ 23 h 15913"/>
              <a:gd name="connsiteX1" fmla="*/ 5712 w 19199"/>
              <a:gd name="connsiteY1" fmla="*/ 1085 h 15913"/>
              <a:gd name="connsiteX2" fmla="*/ 1229 w 19199"/>
              <a:gd name="connsiteY2" fmla="*/ 5155 h 15913"/>
              <a:gd name="connsiteX3" fmla="*/ 45 w 19199"/>
              <a:gd name="connsiteY3" fmla="*/ 9089 h 15913"/>
              <a:gd name="connsiteX4" fmla="*/ 362 w 19199"/>
              <a:gd name="connsiteY4" fmla="*/ 13412 h 15913"/>
              <a:gd name="connsiteX5" fmla="*/ 1703 w 19199"/>
              <a:gd name="connsiteY5" fmla="*/ 15888 h 15913"/>
              <a:gd name="connsiteX6" fmla="*/ 5802 w 19199"/>
              <a:gd name="connsiteY6" fmla="*/ 15873 h 15913"/>
              <a:gd name="connsiteX7" fmla="*/ 8687 w 19199"/>
              <a:gd name="connsiteY7" fmla="*/ 15877 h 15913"/>
              <a:gd name="connsiteX8" fmla="*/ 11009 w 19199"/>
              <a:gd name="connsiteY8" fmla="*/ 15895 h 15913"/>
              <a:gd name="connsiteX9" fmla="*/ 13795 w 19199"/>
              <a:gd name="connsiteY9" fmla="*/ 15872 h 15913"/>
              <a:gd name="connsiteX10" fmla="*/ 15642 w 19199"/>
              <a:gd name="connsiteY10" fmla="*/ 15840 h 15913"/>
              <a:gd name="connsiteX11" fmla="*/ 19163 w 19199"/>
              <a:gd name="connsiteY11" fmla="*/ 15860 h 15913"/>
              <a:gd name="connsiteX12" fmla="*/ 19189 w 19199"/>
              <a:gd name="connsiteY12" fmla="*/ 12271 h 15913"/>
              <a:gd name="connsiteX13" fmla="*/ 19181 w 19199"/>
              <a:gd name="connsiteY13" fmla="*/ 9209 h 15913"/>
              <a:gd name="connsiteX14" fmla="*/ 19170 w 19199"/>
              <a:gd name="connsiteY14" fmla="*/ 3610 h 15913"/>
              <a:gd name="connsiteX15" fmla="*/ 15208 w 19199"/>
              <a:gd name="connsiteY15" fmla="*/ 859 h 15913"/>
              <a:gd name="connsiteX16" fmla="*/ 11474 w 19199"/>
              <a:gd name="connsiteY16" fmla="*/ 23 h 15913"/>
              <a:gd name="connsiteX0" fmla="*/ 11474 w 19199"/>
              <a:gd name="connsiteY0" fmla="*/ 23 h 15905"/>
              <a:gd name="connsiteX1" fmla="*/ 5712 w 19199"/>
              <a:gd name="connsiteY1" fmla="*/ 1085 h 15905"/>
              <a:gd name="connsiteX2" fmla="*/ 1229 w 19199"/>
              <a:gd name="connsiteY2" fmla="*/ 5155 h 15905"/>
              <a:gd name="connsiteX3" fmla="*/ 45 w 19199"/>
              <a:gd name="connsiteY3" fmla="*/ 9089 h 15905"/>
              <a:gd name="connsiteX4" fmla="*/ 362 w 19199"/>
              <a:gd name="connsiteY4" fmla="*/ 13412 h 15905"/>
              <a:gd name="connsiteX5" fmla="*/ 1703 w 19199"/>
              <a:gd name="connsiteY5" fmla="*/ 15888 h 15905"/>
              <a:gd name="connsiteX6" fmla="*/ 5802 w 19199"/>
              <a:gd name="connsiteY6" fmla="*/ 15873 h 15905"/>
              <a:gd name="connsiteX7" fmla="*/ 8687 w 19199"/>
              <a:gd name="connsiteY7" fmla="*/ 15877 h 15905"/>
              <a:gd name="connsiteX8" fmla="*/ 11009 w 19199"/>
              <a:gd name="connsiteY8" fmla="*/ 15895 h 15905"/>
              <a:gd name="connsiteX9" fmla="*/ 13795 w 19199"/>
              <a:gd name="connsiteY9" fmla="*/ 15872 h 15905"/>
              <a:gd name="connsiteX10" fmla="*/ 15642 w 19199"/>
              <a:gd name="connsiteY10" fmla="*/ 15840 h 15905"/>
              <a:gd name="connsiteX11" fmla="*/ 19163 w 19199"/>
              <a:gd name="connsiteY11" fmla="*/ 15860 h 15905"/>
              <a:gd name="connsiteX12" fmla="*/ 19189 w 19199"/>
              <a:gd name="connsiteY12" fmla="*/ 12271 h 15905"/>
              <a:gd name="connsiteX13" fmla="*/ 19181 w 19199"/>
              <a:gd name="connsiteY13" fmla="*/ 9209 h 15905"/>
              <a:gd name="connsiteX14" fmla="*/ 19170 w 19199"/>
              <a:gd name="connsiteY14" fmla="*/ 3610 h 15905"/>
              <a:gd name="connsiteX15" fmla="*/ 15208 w 19199"/>
              <a:gd name="connsiteY15" fmla="*/ 859 h 15905"/>
              <a:gd name="connsiteX16" fmla="*/ 11474 w 19199"/>
              <a:gd name="connsiteY16" fmla="*/ 23 h 15905"/>
              <a:gd name="connsiteX0" fmla="*/ 11474 w 19199"/>
              <a:gd name="connsiteY0" fmla="*/ 23 h 15905"/>
              <a:gd name="connsiteX1" fmla="*/ 5712 w 19199"/>
              <a:gd name="connsiteY1" fmla="*/ 1085 h 15905"/>
              <a:gd name="connsiteX2" fmla="*/ 1229 w 19199"/>
              <a:gd name="connsiteY2" fmla="*/ 5155 h 15905"/>
              <a:gd name="connsiteX3" fmla="*/ 45 w 19199"/>
              <a:gd name="connsiteY3" fmla="*/ 9089 h 15905"/>
              <a:gd name="connsiteX4" fmla="*/ 362 w 19199"/>
              <a:gd name="connsiteY4" fmla="*/ 13412 h 15905"/>
              <a:gd name="connsiteX5" fmla="*/ 1703 w 19199"/>
              <a:gd name="connsiteY5" fmla="*/ 15888 h 15905"/>
              <a:gd name="connsiteX6" fmla="*/ 5802 w 19199"/>
              <a:gd name="connsiteY6" fmla="*/ 15873 h 15905"/>
              <a:gd name="connsiteX7" fmla="*/ 8687 w 19199"/>
              <a:gd name="connsiteY7" fmla="*/ 15877 h 15905"/>
              <a:gd name="connsiteX8" fmla="*/ 11009 w 19199"/>
              <a:gd name="connsiteY8" fmla="*/ 15895 h 15905"/>
              <a:gd name="connsiteX9" fmla="*/ 13795 w 19199"/>
              <a:gd name="connsiteY9" fmla="*/ 15872 h 15905"/>
              <a:gd name="connsiteX10" fmla="*/ 15642 w 19199"/>
              <a:gd name="connsiteY10" fmla="*/ 15840 h 15905"/>
              <a:gd name="connsiteX11" fmla="*/ 19163 w 19199"/>
              <a:gd name="connsiteY11" fmla="*/ 15860 h 15905"/>
              <a:gd name="connsiteX12" fmla="*/ 19189 w 19199"/>
              <a:gd name="connsiteY12" fmla="*/ 12271 h 15905"/>
              <a:gd name="connsiteX13" fmla="*/ 19181 w 19199"/>
              <a:gd name="connsiteY13" fmla="*/ 9209 h 15905"/>
              <a:gd name="connsiteX14" fmla="*/ 19170 w 19199"/>
              <a:gd name="connsiteY14" fmla="*/ 3610 h 15905"/>
              <a:gd name="connsiteX15" fmla="*/ 15208 w 19199"/>
              <a:gd name="connsiteY15" fmla="*/ 859 h 15905"/>
              <a:gd name="connsiteX16" fmla="*/ 11474 w 19199"/>
              <a:gd name="connsiteY16" fmla="*/ 23 h 15905"/>
              <a:gd name="connsiteX0" fmla="*/ 11464 w 19189"/>
              <a:gd name="connsiteY0" fmla="*/ 23 h 15905"/>
              <a:gd name="connsiteX1" fmla="*/ 5702 w 19189"/>
              <a:gd name="connsiteY1" fmla="*/ 1085 h 15905"/>
              <a:gd name="connsiteX2" fmla="*/ 1219 w 19189"/>
              <a:gd name="connsiteY2" fmla="*/ 5155 h 15905"/>
              <a:gd name="connsiteX3" fmla="*/ 35 w 19189"/>
              <a:gd name="connsiteY3" fmla="*/ 9089 h 15905"/>
              <a:gd name="connsiteX4" fmla="*/ 352 w 19189"/>
              <a:gd name="connsiteY4" fmla="*/ 13412 h 15905"/>
              <a:gd name="connsiteX5" fmla="*/ 1099 w 19189"/>
              <a:gd name="connsiteY5" fmla="*/ 15861 h 15905"/>
              <a:gd name="connsiteX6" fmla="*/ 5792 w 19189"/>
              <a:gd name="connsiteY6" fmla="*/ 15873 h 15905"/>
              <a:gd name="connsiteX7" fmla="*/ 8677 w 19189"/>
              <a:gd name="connsiteY7" fmla="*/ 15877 h 15905"/>
              <a:gd name="connsiteX8" fmla="*/ 10999 w 19189"/>
              <a:gd name="connsiteY8" fmla="*/ 15895 h 15905"/>
              <a:gd name="connsiteX9" fmla="*/ 13785 w 19189"/>
              <a:gd name="connsiteY9" fmla="*/ 15872 h 15905"/>
              <a:gd name="connsiteX10" fmla="*/ 15632 w 19189"/>
              <a:gd name="connsiteY10" fmla="*/ 15840 h 15905"/>
              <a:gd name="connsiteX11" fmla="*/ 19153 w 19189"/>
              <a:gd name="connsiteY11" fmla="*/ 15860 h 15905"/>
              <a:gd name="connsiteX12" fmla="*/ 19179 w 19189"/>
              <a:gd name="connsiteY12" fmla="*/ 12271 h 15905"/>
              <a:gd name="connsiteX13" fmla="*/ 19171 w 19189"/>
              <a:gd name="connsiteY13" fmla="*/ 9209 h 15905"/>
              <a:gd name="connsiteX14" fmla="*/ 19160 w 19189"/>
              <a:gd name="connsiteY14" fmla="*/ 3610 h 15905"/>
              <a:gd name="connsiteX15" fmla="*/ 15198 w 19189"/>
              <a:gd name="connsiteY15" fmla="*/ 859 h 15905"/>
              <a:gd name="connsiteX16" fmla="*/ 11464 w 19189"/>
              <a:gd name="connsiteY16" fmla="*/ 23 h 15905"/>
              <a:gd name="connsiteX0" fmla="*/ 11472 w 19197"/>
              <a:gd name="connsiteY0" fmla="*/ 23 h 15905"/>
              <a:gd name="connsiteX1" fmla="*/ 5710 w 19197"/>
              <a:gd name="connsiteY1" fmla="*/ 1085 h 15905"/>
              <a:gd name="connsiteX2" fmla="*/ 1227 w 19197"/>
              <a:gd name="connsiteY2" fmla="*/ 5155 h 15905"/>
              <a:gd name="connsiteX3" fmla="*/ 43 w 19197"/>
              <a:gd name="connsiteY3" fmla="*/ 9089 h 15905"/>
              <a:gd name="connsiteX4" fmla="*/ 360 w 19197"/>
              <a:gd name="connsiteY4" fmla="*/ 13412 h 15905"/>
              <a:gd name="connsiteX5" fmla="*/ 1107 w 19197"/>
              <a:gd name="connsiteY5" fmla="*/ 15861 h 15905"/>
              <a:gd name="connsiteX6" fmla="*/ 5800 w 19197"/>
              <a:gd name="connsiteY6" fmla="*/ 15873 h 15905"/>
              <a:gd name="connsiteX7" fmla="*/ 8685 w 19197"/>
              <a:gd name="connsiteY7" fmla="*/ 15877 h 15905"/>
              <a:gd name="connsiteX8" fmla="*/ 11007 w 19197"/>
              <a:gd name="connsiteY8" fmla="*/ 15895 h 15905"/>
              <a:gd name="connsiteX9" fmla="*/ 13793 w 19197"/>
              <a:gd name="connsiteY9" fmla="*/ 15872 h 15905"/>
              <a:gd name="connsiteX10" fmla="*/ 15640 w 19197"/>
              <a:gd name="connsiteY10" fmla="*/ 15840 h 15905"/>
              <a:gd name="connsiteX11" fmla="*/ 19161 w 19197"/>
              <a:gd name="connsiteY11" fmla="*/ 15860 h 15905"/>
              <a:gd name="connsiteX12" fmla="*/ 19187 w 19197"/>
              <a:gd name="connsiteY12" fmla="*/ 12271 h 15905"/>
              <a:gd name="connsiteX13" fmla="*/ 19179 w 19197"/>
              <a:gd name="connsiteY13" fmla="*/ 9209 h 15905"/>
              <a:gd name="connsiteX14" fmla="*/ 19168 w 19197"/>
              <a:gd name="connsiteY14" fmla="*/ 3610 h 15905"/>
              <a:gd name="connsiteX15" fmla="*/ 15206 w 19197"/>
              <a:gd name="connsiteY15" fmla="*/ 859 h 15905"/>
              <a:gd name="connsiteX16" fmla="*/ 11472 w 19197"/>
              <a:gd name="connsiteY16" fmla="*/ 23 h 15905"/>
              <a:gd name="connsiteX0" fmla="*/ 11472 w 19193"/>
              <a:gd name="connsiteY0" fmla="*/ 23 h 15905"/>
              <a:gd name="connsiteX1" fmla="*/ 5710 w 19193"/>
              <a:gd name="connsiteY1" fmla="*/ 1085 h 15905"/>
              <a:gd name="connsiteX2" fmla="*/ 1227 w 19193"/>
              <a:gd name="connsiteY2" fmla="*/ 5155 h 15905"/>
              <a:gd name="connsiteX3" fmla="*/ 43 w 19193"/>
              <a:gd name="connsiteY3" fmla="*/ 9089 h 15905"/>
              <a:gd name="connsiteX4" fmla="*/ 360 w 19193"/>
              <a:gd name="connsiteY4" fmla="*/ 13412 h 15905"/>
              <a:gd name="connsiteX5" fmla="*/ 1107 w 19193"/>
              <a:gd name="connsiteY5" fmla="*/ 15861 h 15905"/>
              <a:gd name="connsiteX6" fmla="*/ 5800 w 19193"/>
              <a:gd name="connsiteY6" fmla="*/ 15873 h 15905"/>
              <a:gd name="connsiteX7" fmla="*/ 8685 w 19193"/>
              <a:gd name="connsiteY7" fmla="*/ 15877 h 15905"/>
              <a:gd name="connsiteX8" fmla="*/ 11007 w 19193"/>
              <a:gd name="connsiteY8" fmla="*/ 15895 h 15905"/>
              <a:gd name="connsiteX9" fmla="*/ 13793 w 19193"/>
              <a:gd name="connsiteY9" fmla="*/ 15872 h 15905"/>
              <a:gd name="connsiteX10" fmla="*/ 15640 w 19193"/>
              <a:gd name="connsiteY10" fmla="*/ 15840 h 15905"/>
              <a:gd name="connsiteX11" fmla="*/ 19161 w 19193"/>
              <a:gd name="connsiteY11" fmla="*/ 15860 h 15905"/>
              <a:gd name="connsiteX12" fmla="*/ 19187 w 19193"/>
              <a:gd name="connsiteY12" fmla="*/ 12271 h 15905"/>
              <a:gd name="connsiteX13" fmla="*/ 19179 w 19193"/>
              <a:gd name="connsiteY13" fmla="*/ 9209 h 15905"/>
              <a:gd name="connsiteX14" fmla="*/ 19168 w 19193"/>
              <a:gd name="connsiteY14" fmla="*/ 3610 h 15905"/>
              <a:gd name="connsiteX15" fmla="*/ 15206 w 19193"/>
              <a:gd name="connsiteY15" fmla="*/ 859 h 15905"/>
              <a:gd name="connsiteX16" fmla="*/ 11472 w 19193"/>
              <a:gd name="connsiteY16" fmla="*/ 23 h 15905"/>
              <a:gd name="connsiteX0" fmla="*/ 11472 w 19193"/>
              <a:gd name="connsiteY0" fmla="*/ 23 h 15905"/>
              <a:gd name="connsiteX1" fmla="*/ 5710 w 19193"/>
              <a:gd name="connsiteY1" fmla="*/ 1085 h 15905"/>
              <a:gd name="connsiteX2" fmla="*/ 1227 w 19193"/>
              <a:gd name="connsiteY2" fmla="*/ 5155 h 15905"/>
              <a:gd name="connsiteX3" fmla="*/ 43 w 19193"/>
              <a:gd name="connsiteY3" fmla="*/ 9089 h 15905"/>
              <a:gd name="connsiteX4" fmla="*/ 360 w 19193"/>
              <a:gd name="connsiteY4" fmla="*/ 13412 h 15905"/>
              <a:gd name="connsiteX5" fmla="*/ 1107 w 19193"/>
              <a:gd name="connsiteY5" fmla="*/ 15861 h 15905"/>
              <a:gd name="connsiteX6" fmla="*/ 5800 w 19193"/>
              <a:gd name="connsiteY6" fmla="*/ 15873 h 15905"/>
              <a:gd name="connsiteX7" fmla="*/ 8685 w 19193"/>
              <a:gd name="connsiteY7" fmla="*/ 15877 h 15905"/>
              <a:gd name="connsiteX8" fmla="*/ 11007 w 19193"/>
              <a:gd name="connsiteY8" fmla="*/ 15895 h 15905"/>
              <a:gd name="connsiteX9" fmla="*/ 13793 w 19193"/>
              <a:gd name="connsiteY9" fmla="*/ 15872 h 15905"/>
              <a:gd name="connsiteX10" fmla="*/ 15640 w 19193"/>
              <a:gd name="connsiteY10" fmla="*/ 15840 h 15905"/>
              <a:gd name="connsiteX11" fmla="*/ 19161 w 19193"/>
              <a:gd name="connsiteY11" fmla="*/ 15860 h 15905"/>
              <a:gd name="connsiteX12" fmla="*/ 19187 w 19193"/>
              <a:gd name="connsiteY12" fmla="*/ 12271 h 15905"/>
              <a:gd name="connsiteX13" fmla="*/ 19179 w 19193"/>
              <a:gd name="connsiteY13" fmla="*/ 9209 h 15905"/>
              <a:gd name="connsiteX14" fmla="*/ 19168 w 19193"/>
              <a:gd name="connsiteY14" fmla="*/ 3610 h 15905"/>
              <a:gd name="connsiteX15" fmla="*/ 15206 w 19193"/>
              <a:gd name="connsiteY15" fmla="*/ 859 h 15905"/>
              <a:gd name="connsiteX16" fmla="*/ 11472 w 19193"/>
              <a:gd name="connsiteY16" fmla="*/ 23 h 15905"/>
              <a:gd name="connsiteX0" fmla="*/ 11472 w 19467"/>
              <a:gd name="connsiteY0" fmla="*/ 23 h 15905"/>
              <a:gd name="connsiteX1" fmla="*/ 5710 w 19467"/>
              <a:gd name="connsiteY1" fmla="*/ 1085 h 15905"/>
              <a:gd name="connsiteX2" fmla="*/ 1227 w 19467"/>
              <a:gd name="connsiteY2" fmla="*/ 5155 h 15905"/>
              <a:gd name="connsiteX3" fmla="*/ 43 w 19467"/>
              <a:gd name="connsiteY3" fmla="*/ 9089 h 15905"/>
              <a:gd name="connsiteX4" fmla="*/ 360 w 19467"/>
              <a:gd name="connsiteY4" fmla="*/ 13412 h 15905"/>
              <a:gd name="connsiteX5" fmla="*/ 1107 w 19467"/>
              <a:gd name="connsiteY5" fmla="*/ 15861 h 15905"/>
              <a:gd name="connsiteX6" fmla="*/ 5800 w 19467"/>
              <a:gd name="connsiteY6" fmla="*/ 15873 h 15905"/>
              <a:gd name="connsiteX7" fmla="*/ 8685 w 19467"/>
              <a:gd name="connsiteY7" fmla="*/ 15877 h 15905"/>
              <a:gd name="connsiteX8" fmla="*/ 11007 w 19467"/>
              <a:gd name="connsiteY8" fmla="*/ 15895 h 15905"/>
              <a:gd name="connsiteX9" fmla="*/ 13793 w 19467"/>
              <a:gd name="connsiteY9" fmla="*/ 15872 h 15905"/>
              <a:gd name="connsiteX10" fmla="*/ 15640 w 19467"/>
              <a:gd name="connsiteY10" fmla="*/ 15840 h 15905"/>
              <a:gd name="connsiteX11" fmla="*/ 19161 w 19467"/>
              <a:gd name="connsiteY11" fmla="*/ 15860 h 15905"/>
              <a:gd name="connsiteX12" fmla="*/ 19187 w 19467"/>
              <a:gd name="connsiteY12" fmla="*/ 12271 h 15905"/>
              <a:gd name="connsiteX13" fmla="*/ 19168 w 19467"/>
              <a:gd name="connsiteY13" fmla="*/ 3610 h 15905"/>
              <a:gd name="connsiteX14" fmla="*/ 15206 w 19467"/>
              <a:gd name="connsiteY14" fmla="*/ 859 h 15905"/>
              <a:gd name="connsiteX15" fmla="*/ 11472 w 19467"/>
              <a:gd name="connsiteY15" fmla="*/ 23 h 15905"/>
              <a:gd name="connsiteX0" fmla="*/ 11472 w 19189"/>
              <a:gd name="connsiteY0" fmla="*/ 23 h 15905"/>
              <a:gd name="connsiteX1" fmla="*/ 5710 w 19189"/>
              <a:gd name="connsiteY1" fmla="*/ 1085 h 15905"/>
              <a:gd name="connsiteX2" fmla="*/ 1227 w 19189"/>
              <a:gd name="connsiteY2" fmla="*/ 5155 h 15905"/>
              <a:gd name="connsiteX3" fmla="*/ 43 w 19189"/>
              <a:gd name="connsiteY3" fmla="*/ 9089 h 15905"/>
              <a:gd name="connsiteX4" fmla="*/ 360 w 19189"/>
              <a:gd name="connsiteY4" fmla="*/ 13412 h 15905"/>
              <a:gd name="connsiteX5" fmla="*/ 1107 w 19189"/>
              <a:gd name="connsiteY5" fmla="*/ 15861 h 15905"/>
              <a:gd name="connsiteX6" fmla="*/ 5800 w 19189"/>
              <a:gd name="connsiteY6" fmla="*/ 15873 h 15905"/>
              <a:gd name="connsiteX7" fmla="*/ 8685 w 19189"/>
              <a:gd name="connsiteY7" fmla="*/ 15877 h 15905"/>
              <a:gd name="connsiteX8" fmla="*/ 11007 w 19189"/>
              <a:gd name="connsiteY8" fmla="*/ 15895 h 15905"/>
              <a:gd name="connsiteX9" fmla="*/ 13793 w 19189"/>
              <a:gd name="connsiteY9" fmla="*/ 15872 h 15905"/>
              <a:gd name="connsiteX10" fmla="*/ 15640 w 19189"/>
              <a:gd name="connsiteY10" fmla="*/ 15840 h 15905"/>
              <a:gd name="connsiteX11" fmla="*/ 19161 w 19189"/>
              <a:gd name="connsiteY11" fmla="*/ 15860 h 15905"/>
              <a:gd name="connsiteX12" fmla="*/ 19187 w 19189"/>
              <a:gd name="connsiteY12" fmla="*/ 12271 h 15905"/>
              <a:gd name="connsiteX13" fmla="*/ 19168 w 19189"/>
              <a:gd name="connsiteY13" fmla="*/ 3610 h 15905"/>
              <a:gd name="connsiteX14" fmla="*/ 15206 w 19189"/>
              <a:gd name="connsiteY14" fmla="*/ 859 h 15905"/>
              <a:gd name="connsiteX15" fmla="*/ 11472 w 19189"/>
              <a:gd name="connsiteY15" fmla="*/ 23 h 15905"/>
              <a:gd name="connsiteX0" fmla="*/ 11472 w 19190"/>
              <a:gd name="connsiteY0" fmla="*/ 23 h 15905"/>
              <a:gd name="connsiteX1" fmla="*/ 5710 w 19190"/>
              <a:gd name="connsiteY1" fmla="*/ 1085 h 15905"/>
              <a:gd name="connsiteX2" fmla="*/ 1227 w 19190"/>
              <a:gd name="connsiteY2" fmla="*/ 5155 h 15905"/>
              <a:gd name="connsiteX3" fmla="*/ 43 w 19190"/>
              <a:gd name="connsiteY3" fmla="*/ 9089 h 15905"/>
              <a:gd name="connsiteX4" fmla="*/ 360 w 19190"/>
              <a:gd name="connsiteY4" fmla="*/ 13412 h 15905"/>
              <a:gd name="connsiteX5" fmla="*/ 1107 w 19190"/>
              <a:gd name="connsiteY5" fmla="*/ 15861 h 15905"/>
              <a:gd name="connsiteX6" fmla="*/ 5800 w 19190"/>
              <a:gd name="connsiteY6" fmla="*/ 15873 h 15905"/>
              <a:gd name="connsiteX7" fmla="*/ 8685 w 19190"/>
              <a:gd name="connsiteY7" fmla="*/ 15877 h 15905"/>
              <a:gd name="connsiteX8" fmla="*/ 11007 w 19190"/>
              <a:gd name="connsiteY8" fmla="*/ 15895 h 15905"/>
              <a:gd name="connsiteX9" fmla="*/ 13793 w 19190"/>
              <a:gd name="connsiteY9" fmla="*/ 15872 h 15905"/>
              <a:gd name="connsiteX10" fmla="*/ 15640 w 19190"/>
              <a:gd name="connsiteY10" fmla="*/ 15840 h 15905"/>
              <a:gd name="connsiteX11" fmla="*/ 19161 w 19190"/>
              <a:gd name="connsiteY11" fmla="*/ 15860 h 15905"/>
              <a:gd name="connsiteX12" fmla="*/ 19187 w 19190"/>
              <a:gd name="connsiteY12" fmla="*/ 12271 h 15905"/>
              <a:gd name="connsiteX13" fmla="*/ 19148 w 19190"/>
              <a:gd name="connsiteY13" fmla="*/ 3493 h 15905"/>
              <a:gd name="connsiteX14" fmla="*/ 15206 w 19190"/>
              <a:gd name="connsiteY14" fmla="*/ 859 h 15905"/>
              <a:gd name="connsiteX15" fmla="*/ 11472 w 19190"/>
              <a:gd name="connsiteY15" fmla="*/ 23 h 15905"/>
              <a:gd name="connsiteX0" fmla="*/ 11472 w 19190"/>
              <a:gd name="connsiteY0" fmla="*/ 23 h 15905"/>
              <a:gd name="connsiteX1" fmla="*/ 5710 w 19190"/>
              <a:gd name="connsiteY1" fmla="*/ 1085 h 15905"/>
              <a:gd name="connsiteX2" fmla="*/ 1227 w 19190"/>
              <a:gd name="connsiteY2" fmla="*/ 5155 h 15905"/>
              <a:gd name="connsiteX3" fmla="*/ 43 w 19190"/>
              <a:gd name="connsiteY3" fmla="*/ 9089 h 15905"/>
              <a:gd name="connsiteX4" fmla="*/ 360 w 19190"/>
              <a:gd name="connsiteY4" fmla="*/ 13412 h 15905"/>
              <a:gd name="connsiteX5" fmla="*/ 1107 w 19190"/>
              <a:gd name="connsiteY5" fmla="*/ 15861 h 15905"/>
              <a:gd name="connsiteX6" fmla="*/ 5800 w 19190"/>
              <a:gd name="connsiteY6" fmla="*/ 15873 h 15905"/>
              <a:gd name="connsiteX7" fmla="*/ 8685 w 19190"/>
              <a:gd name="connsiteY7" fmla="*/ 15877 h 15905"/>
              <a:gd name="connsiteX8" fmla="*/ 11007 w 19190"/>
              <a:gd name="connsiteY8" fmla="*/ 15895 h 15905"/>
              <a:gd name="connsiteX9" fmla="*/ 13793 w 19190"/>
              <a:gd name="connsiteY9" fmla="*/ 15872 h 15905"/>
              <a:gd name="connsiteX10" fmla="*/ 15640 w 19190"/>
              <a:gd name="connsiteY10" fmla="*/ 15840 h 15905"/>
              <a:gd name="connsiteX11" fmla="*/ 19161 w 19190"/>
              <a:gd name="connsiteY11" fmla="*/ 15860 h 15905"/>
              <a:gd name="connsiteX12" fmla="*/ 19187 w 19190"/>
              <a:gd name="connsiteY12" fmla="*/ 12271 h 15905"/>
              <a:gd name="connsiteX13" fmla="*/ 19148 w 19190"/>
              <a:gd name="connsiteY13" fmla="*/ 3704 h 15905"/>
              <a:gd name="connsiteX14" fmla="*/ 15206 w 19190"/>
              <a:gd name="connsiteY14" fmla="*/ 859 h 15905"/>
              <a:gd name="connsiteX15" fmla="*/ 11472 w 19190"/>
              <a:gd name="connsiteY15" fmla="*/ 23 h 15905"/>
              <a:gd name="connsiteX0" fmla="*/ 11472 w 19190"/>
              <a:gd name="connsiteY0" fmla="*/ 23 h 15905"/>
              <a:gd name="connsiteX1" fmla="*/ 5710 w 19190"/>
              <a:gd name="connsiteY1" fmla="*/ 1085 h 15905"/>
              <a:gd name="connsiteX2" fmla="*/ 1227 w 19190"/>
              <a:gd name="connsiteY2" fmla="*/ 5155 h 15905"/>
              <a:gd name="connsiteX3" fmla="*/ 43 w 19190"/>
              <a:gd name="connsiteY3" fmla="*/ 9089 h 15905"/>
              <a:gd name="connsiteX4" fmla="*/ 360 w 19190"/>
              <a:gd name="connsiteY4" fmla="*/ 13412 h 15905"/>
              <a:gd name="connsiteX5" fmla="*/ 1107 w 19190"/>
              <a:gd name="connsiteY5" fmla="*/ 15861 h 15905"/>
              <a:gd name="connsiteX6" fmla="*/ 5800 w 19190"/>
              <a:gd name="connsiteY6" fmla="*/ 15873 h 15905"/>
              <a:gd name="connsiteX7" fmla="*/ 8685 w 19190"/>
              <a:gd name="connsiteY7" fmla="*/ 15877 h 15905"/>
              <a:gd name="connsiteX8" fmla="*/ 11007 w 19190"/>
              <a:gd name="connsiteY8" fmla="*/ 15895 h 15905"/>
              <a:gd name="connsiteX9" fmla="*/ 13793 w 19190"/>
              <a:gd name="connsiteY9" fmla="*/ 15872 h 15905"/>
              <a:gd name="connsiteX10" fmla="*/ 15640 w 19190"/>
              <a:gd name="connsiteY10" fmla="*/ 15840 h 15905"/>
              <a:gd name="connsiteX11" fmla="*/ 19161 w 19190"/>
              <a:gd name="connsiteY11" fmla="*/ 15860 h 15905"/>
              <a:gd name="connsiteX12" fmla="*/ 19187 w 19190"/>
              <a:gd name="connsiteY12" fmla="*/ 12271 h 15905"/>
              <a:gd name="connsiteX13" fmla="*/ 19148 w 19190"/>
              <a:gd name="connsiteY13" fmla="*/ 3610 h 15905"/>
              <a:gd name="connsiteX14" fmla="*/ 15206 w 19190"/>
              <a:gd name="connsiteY14" fmla="*/ 859 h 15905"/>
              <a:gd name="connsiteX15" fmla="*/ 11472 w 19190"/>
              <a:gd name="connsiteY15" fmla="*/ 23 h 15905"/>
              <a:gd name="connsiteX0" fmla="*/ 11472 w 19190"/>
              <a:gd name="connsiteY0" fmla="*/ 23 h 15905"/>
              <a:gd name="connsiteX1" fmla="*/ 5710 w 19190"/>
              <a:gd name="connsiteY1" fmla="*/ 1085 h 15905"/>
              <a:gd name="connsiteX2" fmla="*/ 1227 w 19190"/>
              <a:gd name="connsiteY2" fmla="*/ 5155 h 15905"/>
              <a:gd name="connsiteX3" fmla="*/ 43 w 19190"/>
              <a:gd name="connsiteY3" fmla="*/ 9089 h 15905"/>
              <a:gd name="connsiteX4" fmla="*/ 360 w 19190"/>
              <a:gd name="connsiteY4" fmla="*/ 13412 h 15905"/>
              <a:gd name="connsiteX5" fmla="*/ 1107 w 19190"/>
              <a:gd name="connsiteY5" fmla="*/ 15861 h 15905"/>
              <a:gd name="connsiteX6" fmla="*/ 5800 w 19190"/>
              <a:gd name="connsiteY6" fmla="*/ 15873 h 15905"/>
              <a:gd name="connsiteX7" fmla="*/ 8685 w 19190"/>
              <a:gd name="connsiteY7" fmla="*/ 15877 h 15905"/>
              <a:gd name="connsiteX8" fmla="*/ 11007 w 19190"/>
              <a:gd name="connsiteY8" fmla="*/ 15895 h 15905"/>
              <a:gd name="connsiteX9" fmla="*/ 13793 w 19190"/>
              <a:gd name="connsiteY9" fmla="*/ 15872 h 15905"/>
              <a:gd name="connsiteX10" fmla="*/ 15640 w 19190"/>
              <a:gd name="connsiteY10" fmla="*/ 15840 h 15905"/>
              <a:gd name="connsiteX11" fmla="*/ 19161 w 19190"/>
              <a:gd name="connsiteY11" fmla="*/ 15860 h 15905"/>
              <a:gd name="connsiteX12" fmla="*/ 19187 w 19190"/>
              <a:gd name="connsiteY12" fmla="*/ 12271 h 15905"/>
              <a:gd name="connsiteX13" fmla="*/ 19148 w 19190"/>
              <a:gd name="connsiteY13" fmla="*/ 3610 h 15905"/>
              <a:gd name="connsiteX14" fmla="*/ 15206 w 19190"/>
              <a:gd name="connsiteY14" fmla="*/ 859 h 15905"/>
              <a:gd name="connsiteX15" fmla="*/ 11472 w 19190"/>
              <a:gd name="connsiteY15" fmla="*/ 23 h 15905"/>
              <a:gd name="connsiteX0" fmla="*/ 11472 w 19190"/>
              <a:gd name="connsiteY0" fmla="*/ 23 h 15905"/>
              <a:gd name="connsiteX1" fmla="*/ 5710 w 19190"/>
              <a:gd name="connsiteY1" fmla="*/ 1085 h 15905"/>
              <a:gd name="connsiteX2" fmla="*/ 1227 w 19190"/>
              <a:gd name="connsiteY2" fmla="*/ 5155 h 15905"/>
              <a:gd name="connsiteX3" fmla="*/ 43 w 19190"/>
              <a:gd name="connsiteY3" fmla="*/ 9089 h 15905"/>
              <a:gd name="connsiteX4" fmla="*/ 360 w 19190"/>
              <a:gd name="connsiteY4" fmla="*/ 13412 h 15905"/>
              <a:gd name="connsiteX5" fmla="*/ 1107 w 19190"/>
              <a:gd name="connsiteY5" fmla="*/ 15861 h 15905"/>
              <a:gd name="connsiteX6" fmla="*/ 5800 w 19190"/>
              <a:gd name="connsiteY6" fmla="*/ 15873 h 15905"/>
              <a:gd name="connsiteX7" fmla="*/ 8685 w 19190"/>
              <a:gd name="connsiteY7" fmla="*/ 15877 h 15905"/>
              <a:gd name="connsiteX8" fmla="*/ 11007 w 19190"/>
              <a:gd name="connsiteY8" fmla="*/ 15895 h 15905"/>
              <a:gd name="connsiteX9" fmla="*/ 13793 w 19190"/>
              <a:gd name="connsiteY9" fmla="*/ 15872 h 15905"/>
              <a:gd name="connsiteX10" fmla="*/ 15640 w 19190"/>
              <a:gd name="connsiteY10" fmla="*/ 15840 h 15905"/>
              <a:gd name="connsiteX11" fmla="*/ 19161 w 19190"/>
              <a:gd name="connsiteY11" fmla="*/ 15860 h 15905"/>
              <a:gd name="connsiteX12" fmla="*/ 19187 w 19190"/>
              <a:gd name="connsiteY12" fmla="*/ 12271 h 15905"/>
              <a:gd name="connsiteX13" fmla="*/ 19148 w 19190"/>
              <a:gd name="connsiteY13" fmla="*/ 3610 h 15905"/>
              <a:gd name="connsiteX14" fmla="*/ 15206 w 19190"/>
              <a:gd name="connsiteY14" fmla="*/ 859 h 15905"/>
              <a:gd name="connsiteX15" fmla="*/ 11472 w 19190"/>
              <a:gd name="connsiteY15" fmla="*/ 23 h 159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9190" h="15905" extrusionOk="0">
                <a:moveTo>
                  <a:pt x="11472" y="23"/>
                </a:moveTo>
                <a:cubicBezTo>
                  <a:pt x="9485" y="-99"/>
                  <a:pt x="7487" y="271"/>
                  <a:pt x="5710" y="1085"/>
                </a:cubicBezTo>
                <a:cubicBezTo>
                  <a:pt x="3906" y="1911"/>
                  <a:pt x="2308" y="3211"/>
                  <a:pt x="1227" y="5155"/>
                </a:cubicBezTo>
                <a:cubicBezTo>
                  <a:pt x="561" y="6353"/>
                  <a:pt x="171" y="7696"/>
                  <a:pt x="43" y="9089"/>
                </a:cubicBezTo>
                <a:cubicBezTo>
                  <a:pt x="-88" y="10520"/>
                  <a:pt x="92" y="12203"/>
                  <a:pt x="360" y="13412"/>
                </a:cubicBezTo>
                <a:cubicBezTo>
                  <a:pt x="607" y="14528"/>
                  <a:pt x="1091" y="15876"/>
                  <a:pt x="1107" y="15861"/>
                </a:cubicBezTo>
                <a:cubicBezTo>
                  <a:pt x="1123" y="15846"/>
                  <a:pt x="4537" y="15870"/>
                  <a:pt x="5800" y="15873"/>
                </a:cubicBezTo>
                <a:cubicBezTo>
                  <a:pt x="7063" y="15876"/>
                  <a:pt x="7723" y="15920"/>
                  <a:pt x="8685" y="15877"/>
                </a:cubicBezTo>
                <a:cubicBezTo>
                  <a:pt x="9459" y="15927"/>
                  <a:pt x="10156" y="15896"/>
                  <a:pt x="11007" y="15895"/>
                </a:cubicBezTo>
                <a:lnTo>
                  <a:pt x="13793" y="15872"/>
                </a:lnTo>
                <a:cubicBezTo>
                  <a:pt x="14565" y="15863"/>
                  <a:pt x="14745" y="15842"/>
                  <a:pt x="15640" y="15840"/>
                </a:cubicBezTo>
                <a:lnTo>
                  <a:pt x="19161" y="15860"/>
                </a:lnTo>
                <a:cubicBezTo>
                  <a:pt x="19203" y="15875"/>
                  <a:pt x="19189" y="14313"/>
                  <a:pt x="19187" y="12271"/>
                </a:cubicBezTo>
                <a:cubicBezTo>
                  <a:pt x="19185" y="10229"/>
                  <a:pt x="19126" y="3682"/>
                  <a:pt x="19148" y="3610"/>
                </a:cubicBezTo>
                <a:cubicBezTo>
                  <a:pt x="18027" y="2331"/>
                  <a:pt x="16672" y="1405"/>
                  <a:pt x="15206" y="859"/>
                </a:cubicBezTo>
                <a:cubicBezTo>
                  <a:pt x="14026" y="396"/>
                  <a:pt x="12761" y="103"/>
                  <a:pt x="11472" y="23"/>
                </a:cubicBezTo>
                <a:close/>
              </a:path>
            </a:pathLst>
          </a:cu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25400">
            <a:noFill/>
            <a:miter lim="400000"/>
          </a:ln>
        </p:spPr>
        <p:txBody>
          <a:bodyPr lIns="25400" tIns="25400" rIns="25400" bIns="25400" anchor="ctr"/>
          <a:lstStyle/>
          <a:p>
            <a:endParaRPr sz="60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99033CB-7B8A-4DB4-0988-DB37E76057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6155" t="8764" r="10248" b="19092"/>
          <a:stretch/>
        </p:blipFill>
        <p:spPr>
          <a:xfrm>
            <a:off x="4907666" y="0"/>
            <a:ext cx="7302622" cy="6859764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16B3D84-9E87-63D9-ABC0-06C62F80F60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5A18A9-FB90-4F92-9633-9A2FCB4DF4A0}" type="slidenum">
              <a:rPr lang="pt-PT" smtClean="0"/>
              <a:pPr/>
              <a:t>‹nº›</a:t>
            </a:fld>
            <a:endParaRPr lang="pt-PT" dirty="0"/>
          </a:p>
        </p:txBody>
      </p:sp>
      <p:pic>
        <p:nvPicPr>
          <p:cNvPr id="6" name="Image" descr="Image">
            <a:extLst>
              <a:ext uri="{FF2B5EF4-FFF2-40B4-BE49-F238E27FC236}">
                <a16:creationId xmlns:a16="http://schemas.microsoft.com/office/drawing/2014/main" id="{3BE7E261-535B-3167-77C0-DED5382DD91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5637" y="409975"/>
            <a:ext cx="1157293" cy="190501"/>
          </a:xfrm>
          <a:prstGeom prst="rect">
            <a:avLst/>
          </a:prstGeom>
          <a:ln w="12700">
            <a:miter lim="400000"/>
          </a:ln>
        </p:spPr>
      </p:pic>
      <p:sp>
        <p:nvSpPr>
          <p:cNvPr id="9" name="Marcador de Posição do Texto 2">
            <a:extLst>
              <a:ext uri="{FF2B5EF4-FFF2-40B4-BE49-F238E27FC236}">
                <a16:creationId xmlns:a16="http://schemas.microsoft.com/office/drawing/2014/main" id="{8B1DCFE6-9A94-789A-E4DC-51494F92E36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4317" y="2281107"/>
            <a:ext cx="4153056" cy="2445035"/>
          </a:xfrm>
          <a:prstGeom prst="rect">
            <a:avLst/>
          </a:prstGeom>
        </p:spPr>
        <p:txBody>
          <a:bodyPr vert="horz" wrap="none" lIns="0" tIns="45720" rIns="0" bIns="45720" rtlCol="0" anchor="t" anchorCtr="0">
            <a:noAutofit/>
          </a:bodyPr>
          <a:lstStyle>
            <a:lvl1pPr marL="0" indent="0">
              <a:lnSpc>
                <a:spcPts val="3860"/>
              </a:lnSpc>
              <a:buNone/>
              <a:defRPr lang="pt-PT" sz="3200" b="1" baseline="0" dirty="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166682" lvl="0" indent="-342891">
              <a:spcBef>
                <a:spcPct val="0"/>
              </a:spcBef>
            </a:pPr>
            <a:r>
              <a:rPr lang="pt-PT" dirty="0"/>
              <a:t>Título do Separador</a:t>
            </a:r>
          </a:p>
        </p:txBody>
      </p:sp>
      <p:sp useBgFill="1">
        <p:nvSpPr>
          <p:cNvPr id="12" name="Marcador de Posição do Texto 2">
            <a:extLst>
              <a:ext uri="{FF2B5EF4-FFF2-40B4-BE49-F238E27FC236}">
                <a16:creationId xmlns:a16="http://schemas.microsoft.com/office/drawing/2014/main" id="{76232CD6-C395-F87E-2079-8C82E68B65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6835" y="253243"/>
            <a:ext cx="1771431" cy="1876776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pt-PT" sz="15000" b="1" i="0" baseline="0" dirty="0">
                <a:ln w="22225">
                  <a:solidFill>
                    <a:srgbClr val="FF9E0E"/>
                  </a:solidFill>
                </a:ln>
                <a:noFill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pt-PT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9759624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parador 2_preto_com imagem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">
            <a:extLst>
              <a:ext uri="{FF2B5EF4-FFF2-40B4-BE49-F238E27FC236}">
                <a16:creationId xmlns:a16="http://schemas.microsoft.com/office/drawing/2014/main" id="{2FD34BE4-CF27-62C5-97D6-0A4AA5AF2376}"/>
              </a:ext>
            </a:extLst>
          </p:cNvPr>
          <p:cNvSpPr/>
          <p:nvPr userDrawn="1"/>
        </p:nvSpPr>
        <p:spPr>
          <a:xfrm>
            <a:off x="5098701" y="1799074"/>
            <a:ext cx="7117457" cy="5077464"/>
          </a:xfrm>
          <a:custGeom>
            <a:avLst/>
            <a:gdLst>
              <a:gd name="connsiteX0" fmla="*/ 11477 w 21471"/>
              <a:gd name="connsiteY0" fmla="*/ 23 h 21488"/>
              <a:gd name="connsiteX1" fmla="*/ 5715 w 21471"/>
              <a:gd name="connsiteY1" fmla="*/ 1085 h 21488"/>
              <a:gd name="connsiteX2" fmla="*/ 1232 w 21471"/>
              <a:gd name="connsiteY2" fmla="*/ 5155 h 21488"/>
              <a:gd name="connsiteX3" fmla="*/ 48 w 21471"/>
              <a:gd name="connsiteY3" fmla="*/ 9089 h 21488"/>
              <a:gd name="connsiteX4" fmla="*/ 365 w 21471"/>
              <a:gd name="connsiteY4" fmla="*/ 13412 h 21488"/>
              <a:gd name="connsiteX5" fmla="*/ 994 w 21471"/>
              <a:gd name="connsiteY5" fmla="*/ 15572 h 21488"/>
              <a:gd name="connsiteX6" fmla="*/ 6271 w 21471"/>
              <a:gd name="connsiteY6" fmla="*/ 16946 h 21488"/>
              <a:gd name="connsiteX7" fmla="*/ 4709 w 21471"/>
              <a:gd name="connsiteY7" fmla="*/ 20041 h 21488"/>
              <a:gd name="connsiteX8" fmla="*/ 7374 w 21471"/>
              <a:gd name="connsiteY8" fmla="*/ 21174 h 21488"/>
              <a:gd name="connsiteX9" fmla="*/ 10204 w 21471"/>
              <a:gd name="connsiteY9" fmla="*/ 21487 h 21488"/>
              <a:gd name="connsiteX10" fmla="*/ 16120 w 21471"/>
              <a:gd name="connsiteY10" fmla="*/ 19852 h 21488"/>
              <a:gd name="connsiteX11" fmla="*/ 20202 w 21471"/>
              <a:gd name="connsiteY11" fmla="*/ 15632 h 21488"/>
              <a:gd name="connsiteX12" fmla="*/ 21216 w 21471"/>
              <a:gd name="connsiteY12" fmla="*/ 12780 h 21488"/>
              <a:gd name="connsiteX13" fmla="*/ 21449 w 21471"/>
              <a:gd name="connsiteY13" fmla="*/ 9614 h 21488"/>
              <a:gd name="connsiteX14" fmla="*/ 18412 w 21471"/>
              <a:gd name="connsiteY14" fmla="*/ 2817 h 21488"/>
              <a:gd name="connsiteX15" fmla="*/ 15211 w 21471"/>
              <a:gd name="connsiteY15" fmla="*/ 859 h 21488"/>
              <a:gd name="connsiteX16" fmla="*/ 11477 w 21471"/>
              <a:gd name="connsiteY16" fmla="*/ 23 h 21488"/>
              <a:gd name="connsiteX0" fmla="*/ 11477 w 21471"/>
              <a:gd name="connsiteY0" fmla="*/ 23 h 21488"/>
              <a:gd name="connsiteX1" fmla="*/ 5715 w 21471"/>
              <a:gd name="connsiteY1" fmla="*/ 1085 h 21488"/>
              <a:gd name="connsiteX2" fmla="*/ 1232 w 21471"/>
              <a:gd name="connsiteY2" fmla="*/ 5155 h 21488"/>
              <a:gd name="connsiteX3" fmla="*/ 48 w 21471"/>
              <a:gd name="connsiteY3" fmla="*/ 9089 h 21488"/>
              <a:gd name="connsiteX4" fmla="*/ 365 w 21471"/>
              <a:gd name="connsiteY4" fmla="*/ 13412 h 21488"/>
              <a:gd name="connsiteX5" fmla="*/ 994 w 21471"/>
              <a:gd name="connsiteY5" fmla="*/ 15572 h 21488"/>
              <a:gd name="connsiteX6" fmla="*/ 6271 w 21471"/>
              <a:gd name="connsiteY6" fmla="*/ 16946 h 21488"/>
              <a:gd name="connsiteX7" fmla="*/ 4709 w 21471"/>
              <a:gd name="connsiteY7" fmla="*/ 20041 h 21488"/>
              <a:gd name="connsiteX8" fmla="*/ 7374 w 21471"/>
              <a:gd name="connsiteY8" fmla="*/ 21174 h 21488"/>
              <a:gd name="connsiteX9" fmla="*/ 10204 w 21471"/>
              <a:gd name="connsiteY9" fmla="*/ 21487 h 21488"/>
              <a:gd name="connsiteX10" fmla="*/ 16120 w 21471"/>
              <a:gd name="connsiteY10" fmla="*/ 19852 h 21488"/>
              <a:gd name="connsiteX11" fmla="*/ 20202 w 21471"/>
              <a:gd name="connsiteY11" fmla="*/ 15632 h 21488"/>
              <a:gd name="connsiteX12" fmla="*/ 21216 w 21471"/>
              <a:gd name="connsiteY12" fmla="*/ 12780 h 21488"/>
              <a:gd name="connsiteX13" fmla="*/ 21449 w 21471"/>
              <a:gd name="connsiteY13" fmla="*/ 9614 h 21488"/>
              <a:gd name="connsiteX14" fmla="*/ 18412 w 21471"/>
              <a:gd name="connsiteY14" fmla="*/ 2817 h 21488"/>
              <a:gd name="connsiteX15" fmla="*/ 15211 w 21471"/>
              <a:gd name="connsiteY15" fmla="*/ 859 h 21488"/>
              <a:gd name="connsiteX16" fmla="*/ 11477 w 21471"/>
              <a:gd name="connsiteY16" fmla="*/ 23 h 21488"/>
              <a:gd name="connsiteX0" fmla="*/ 11477 w 21471"/>
              <a:gd name="connsiteY0" fmla="*/ 23 h 21488"/>
              <a:gd name="connsiteX1" fmla="*/ 5715 w 21471"/>
              <a:gd name="connsiteY1" fmla="*/ 1085 h 21488"/>
              <a:gd name="connsiteX2" fmla="*/ 1232 w 21471"/>
              <a:gd name="connsiteY2" fmla="*/ 5155 h 21488"/>
              <a:gd name="connsiteX3" fmla="*/ 48 w 21471"/>
              <a:gd name="connsiteY3" fmla="*/ 9089 h 21488"/>
              <a:gd name="connsiteX4" fmla="*/ 365 w 21471"/>
              <a:gd name="connsiteY4" fmla="*/ 13412 h 21488"/>
              <a:gd name="connsiteX5" fmla="*/ 994 w 21471"/>
              <a:gd name="connsiteY5" fmla="*/ 15572 h 21488"/>
              <a:gd name="connsiteX6" fmla="*/ 6194 w 21471"/>
              <a:gd name="connsiteY6" fmla="*/ 17438 h 21488"/>
              <a:gd name="connsiteX7" fmla="*/ 4709 w 21471"/>
              <a:gd name="connsiteY7" fmla="*/ 20041 h 21488"/>
              <a:gd name="connsiteX8" fmla="*/ 7374 w 21471"/>
              <a:gd name="connsiteY8" fmla="*/ 21174 h 21488"/>
              <a:gd name="connsiteX9" fmla="*/ 10204 w 21471"/>
              <a:gd name="connsiteY9" fmla="*/ 21487 h 21488"/>
              <a:gd name="connsiteX10" fmla="*/ 16120 w 21471"/>
              <a:gd name="connsiteY10" fmla="*/ 19852 h 21488"/>
              <a:gd name="connsiteX11" fmla="*/ 20202 w 21471"/>
              <a:gd name="connsiteY11" fmla="*/ 15632 h 21488"/>
              <a:gd name="connsiteX12" fmla="*/ 21216 w 21471"/>
              <a:gd name="connsiteY12" fmla="*/ 12780 h 21488"/>
              <a:gd name="connsiteX13" fmla="*/ 21449 w 21471"/>
              <a:gd name="connsiteY13" fmla="*/ 9614 h 21488"/>
              <a:gd name="connsiteX14" fmla="*/ 18412 w 21471"/>
              <a:gd name="connsiteY14" fmla="*/ 2817 h 21488"/>
              <a:gd name="connsiteX15" fmla="*/ 15211 w 21471"/>
              <a:gd name="connsiteY15" fmla="*/ 859 h 21488"/>
              <a:gd name="connsiteX16" fmla="*/ 11477 w 21471"/>
              <a:gd name="connsiteY16" fmla="*/ 23 h 21488"/>
              <a:gd name="connsiteX0" fmla="*/ 11477 w 21471"/>
              <a:gd name="connsiteY0" fmla="*/ 23 h 21488"/>
              <a:gd name="connsiteX1" fmla="*/ 5715 w 21471"/>
              <a:gd name="connsiteY1" fmla="*/ 1085 h 21488"/>
              <a:gd name="connsiteX2" fmla="*/ 1232 w 21471"/>
              <a:gd name="connsiteY2" fmla="*/ 5155 h 21488"/>
              <a:gd name="connsiteX3" fmla="*/ 48 w 21471"/>
              <a:gd name="connsiteY3" fmla="*/ 9089 h 21488"/>
              <a:gd name="connsiteX4" fmla="*/ 365 w 21471"/>
              <a:gd name="connsiteY4" fmla="*/ 13412 h 21488"/>
              <a:gd name="connsiteX5" fmla="*/ 994 w 21471"/>
              <a:gd name="connsiteY5" fmla="*/ 15572 h 21488"/>
              <a:gd name="connsiteX6" fmla="*/ 6194 w 21471"/>
              <a:gd name="connsiteY6" fmla="*/ 17438 h 21488"/>
              <a:gd name="connsiteX7" fmla="*/ 4709 w 21471"/>
              <a:gd name="connsiteY7" fmla="*/ 20041 h 21488"/>
              <a:gd name="connsiteX8" fmla="*/ 7374 w 21471"/>
              <a:gd name="connsiteY8" fmla="*/ 21174 h 21488"/>
              <a:gd name="connsiteX9" fmla="*/ 10204 w 21471"/>
              <a:gd name="connsiteY9" fmla="*/ 21487 h 21488"/>
              <a:gd name="connsiteX10" fmla="*/ 16120 w 21471"/>
              <a:gd name="connsiteY10" fmla="*/ 19852 h 21488"/>
              <a:gd name="connsiteX11" fmla="*/ 20202 w 21471"/>
              <a:gd name="connsiteY11" fmla="*/ 15632 h 21488"/>
              <a:gd name="connsiteX12" fmla="*/ 21216 w 21471"/>
              <a:gd name="connsiteY12" fmla="*/ 12780 h 21488"/>
              <a:gd name="connsiteX13" fmla="*/ 21449 w 21471"/>
              <a:gd name="connsiteY13" fmla="*/ 9614 h 21488"/>
              <a:gd name="connsiteX14" fmla="*/ 18412 w 21471"/>
              <a:gd name="connsiteY14" fmla="*/ 2817 h 21488"/>
              <a:gd name="connsiteX15" fmla="*/ 15211 w 21471"/>
              <a:gd name="connsiteY15" fmla="*/ 859 h 21488"/>
              <a:gd name="connsiteX16" fmla="*/ 11477 w 21471"/>
              <a:gd name="connsiteY16" fmla="*/ 23 h 21488"/>
              <a:gd name="connsiteX0" fmla="*/ 11470 w 21464"/>
              <a:gd name="connsiteY0" fmla="*/ 23 h 21488"/>
              <a:gd name="connsiteX1" fmla="*/ 5708 w 21464"/>
              <a:gd name="connsiteY1" fmla="*/ 1085 h 21488"/>
              <a:gd name="connsiteX2" fmla="*/ 1225 w 21464"/>
              <a:gd name="connsiteY2" fmla="*/ 5155 h 21488"/>
              <a:gd name="connsiteX3" fmla="*/ 41 w 21464"/>
              <a:gd name="connsiteY3" fmla="*/ 9089 h 21488"/>
              <a:gd name="connsiteX4" fmla="*/ 358 w 21464"/>
              <a:gd name="connsiteY4" fmla="*/ 13412 h 21488"/>
              <a:gd name="connsiteX5" fmla="*/ 1489 w 21464"/>
              <a:gd name="connsiteY5" fmla="*/ 16646 h 21488"/>
              <a:gd name="connsiteX6" fmla="*/ 6187 w 21464"/>
              <a:gd name="connsiteY6" fmla="*/ 17438 h 21488"/>
              <a:gd name="connsiteX7" fmla="*/ 4702 w 21464"/>
              <a:gd name="connsiteY7" fmla="*/ 20041 h 21488"/>
              <a:gd name="connsiteX8" fmla="*/ 7367 w 21464"/>
              <a:gd name="connsiteY8" fmla="*/ 21174 h 21488"/>
              <a:gd name="connsiteX9" fmla="*/ 10197 w 21464"/>
              <a:gd name="connsiteY9" fmla="*/ 21487 h 21488"/>
              <a:gd name="connsiteX10" fmla="*/ 16113 w 21464"/>
              <a:gd name="connsiteY10" fmla="*/ 19852 h 21488"/>
              <a:gd name="connsiteX11" fmla="*/ 20195 w 21464"/>
              <a:gd name="connsiteY11" fmla="*/ 15632 h 21488"/>
              <a:gd name="connsiteX12" fmla="*/ 21209 w 21464"/>
              <a:gd name="connsiteY12" fmla="*/ 12780 h 21488"/>
              <a:gd name="connsiteX13" fmla="*/ 21442 w 21464"/>
              <a:gd name="connsiteY13" fmla="*/ 9614 h 21488"/>
              <a:gd name="connsiteX14" fmla="*/ 18405 w 21464"/>
              <a:gd name="connsiteY14" fmla="*/ 2817 h 21488"/>
              <a:gd name="connsiteX15" fmla="*/ 15204 w 21464"/>
              <a:gd name="connsiteY15" fmla="*/ 859 h 21488"/>
              <a:gd name="connsiteX16" fmla="*/ 11470 w 21464"/>
              <a:gd name="connsiteY16" fmla="*/ 23 h 21488"/>
              <a:gd name="connsiteX0" fmla="*/ 11479 w 21473"/>
              <a:gd name="connsiteY0" fmla="*/ 23 h 21488"/>
              <a:gd name="connsiteX1" fmla="*/ 5717 w 21473"/>
              <a:gd name="connsiteY1" fmla="*/ 1085 h 21488"/>
              <a:gd name="connsiteX2" fmla="*/ 1234 w 21473"/>
              <a:gd name="connsiteY2" fmla="*/ 5155 h 21488"/>
              <a:gd name="connsiteX3" fmla="*/ 50 w 21473"/>
              <a:gd name="connsiteY3" fmla="*/ 9089 h 21488"/>
              <a:gd name="connsiteX4" fmla="*/ 367 w 21473"/>
              <a:gd name="connsiteY4" fmla="*/ 13412 h 21488"/>
              <a:gd name="connsiteX5" fmla="*/ 1961 w 21473"/>
              <a:gd name="connsiteY5" fmla="*/ 16736 h 21488"/>
              <a:gd name="connsiteX6" fmla="*/ 6196 w 21473"/>
              <a:gd name="connsiteY6" fmla="*/ 17438 h 21488"/>
              <a:gd name="connsiteX7" fmla="*/ 4711 w 21473"/>
              <a:gd name="connsiteY7" fmla="*/ 20041 h 21488"/>
              <a:gd name="connsiteX8" fmla="*/ 7376 w 21473"/>
              <a:gd name="connsiteY8" fmla="*/ 21174 h 21488"/>
              <a:gd name="connsiteX9" fmla="*/ 10206 w 21473"/>
              <a:gd name="connsiteY9" fmla="*/ 21487 h 21488"/>
              <a:gd name="connsiteX10" fmla="*/ 16122 w 21473"/>
              <a:gd name="connsiteY10" fmla="*/ 19852 h 21488"/>
              <a:gd name="connsiteX11" fmla="*/ 20204 w 21473"/>
              <a:gd name="connsiteY11" fmla="*/ 15632 h 21488"/>
              <a:gd name="connsiteX12" fmla="*/ 21218 w 21473"/>
              <a:gd name="connsiteY12" fmla="*/ 12780 h 21488"/>
              <a:gd name="connsiteX13" fmla="*/ 21451 w 21473"/>
              <a:gd name="connsiteY13" fmla="*/ 9614 h 21488"/>
              <a:gd name="connsiteX14" fmla="*/ 18414 w 21473"/>
              <a:gd name="connsiteY14" fmla="*/ 2817 h 21488"/>
              <a:gd name="connsiteX15" fmla="*/ 15213 w 21473"/>
              <a:gd name="connsiteY15" fmla="*/ 859 h 21488"/>
              <a:gd name="connsiteX16" fmla="*/ 11479 w 21473"/>
              <a:gd name="connsiteY16" fmla="*/ 23 h 21488"/>
              <a:gd name="connsiteX0" fmla="*/ 11479 w 21473"/>
              <a:gd name="connsiteY0" fmla="*/ 23 h 21488"/>
              <a:gd name="connsiteX1" fmla="*/ 5717 w 21473"/>
              <a:gd name="connsiteY1" fmla="*/ 1085 h 21488"/>
              <a:gd name="connsiteX2" fmla="*/ 1234 w 21473"/>
              <a:gd name="connsiteY2" fmla="*/ 5155 h 21488"/>
              <a:gd name="connsiteX3" fmla="*/ 50 w 21473"/>
              <a:gd name="connsiteY3" fmla="*/ 9089 h 21488"/>
              <a:gd name="connsiteX4" fmla="*/ 367 w 21473"/>
              <a:gd name="connsiteY4" fmla="*/ 13412 h 21488"/>
              <a:gd name="connsiteX5" fmla="*/ 1961 w 21473"/>
              <a:gd name="connsiteY5" fmla="*/ 16736 h 21488"/>
              <a:gd name="connsiteX6" fmla="*/ 6196 w 21473"/>
              <a:gd name="connsiteY6" fmla="*/ 17438 h 21488"/>
              <a:gd name="connsiteX7" fmla="*/ 4711 w 21473"/>
              <a:gd name="connsiteY7" fmla="*/ 20041 h 21488"/>
              <a:gd name="connsiteX8" fmla="*/ 7376 w 21473"/>
              <a:gd name="connsiteY8" fmla="*/ 21174 h 21488"/>
              <a:gd name="connsiteX9" fmla="*/ 10206 w 21473"/>
              <a:gd name="connsiteY9" fmla="*/ 21487 h 21488"/>
              <a:gd name="connsiteX10" fmla="*/ 16122 w 21473"/>
              <a:gd name="connsiteY10" fmla="*/ 19852 h 21488"/>
              <a:gd name="connsiteX11" fmla="*/ 20204 w 21473"/>
              <a:gd name="connsiteY11" fmla="*/ 15632 h 21488"/>
              <a:gd name="connsiteX12" fmla="*/ 21218 w 21473"/>
              <a:gd name="connsiteY12" fmla="*/ 12780 h 21488"/>
              <a:gd name="connsiteX13" fmla="*/ 21451 w 21473"/>
              <a:gd name="connsiteY13" fmla="*/ 9614 h 21488"/>
              <a:gd name="connsiteX14" fmla="*/ 18414 w 21473"/>
              <a:gd name="connsiteY14" fmla="*/ 2817 h 21488"/>
              <a:gd name="connsiteX15" fmla="*/ 15213 w 21473"/>
              <a:gd name="connsiteY15" fmla="*/ 859 h 21488"/>
              <a:gd name="connsiteX16" fmla="*/ 11479 w 21473"/>
              <a:gd name="connsiteY16" fmla="*/ 23 h 21488"/>
              <a:gd name="connsiteX0" fmla="*/ 11479 w 21473"/>
              <a:gd name="connsiteY0" fmla="*/ 23 h 21488"/>
              <a:gd name="connsiteX1" fmla="*/ 5717 w 21473"/>
              <a:gd name="connsiteY1" fmla="*/ 1085 h 21488"/>
              <a:gd name="connsiteX2" fmla="*/ 1234 w 21473"/>
              <a:gd name="connsiteY2" fmla="*/ 5155 h 21488"/>
              <a:gd name="connsiteX3" fmla="*/ 50 w 21473"/>
              <a:gd name="connsiteY3" fmla="*/ 9089 h 21488"/>
              <a:gd name="connsiteX4" fmla="*/ 367 w 21473"/>
              <a:gd name="connsiteY4" fmla="*/ 13412 h 21488"/>
              <a:gd name="connsiteX5" fmla="*/ 1961 w 21473"/>
              <a:gd name="connsiteY5" fmla="*/ 16736 h 21488"/>
              <a:gd name="connsiteX6" fmla="*/ 6196 w 21473"/>
              <a:gd name="connsiteY6" fmla="*/ 17438 h 21488"/>
              <a:gd name="connsiteX7" fmla="*/ 4711 w 21473"/>
              <a:gd name="connsiteY7" fmla="*/ 20041 h 21488"/>
              <a:gd name="connsiteX8" fmla="*/ 7376 w 21473"/>
              <a:gd name="connsiteY8" fmla="*/ 21174 h 21488"/>
              <a:gd name="connsiteX9" fmla="*/ 10206 w 21473"/>
              <a:gd name="connsiteY9" fmla="*/ 21487 h 21488"/>
              <a:gd name="connsiteX10" fmla="*/ 16122 w 21473"/>
              <a:gd name="connsiteY10" fmla="*/ 19852 h 21488"/>
              <a:gd name="connsiteX11" fmla="*/ 20204 w 21473"/>
              <a:gd name="connsiteY11" fmla="*/ 15632 h 21488"/>
              <a:gd name="connsiteX12" fmla="*/ 21218 w 21473"/>
              <a:gd name="connsiteY12" fmla="*/ 12780 h 21488"/>
              <a:gd name="connsiteX13" fmla="*/ 21451 w 21473"/>
              <a:gd name="connsiteY13" fmla="*/ 9614 h 21488"/>
              <a:gd name="connsiteX14" fmla="*/ 18414 w 21473"/>
              <a:gd name="connsiteY14" fmla="*/ 2817 h 21488"/>
              <a:gd name="connsiteX15" fmla="*/ 15213 w 21473"/>
              <a:gd name="connsiteY15" fmla="*/ 859 h 21488"/>
              <a:gd name="connsiteX16" fmla="*/ 11479 w 21473"/>
              <a:gd name="connsiteY16" fmla="*/ 23 h 21488"/>
              <a:gd name="connsiteX0" fmla="*/ 11479 w 21473"/>
              <a:gd name="connsiteY0" fmla="*/ 23 h 21488"/>
              <a:gd name="connsiteX1" fmla="*/ 5717 w 21473"/>
              <a:gd name="connsiteY1" fmla="*/ 1085 h 21488"/>
              <a:gd name="connsiteX2" fmla="*/ 1234 w 21473"/>
              <a:gd name="connsiteY2" fmla="*/ 5155 h 21488"/>
              <a:gd name="connsiteX3" fmla="*/ 50 w 21473"/>
              <a:gd name="connsiteY3" fmla="*/ 9089 h 21488"/>
              <a:gd name="connsiteX4" fmla="*/ 367 w 21473"/>
              <a:gd name="connsiteY4" fmla="*/ 13412 h 21488"/>
              <a:gd name="connsiteX5" fmla="*/ 1961 w 21473"/>
              <a:gd name="connsiteY5" fmla="*/ 16736 h 21488"/>
              <a:gd name="connsiteX6" fmla="*/ 6196 w 21473"/>
              <a:gd name="connsiteY6" fmla="*/ 17438 h 21488"/>
              <a:gd name="connsiteX7" fmla="*/ 4711 w 21473"/>
              <a:gd name="connsiteY7" fmla="*/ 20041 h 21488"/>
              <a:gd name="connsiteX8" fmla="*/ 7376 w 21473"/>
              <a:gd name="connsiteY8" fmla="*/ 21174 h 21488"/>
              <a:gd name="connsiteX9" fmla="*/ 10206 w 21473"/>
              <a:gd name="connsiteY9" fmla="*/ 21487 h 21488"/>
              <a:gd name="connsiteX10" fmla="*/ 16122 w 21473"/>
              <a:gd name="connsiteY10" fmla="*/ 19852 h 21488"/>
              <a:gd name="connsiteX11" fmla="*/ 20204 w 21473"/>
              <a:gd name="connsiteY11" fmla="*/ 15632 h 21488"/>
              <a:gd name="connsiteX12" fmla="*/ 21218 w 21473"/>
              <a:gd name="connsiteY12" fmla="*/ 12780 h 21488"/>
              <a:gd name="connsiteX13" fmla="*/ 21451 w 21473"/>
              <a:gd name="connsiteY13" fmla="*/ 9614 h 21488"/>
              <a:gd name="connsiteX14" fmla="*/ 18414 w 21473"/>
              <a:gd name="connsiteY14" fmla="*/ 2817 h 21488"/>
              <a:gd name="connsiteX15" fmla="*/ 15213 w 21473"/>
              <a:gd name="connsiteY15" fmla="*/ 859 h 21488"/>
              <a:gd name="connsiteX16" fmla="*/ 11479 w 21473"/>
              <a:gd name="connsiteY16" fmla="*/ 23 h 21488"/>
              <a:gd name="connsiteX0" fmla="*/ 11479 w 21473"/>
              <a:gd name="connsiteY0" fmla="*/ 23 h 21568"/>
              <a:gd name="connsiteX1" fmla="*/ 5717 w 21473"/>
              <a:gd name="connsiteY1" fmla="*/ 1085 h 21568"/>
              <a:gd name="connsiteX2" fmla="*/ 1234 w 21473"/>
              <a:gd name="connsiteY2" fmla="*/ 5155 h 21568"/>
              <a:gd name="connsiteX3" fmla="*/ 50 w 21473"/>
              <a:gd name="connsiteY3" fmla="*/ 9089 h 21568"/>
              <a:gd name="connsiteX4" fmla="*/ 367 w 21473"/>
              <a:gd name="connsiteY4" fmla="*/ 13412 h 21568"/>
              <a:gd name="connsiteX5" fmla="*/ 1961 w 21473"/>
              <a:gd name="connsiteY5" fmla="*/ 16736 h 21568"/>
              <a:gd name="connsiteX6" fmla="*/ 6196 w 21473"/>
              <a:gd name="connsiteY6" fmla="*/ 17438 h 21568"/>
              <a:gd name="connsiteX7" fmla="*/ 8646 w 21473"/>
              <a:gd name="connsiteY7" fmla="*/ 17760 h 21568"/>
              <a:gd name="connsiteX8" fmla="*/ 7376 w 21473"/>
              <a:gd name="connsiteY8" fmla="*/ 21174 h 21568"/>
              <a:gd name="connsiteX9" fmla="*/ 10206 w 21473"/>
              <a:gd name="connsiteY9" fmla="*/ 21487 h 21568"/>
              <a:gd name="connsiteX10" fmla="*/ 16122 w 21473"/>
              <a:gd name="connsiteY10" fmla="*/ 19852 h 21568"/>
              <a:gd name="connsiteX11" fmla="*/ 20204 w 21473"/>
              <a:gd name="connsiteY11" fmla="*/ 15632 h 21568"/>
              <a:gd name="connsiteX12" fmla="*/ 21218 w 21473"/>
              <a:gd name="connsiteY12" fmla="*/ 12780 h 21568"/>
              <a:gd name="connsiteX13" fmla="*/ 21451 w 21473"/>
              <a:gd name="connsiteY13" fmla="*/ 9614 h 21568"/>
              <a:gd name="connsiteX14" fmla="*/ 18414 w 21473"/>
              <a:gd name="connsiteY14" fmla="*/ 2817 h 21568"/>
              <a:gd name="connsiteX15" fmla="*/ 15213 w 21473"/>
              <a:gd name="connsiteY15" fmla="*/ 859 h 21568"/>
              <a:gd name="connsiteX16" fmla="*/ 11479 w 21473"/>
              <a:gd name="connsiteY16" fmla="*/ 23 h 21568"/>
              <a:gd name="connsiteX0" fmla="*/ 11479 w 21473"/>
              <a:gd name="connsiteY0" fmla="*/ 23 h 21548"/>
              <a:gd name="connsiteX1" fmla="*/ 5717 w 21473"/>
              <a:gd name="connsiteY1" fmla="*/ 1085 h 21548"/>
              <a:gd name="connsiteX2" fmla="*/ 1234 w 21473"/>
              <a:gd name="connsiteY2" fmla="*/ 5155 h 21548"/>
              <a:gd name="connsiteX3" fmla="*/ 50 w 21473"/>
              <a:gd name="connsiteY3" fmla="*/ 9089 h 21548"/>
              <a:gd name="connsiteX4" fmla="*/ 367 w 21473"/>
              <a:gd name="connsiteY4" fmla="*/ 13412 h 21548"/>
              <a:gd name="connsiteX5" fmla="*/ 1961 w 21473"/>
              <a:gd name="connsiteY5" fmla="*/ 16736 h 21548"/>
              <a:gd name="connsiteX6" fmla="*/ 6196 w 21473"/>
              <a:gd name="connsiteY6" fmla="*/ 17438 h 21548"/>
              <a:gd name="connsiteX7" fmla="*/ 8646 w 21473"/>
              <a:gd name="connsiteY7" fmla="*/ 17760 h 21548"/>
              <a:gd name="connsiteX8" fmla="*/ 11014 w 21473"/>
              <a:gd name="connsiteY8" fmla="*/ 18044 h 21548"/>
              <a:gd name="connsiteX9" fmla="*/ 10206 w 21473"/>
              <a:gd name="connsiteY9" fmla="*/ 21487 h 21548"/>
              <a:gd name="connsiteX10" fmla="*/ 16122 w 21473"/>
              <a:gd name="connsiteY10" fmla="*/ 19852 h 21548"/>
              <a:gd name="connsiteX11" fmla="*/ 20204 w 21473"/>
              <a:gd name="connsiteY11" fmla="*/ 15632 h 21548"/>
              <a:gd name="connsiteX12" fmla="*/ 21218 w 21473"/>
              <a:gd name="connsiteY12" fmla="*/ 12780 h 21548"/>
              <a:gd name="connsiteX13" fmla="*/ 21451 w 21473"/>
              <a:gd name="connsiteY13" fmla="*/ 9614 h 21548"/>
              <a:gd name="connsiteX14" fmla="*/ 18414 w 21473"/>
              <a:gd name="connsiteY14" fmla="*/ 2817 h 21548"/>
              <a:gd name="connsiteX15" fmla="*/ 15213 w 21473"/>
              <a:gd name="connsiteY15" fmla="*/ 859 h 21548"/>
              <a:gd name="connsiteX16" fmla="*/ 11479 w 21473"/>
              <a:gd name="connsiteY16" fmla="*/ 23 h 21548"/>
              <a:gd name="connsiteX0" fmla="*/ 11479 w 21473"/>
              <a:gd name="connsiteY0" fmla="*/ 23 h 19865"/>
              <a:gd name="connsiteX1" fmla="*/ 5717 w 21473"/>
              <a:gd name="connsiteY1" fmla="*/ 1085 h 19865"/>
              <a:gd name="connsiteX2" fmla="*/ 1234 w 21473"/>
              <a:gd name="connsiteY2" fmla="*/ 5155 h 19865"/>
              <a:gd name="connsiteX3" fmla="*/ 50 w 21473"/>
              <a:gd name="connsiteY3" fmla="*/ 9089 h 19865"/>
              <a:gd name="connsiteX4" fmla="*/ 367 w 21473"/>
              <a:gd name="connsiteY4" fmla="*/ 13412 h 19865"/>
              <a:gd name="connsiteX5" fmla="*/ 1961 w 21473"/>
              <a:gd name="connsiteY5" fmla="*/ 16736 h 19865"/>
              <a:gd name="connsiteX6" fmla="*/ 6196 w 21473"/>
              <a:gd name="connsiteY6" fmla="*/ 17438 h 19865"/>
              <a:gd name="connsiteX7" fmla="*/ 8646 w 21473"/>
              <a:gd name="connsiteY7" fmla="*/ 17760 h 19865"/>
              <a:gd name="connsiteX8" fmla="*/ 11014 w 21473"/>
              <a:gd name="connsiteY8" fmla="*/ 18044 h 19865"/>
              <a:gd name="connsiteX9" fmla="*/ 13912 w 21473"/>
              <a:gd name="connsiteY9" fmla="*/ 17031 h 19865"/>
              <a:gd name="connsiteX10" fmla="*/ 16122 w 21473"/>
              <a:gd name="connsiteY10" fmla="*/ 19852 h 19865"/>
              <a:gd name="connsiteX11" fmla="*/ 20204 w 21473"/>
              <a:gd name="connsiteY11" fmla="*/ 15632 h 19865"/>
              <a:gd name="connsiteX12" fmla="*/ 21218 w 21473"/>
              <a:gd name="connsiteY12" fmla="*/ 12780 h 19865"/>
              <a:gd name="connsiteX13" fmla="*/ 21451 w 21473"/>
              <a:gd name="connsiteY13" fmla="*/ 9614 h 19865"/>
              <a:gd name="connsiteX14" fmla="*/ 18414 w 21473"/>
              <a:gd name="connsiteY14" fmla="*/ 2817 h 19865"/>
              <a:gd name="connsiteX15" fmla="*/ 15213 w 21473"/>
              <a:gd name="connsiteY15" fmla="*/ 859 h 19865"/>
              <a:gd name="connsiteX16" fmla="*/ 11479 w 21473"/>
              <a:gd name="connsiteY16" fmla="*/ 23 h 19865"/>
              <a:gd name="connsiteX0" fmla="*/ 11479 w 21473"/>
              <a:gd name="connsiteY0" fmla="*/ 23 h 18072"/>
              <a:gd name="connsiteX1" fmla="*/ 5717 w 21473"/>
              <a:gd name="connsiteY1" fmla="*/ 1085 h 18072"/>
              <a:gd name="connsiteX2" fmla="*/ 1234 w 21473"/>
              <a:gd name="connsiteY2" fmla="*/ 5155 h 18072"/>
              <a:gd name="connsiteX3" fmla="*/ 50 w 21473"/>
              <a:gd name="connsiteY3" fmla="*/ 9089 h 18072"/>
              <a:gd name="connsiteX4" fmla="*/ 367 w 21473"/>
              <a:gd name="connsiteY4" fmla="*/ 13412 h 18072"/>
              <a:gd name="connsiteX5" fmla="*/ 1961 w 21473"/>
              <a:gd name="connsiteY5" fmla="*/ 16736 h 18072"/>
              <a:gd name="connsiteX6" fmla="*/ 6196 w 21473"/>
              <a:gd name="connsiteY6" fmla="*/ 17438 h 18072"/>
              <a:gd name="connsiteX7" fmla="*/ 8646 w 21473"/>
              <a:gd name="connsiteY7" fmla="*/ 17760 h 18072"/>
              <a:gd name="connsiteX8" fmla="*/ 11014 w 21473"/>
              <a:gd name="connsiteY8" fmla="*/ 18044 h 18072"/>
              <a:gd name="connsiteX9" fmla="*/ 13912 w 21473"/>
              <a:gd name="connsiteY9" fmla="*/ 17031 h 18072"/>
              <a:gd name="connsiteX10" fmla="*/ 15619 w 21473"/>
              <a:gd name="connsiteY10" fmla="*/ 16855 h 18072"/>
              <a:gd name="connsiteX11" fmla="*/ 20204 w 21473"/>
              <a:gd name="connsiteY11" fmla="*/ 15632 h 18072"/>
              <a:gd name="connsiteX12" fmla="*/ 21218 w 21473"/>
              <a:gd name="connsiteY12" fmla="*/ 12780 h 18072"/>
              <a:gd name="connsiteX13" fmla="*/ 21451 w 21473"/>
              <a:gd name="connsiteY13" fmla="*/ 9614 h 18072"/>
              <a:gd name="connsiteX14" fmla="*/ 18414 w 21473"/>
              <a:gd name="connsiteY14" fmla="*/ 2817 h 18072"/>
              <a:gd name="connsiteX15" fmla="*/ 15213 w 21473"/>
              <a:gd name="connsiteY15" fmla="*/ 859 h 18072"/>
              <a:gd name="connsiteX16" fmla="*/ 11479 w 21473"/>
              <a:gd name="connsiteY16" fmla="*/ 23 h 18072"/>
              <a:gd name="connsiteX0" fmla="*/ 11479 w 21630"/>
              <a:gd name="connsiteY0" fmla="*/ 23 h 18072"/>
              <a:gd name="connsiteX1" fmla="*/ 5717 w 21630"/>
              <a:gd name="connsiteY1" fmla="*/ 1085 h 18072"/>
              <a:gd name="connsiteX2" fmla="*/ 1234 w 21630"/>
              <a:gd name="connsiteY2" fmla="*/ 5155 h 18072"/>
              <a:gd name="connsiteX3" fmla="*/ 50 w 21630"/>
              <a:gd name="connsiteY3" fmla="*/ 9089 h 18072"/>
              <a:gd name="connsiteX4" fmla="*/ 367 w 21630"/>
              <a:gd name="connsiteY4" fmla="*/ 13412 h 18072"/>
              <a:gd name="connsiteX5" fmla="*/ 1961 w 21630"/>
              <a:gd name="connsiteY5" fmla="*/ 16736 h 18072"/>
              <a:gd name="connsiteX6" fmla="*/ 6196 w 21630"/>
              <a:gd name="connsiteY6" fmla="*/ 17438 h 18072"/>
              <a:gd name="connsiteX7" fmla="*/ 8646 w 21630"/>
              <a:gd name="connsiteY7" fmla="*/ 17760 h 18072"/>
              <a:gd name="connsiteX8" fmla="*/ 11014 w 21630"/>
              <a:gd name="connsiteY8" fmla="*/ 18044 h 18072"/>
              <a:gd name="connsiteX9" fmla="*/ 13912 w 21630"/>
              <a:gd name="connsiteY9" fmla="*/ 17031 h 18072"/>
              <a:gd name="connsiteX10" fmla="*/ 15619 w 21630"/>
              <a:gd name="connsiteY10" fmla="*/ 16855 h 18072"/>
              <a:gd name="connsiteX11" fmla="*/ 17184 w 21630"/>
              <a:gd name="connsiteY11" fmla="*/ 14677 h 18072"/>
              <a:gd name="connsiteX12" fmla="*/ 21218 w 21630"/>
              <a:gd name="connsiteY12" fmla="*/ 12780 h 18072"/>
              <a:gd name="connsiteX13" fmla="*/ 21451 w 21630"/>
              <a:gd name="connsiteY13" fmla="*/ 9614 h 18072"/>
              <a:gd name="connsiteX14" fmla="*/ 18414 w 21630"/>
              <a:gd name="connsiteY14" fmla="*/ 2817 h 18072"/>
              <a:gd name="connsiteX15" fmla="*/ 15213 w 21630"/>
              <a:gd name="connsiteY15" fmla="*/ 859 h 18072"/>
              <a:gd name="connsiteX16" fmla="*/ 11479 w 21630"/>
              <a:gd name="connsiteY16" fmla="*/ 23 h 18072"/>
              <a:gd name="connsiteX0" fmla="*/ 11479 w 21511"/>
              <a:gd name="connsiteY0" fmla="*/ 23 h 18072"/>
              <a:gd name="connsiteX1" fmla="*/ 5717 w 21511"/>
              <a:gd name="connsiteY1" fmla="*/ 1085 h 18072"/>
              <a:gd name="connsiteX2" fmla="*/ 1234 w 21511"/>
              <a:gd name="connsiteY2" fmla="*/ 5155 h 18072"/>
              <a:gd name="connsiteX3" fmla="*/ 50 w 21511"/>
              <a:gd name="connsiteY3" fmla="*/ 9089 h 18072"/>
              <a:gd name="connsiteX4" fmla="*/ 367 w 21511"/>
              <a:gd name="connsiteY4" fmla="*/ 13412 h 18072"/>
              <a:gd name="connsiteX5" fmla="*/ 1961 w 21511"/>
              <a:gd name="connsiteY5" fmla="*/ 16736 h 18072"/>
              <a:gd name="connsiteX6" fmla="*/ 6196 w 21511"/>
              <a:gd name="connsiteY6" fmla="*/ 17438 h 18072"/>
              <a:gd name="connsiteX7" fmla="*/ 8646 w 21511"/>
              <a:gd name="connsiteY7" fmla="*/ 17760 h 18072"/>
              <a:gd name="connsiteX8" fmla="*/ 11014 w 21511"/>
              <a:gd name="connsiteY8" fmla="*/ 18044 h 18072"/>
              <a:gd name="connsiteX9" fmla="*/ 13912 w 21511"/>
              <a:gd name="connsiteY9" fmla="*/ 17031 h 18072"/>
              <a:gd name="connsiteX10" fmla="*/ 15619 w 21511"/>
              <a:gd name="connsiteY10" fmla="*/ 16855 h 18072"/>
              <a:gd name="connsiteX11" fmla="*/ 19106 w 21511"/>
              <a:gd name="connsiteY11" fmla="*/ 15924 h 18072"/>
              <a:gd name="connsiteX12" fmla="*/ 21218 w 21511"/>
              <a:gd name="connsiteY12" fmla="*/ 12780 h 18072"/>
              <a:gd name="connsiteX13" fmla="*/ 21451 w 21511"/>
              <a:gd name="connsiteY13" fmla="*/ 9614 h 18072"/>
              <a:gd name="connsiteX14" fmla="*/ 18414 w 21511"/>
              <a:gd name="connsiteY14" fmla="*/ 2817 h 18072"/>
              <a:gd name="connsiteX15" fmla="*/ 15213 w 21511"/>
              <a:gd name="connsiteY15" fmla="*/ 859 h 18072"/>
              <a:gd name="connsiteX16" fmla="*/ 11479 w 21511"/>
              <a:gd name="connsiteY16" fmla="*/ 23 h 18072"/>
              <a:gd name="connsiteX0" fmla="*/ 11479 w 21511"/>
              <a:gd name="connsiteY0" fmla="*/ 23 h 18072"/>
              <a:gd name="connsiteX1" fmla="*/ 5717 w 21511"/>
              <a:gd name="connsiteY1" fmla="*/ 1085 h 18072"/>
              <a:gd name="connsiteX2" fmla="*/ 1234 w 21511"/>
              <a:gd name="connsiteY2" fmla="*/ 5155 h 18072"/>
              <a:gd name="connsiteX3" fmla="*/ 50 w 21511"/>
              <a:gd name="connsiteY3" fmla="*/ 9089 h 18072"/>
              <a:gd name="connsiteX4" fmla="*/ 367 w 21511"/>
              <a:gd name="connsiteY4" fmla="*/ 13412 h 18072"/>
              <a:gd name="connsiteX5" fmla="*/ 1961 w 21511"/>
              <a:gd name="connsiteY5" fmla="*/ 16736 h 18072"/>
              <a:gd name="connsiteX6" fmla="*/ 6196 w 21511"/>
              <a:gd name="connsiteY6" fmla="*/ 17438 h 18072"/>
              <a:gd name="connsiteX7" fmla="*/ 8646 w 21511"/>
              <a:gd name="connsiteY7" fmla="*/ 17760 h 18072"/>
              <a:gd name="connsiteX8" fmla="*/ 11014 w 21511"/>
              <a:gd name="connsiteY8" fmla="*/ 18044 h 18072"/>
              <a:gd name="connsiteX9" fmla="*/ 13912 w 21511"/>
              <a:gd name="connsiteY9" fmla="*/ 17031 h 18072"/>
              <a:gd name="connsiteX10" fmla="*/ 15619 w 21511"/>
              <a:gd name="connsiteY10" fmla="*/ 16855 h 18072"/>
              <a:gd name="connsiteX11" fmla="*/ 19106 w 21511"/>
              <a:gd name="connsiteY11" fmla="*/ 15924 h 18072"/>
              <a:gd name="connsiteX12" fmla="*/ 21218 w 21511"/>
              <a:gd name="connsiteY12" fmla="*/ 12780 h 18072"/>
              <a:gd name="connsiteX13" fmla="*/ 21451 w 21511"/>
              <a:gd name="connsiteY13" fmla="*/ 9614 h 18072"/>
              <a:gd name="connsiteX14" fmla="*/ 18414 w 21511"/>
              <a:gd name="connsiteY14" fmla="*/ 2817 h 18072"/>
              <a:gd name="connsiteX15" fmla="*/ 15213 w 21511"/>
              <a:gd name="connsiteY15" fmla="*/ 859 h 18072"/>
              <a:gd name="connsiteX16" fmla="*/ 11479 w 21511"/>
              <a:gd name="connsiteY16" fmla="*/ 23 h 18072"/>
              <a:gd name="connsiteX0" fmla="*/ 11479 w 21511"/>
              <a:gd name="connsiteY0" fmla="*/ 23 h 18072"/>
              <a:gd name="connsiteX1" fmla="*/ 5717 w 21511"/>
              <a:gd name="connsiteY1" fmla="*/ 1085 h 18072"/>
              <a:gd name="connsiteX2" fmla="*/ 1234 w 21511"/>
              <a:gd name="connsiteY2" fmla="*/ 5155 h 18072"/>
              <a:gd name="connsiteX3" fmla="*/ 50 w 21511"/>
              <a:gd name="connsiteY3" fmla="*/ 9089 h 18072"/>
              <a:gd name="connsiteX4" fmla="*/ 367 w 21511"/>
              <a:gd name="connsiteY4" fmla="*/ 13412 h 18072"/>
              <a:gd name="connsiteX5" fmla="*/ 1961 w 21511"/>
              <a:gd name="connsiteY5" fmla="*/ 16736 h 18072"/>
              <a:gd name="connsiteX6" fmla="*/ 6196 w 21511"/>
              <a:gd name="connsiteY6" fmla="*/ 17438 h 18072"/>
              <a:gd name="connsiteX7" fmla="*/ 8646 w 21511"/>
              <a:gd name="connsiteY7" fmla="*/ 17760 h 18072"/>
              <a:gd name="connsiteX8" fmla="*/ 11014 w 21511"/>
              <a:gd name="connsiteY8" fmla="*/ 18044 h 18072"/>
              <a:gd name="connsiteX9" fmla="*/ 13912 w 21511"/>
              <a:gd name="connsiteY9" fmla="*/ 17031 h 18072"/>
              <a:gd name="connsiteX10" fmla="*/ 15619 w 21511"/>
              <a:gd name="connsiteY10" fmla="*/ 16855 h 18072"/>
              <a:gd name="connsiteX11" fmla="*/ 19106 w 21511"/>
              <a:gd name="connsiteY11" fmla="*/ 15924 h 18072"/>
              <a:gd name="connsiteX12" fmla="*/ 21218 w 21511"/>
              <a:gd name="connsiteY12" fmla="*/ 12780 h 18072"/>
              <a:gd name="connsiteX13" fmla="*/ 21451 w 21511"/>
              <a:gd name="connsiteY13" fmla="*/ 9614 h 18072"/>
              <a:gd name="connsiteX14" fmla="*/ 18414 w 21511"/>
              <a:gd name="connsiteY14" fmla="*/ 2817 h 18072"/>
              <a:gd name="connsiteX15" fmla="*/ 15213 w 21511"/>
              <a:gd name="connsiteY15" fmla="*/ 859 h 18072"/>
              <a:gd name="connsiteX16" fmla="*/ 11479 w 21511"/>
              <a:gd name="connsiteY16" fmla="*/ 23 h 18072"/>
              <a:gd name="connsiteX0" fmla="*/ 11479 w 21247"/>
              <a:gd name="connsiteY0" fmla="*/ 23 h 18072"/>
              <a:gd name="connsiteX1" fmla="*/ 5717 w 21247"/>
              <a:gd name="connsiteY1" fmla="*/ 1085 h 18072"/>
              <a:gd name="connsiteX2" fmla="*/ 1234 w 21247"/>
              <a:gd name="connsiteY2" fmla="*/ 5155 h 18072"/>
              <a:gd name="connsiteX3" fmla="*/ 50 w 21247"/>
              <a:gd name="connsiteY3" fmla="*/ 9089 h 18072"/>
              <a:gd name="connsiteX4" fmla="*/ 367 w 21247"/>
              <a:gd name="connsiteY4" fmla="*/ 13412 h 18072"/>
              <a:gd name="connsiteX5" fmla="*/ 1961 w 21247"/>
              <a:gd name="connsiteY5" fmla="*/ 16736 h 18072"/>
              <a:gd name="connsiteX6" fmla="*/ 6196 w 21247"/>
              <a:gd name="connsiteY6" fmla="*/ 17438 h 18072"/>
              <a:gd name="connsiteX7" fmla="*/ 8646 w 21247"/>
              <a:gd name="connsiteY7" fmla="*/ 17760 h 18072"/>
              <a:gd name="connsiteX8" fmla="*/ 11014 w 21247"/>
              <a:gd name="connsiteY8" fmla="*/ 18044 h 18072"/>
              <a:gd name="connsiteX9" fmla="*/ 13912 w 21247"/>
              <a:gd name="connsiteY9" fmla="*/ 17031 h 18072"/>
              <a:gd name="connsiteX10" fmla="*/ 15619 w 21247"/>
              <a:gd name="connsiteY10" fmla="*/ 16855 h 18072"/>
              <a:gd name="connsiteX11" fmla="*/ 19106 w 21247"/>
              <a:gd name="connsiteY11" fmla="*/ 15924 h 18072"/>
              <a:gd name="connsiteX12" fmla="*/ 21218 w 21247"/>
              <a:gd name="connsiteY12" fmla="*/ 12780 h 18072"/>
              <a:gd name="connsiteX13" fmla="*/ 20376 w 21247"/>
              <a:gd name="connsiteY13" fmla="*/ 9534 h 18072"/>
              <a:gd name="connsiteX14" fmla="*/ 18414 w 21247"/>
              <a:gd name="connsiteY14" fmla="*/ 2817 h 18072"/>
              <a:gd name="connsiteX15" fmla="*/ 15213 w 21247"/>
              <a:gd name="connsiteY15" fmla="*/ 859 h 18072"/>
              <a:gd name="connsiteX16" fmla="*/ 11479 w 21247"/>
              <a:gd name="connsiteY16" fmla="*/ 23 h 18072"/>
              <a:gd name="connsiteX0" fmla="*/ 11479 w 21247"/>
              <a:gd name="connsiteY0" fmla="*/ 23 h 18072"/>
              <a:gd name="connsiteX1" fmla="*/ 5717 w 21247"/>
              <a:gd name="connsiteY1" fmla="*/ 1085 h 18072"/>
              <a:gd name="connsiteX2" fmla="*/ 1234 w 21247"/>
              <a:gd name="connsiteY2" fmla="*/ 5155 h 18072"/>
              <a:gd name="connsiteX3" fmla="*/ 50 w 21247"/>
              <a:gd name="connsiteY3" fmla="*/ 9089 h 18072"/>
              <a:gd name="connsiteX4" fmla="*/ 367 w 21247"/>
              <a:gd name="connsiteY4" fmla="*/ 13412 h 18072"/>
              <a:gd name="connsiteX5" fmla="*/ 1961 w 21247"/>
              <a:gd name="connsiteY5" fmla="*/ 16736 h 18072"/>
              <a:gd name="connsiteX6" fmla="*/ 6196 w 21247"/>
              <a:gd name="connsiteY6" fmla="*/ 17438 h 18072"/>
              <a:gd name="connsiteX7" fmla="*/ 8646 w 21247"/>
              <a:gd name="connsiteY7" fmla="*/ 17760 h 18072"/>
              <a:gd name="connsiteX8" fmla="*/ 11014 w 21247"/>
              <a:gd name="connsiteY8" fmla="*/ 18044 h 18072"/>
              <a:gd name="connsiteX9" fmla="*/ 13912 w 21247"/>
              <a:gd name="connsiteY9" fmla="*/ 17031 h 18072"/>
              <a:gd name="connsiteX10" fmla="*/ 15619 w 21247"/>
              <a:gd name="connsiteY10" fmla="*/ 16855 h 18072"/>
              <a:gd name="connsiteX11" fmla="*/ 19106 w 21247"/>
              <a:gd name="connsiteY11" fmla="*/ 15924 h 18072"/>
              <a:gd name="connsiteX12" fmla="*/ 21218 w 21247"/>
              <a:gd name="connsiteY12" fmla="*/ 12780 h 18072"/>
              <a:gd name="connsiteX13" fmla="*/ 20376 w 21247"/>
              <a:gd name="connsiteY13" fmla="*/ 9534 h 18072"/>
              <a:gd name="connsiteX14" fmla="*/ 18414 w 21247"/>
              <a:gd name="connsiteY14" fmla="*/ 2817 h 18072"/>
              <a:gd name="connsiteX15" fmla="*/ 15213 w 21247"/>
              <a:gd name="connsiteY15" fmla="*/ 859 h 18072"/>
              <a:gd name="connsiteX16" fmla="*/ 11479 w 21247"/>
              <a:gd name="connsiteY16" fmla="*/ 23 h 18072"/>
              <a:gd name="connsiteX0" fmla="*/ 11479 w 21218"/>
              <a:gd name="connsiteY0" fmla="*/ 23 h 18072"/>
              <a:gd name="connsiteX1" fmla="*/ 5717 w 21218"/>
              <a:gd name="connsiteY1" fmla="*/ 1085 h 18072"/>
              <a:gd name="connsiteX2" fmla="*/ 1234 w 21218"/>
              <a:gd name="connsiteY2" fmla="*/ 5155 h 18072"/>
              <a:gd name="connsiteX3" fmla="*/ 50 w 21218"/>
              <a:gd name="connsiteY3" fmla="*/ 9089 h 18072"/>
              <a:gd name="connsiteX4" fmla="*/ 367 w 21218"/>
              <a:gd name="connsiteY4" fmla="*/ 13412 h 18072"/>
              <a:gd name="connsiteX5" fmla="*/ 1961 w 21218"/>
              <a:gd name="connsiteY5" fmla="*/ 16736 h 18072"/>
              <a:gd name="connsiteX6" fmla="*/ 6196 w 21218"/>
              <a:gd name="connsiteY6" fmla="*/ 17438 h 18072"/>
              <a:gd name="connsiteX7" fmla="*/ 8646 w 21218"/>
              <a:gd name="connsiteY7" fmla="*/ 17760 h 18072"/>
              <a:gd name="connsiteX8" fmla="*/ 11014 w 21218"/>
              <a:gd name="connsiteY8" fmla="*/ 18044 h 18072"/>
              <a:gd name="connsiteX9" fmla="*/ 13912 w 21218"/>
              <a:gd name="connsiteY9" fmla="*/ 17031 h 18072"/>
              <a:gd name="connsiteX10" fmla="*/ 15619 w 21218"/>
              <a:gd name="connsiteY10" fmla="*/ 16855 h 18072"/>
              <a:gd name="connsiteX11" fmla="*/ 19106 w 21218"/>
              <a:gd name="connsiteY11" fmla="*/ 15924 h 18072"/>
              <a:gd name="connsiteX12" fmla="*/ 21218 w 21218"/>
              <a:gd name="connsiteY12" fmla="*/ 12780 h 18072"/>
              <a:gd name="connsiteX13" fmla="*/ 19095 w 21218"/>
              <a:gd name="connsiteY13" fmla="*/ 5582 h 18072"/>
              <a:gd name="connsiteX14" fmla="*/ 18414 w 21218"/>
              <a:gd name="connsiteY14" fmla="*/ 2817 h 18072"/>
              <a:gd name="connsiteX15" fmla="*/ 15213 w 21218"/>
              <a:gd name="connsiteY15" fmla="*/ 859 h 18072"/>
              <a:gd name="connsiteX16" fmla="*/ 11479 w 21218"/>
              <a:gd name="connsiteY16" fmla="*/ 23 h 18072"/>
              <a:gd name="connsiteX0" fmla="*/ 11479 w 21218"/>
              <a:gd name="connsiteY0" fmla="*/ 23 h 18072"/>
              <a:gd name="connsiteX1" fmla="*/ 5717 w 21218"/>
              <a:gd name="connsiteY1" fmla="*/ 1085 h 18072"/>
              <a:gd name="connsiteX2" fmla="*/ 1234 w 21218"/>
              <a:gd name="connsiteY2" fmla="*/ 5155 h 18072"/>
              <a:gd name="connsiteX3" fmla="*/ 50 w 21218"/>
              <a:gd name="connsiteY3" fmla="*/ 9089 h 18072"/>
              <a:gd name="connsiteX4" fmla="*/ 367 w 21218"/>
              <a:gd name="connsiteY4" fmla="*/ 13412 h 18072"/>
              <a:gd name="connsiteX5" fmla="*/ 1961 w 21218"/>
              <a:gd name="connsiteY5" fmla="*/ 16736 h 18072"/>
              <a:gd name="connsiteX6" fmla="*/ 6196 w 21218"/>
              <a:gd name="connsiteY6" fmla="*/ 17438 h 18072"/>
              <a:gd name="connsiteX7" fmla="*/ 8646 w 21218"/>
              <a:gd name="connsiteY7" fmla="*/ 17760 h 18072"/>
              <a:gd name="connsiteX8" fmla="*/ 11014 w 21218"/>
              <a:gd name="connsiteY8" fmla="*/ 18044 h 18072"/>
              <a:gd name="connsiteX9" fmla="*/ 13912 w 21218"/>
              <a:gd name="connsiteY9" fmla="*/ 17031 h 18072"/>
              <a:gd name="connsiteX10" fmla="*/ 15619 w 21218"/>
              <a:gd name="connsiteY10" fmla="*/ 16855 h 18072"/>
              <a:gd name="connsiteX11" fmla="*/ 19106 w 21218"/>
              <a:gd name="connsiteY11" fmla="*/ 15924 h 18072"/>
              <a:gd name="connsiteX12" fmla="*/ 21218 w 21218"/>
              <a:gd name="connsiteY12" fmla="*/ 12780 h 18072"/>
              <a:gd name="connsiteX13" fmla="*/ 19095 w 21218"/>
              <a:gd name="connsiteY13" fmla="*/ 5582 h 18072"/>
              <a:gd name="connsiteX14" fmla="*/ 18414 w 21218"/>
              <a:gd name="connsiteY14" fmla="*/ 2817 h 18072"/>
              <a:gd name="connsiteX15" fmla="*/ 15213 w 21218"/>
              <a:gd name="connsiteY15" fmla="*/ 859 h 18072"/>
              <a:gd name="connsiteX16" fmla="*/ 11479 w 21218"/>
              <a:gd name="connsiteY16" fmla="*/ 23 h 18072"/>
              <a:gd name="connsiteX0" fmla="*/ 11479 w 21218"/>
              <a:gd name="connsiteY0" fmla="*/ 23 h 18072"/>
              <a:gd name="connsiteX1" fmla="*/ 5717 w 21218"/>
              <a:gd name="connsiteY1" fmla="*/ 1085 h 18072"/>
              <a:gd name="connsiteX2" fmla="*/ 1234 w 21218"/>
              <a:gd name="connsiteY2" fmla="*/ 5155 h 18072"/>
              <a:gd name="connsiteX3" fmla="*/ 50 w 21218"/>
              <a:gd name="connsiteY3" fmla="*/ 9089 h 18072"/>
              <a:gd name="connsiteX4" fmla="*/ 367 w 21218"/>
              <a:gd name="connsiteY4" fmla="*/ 13412 h 18072"/>
              <a:gd name="connsiteX5" fmla="*/ 1961 w 21218"/>
              <a:gd name="connsiteY5" fmla="*/ 16736 h 18072"/>
              <a:gd name="connsiteX6" fmla="*/ 6196 w 21218"/>
              <a:gd name="connsiteY6" fmla="*/ 17438 h 18072"/>
              <a:gd name="connsiteX7" fmla="*/ 8646 w 21218"/>
              <a:gd name="connsiteY7" fmla="*/ 17760 h 18072"/>
              <a:gd name="connsiteX8" fmla="*/ 11014 w 21218"/>
              <a:gd name="connsiteY8" fmla="*/ 18044 h 18072"/>
              <a:gd name="connsiteX9" fmla="*/ 13912 w 21218"/>
              <a:gd name="connsiteY9" fmla="*/ 17031 h 18072"/>
              <a:gd name="connsiteX10" fmla="*/ 15619 w 21218"/>
              <a:gd name="connsiteY10" fmla="*/ 16855 h 18072"/>
              <a:gd name="connsiteX11" fmla="*/ 19106 w 21218"/>
              <a:gd name="connsiteY11" fmla="*/ 15924 h 18072"/>
              <a:gd name="connsiteX12" fmla="*/ 21218 w 21218"/>
              <a:gd name="connsiteY12" fmla="*/ 12780 h 18072"/>
              <a:gd name="connsiteX13" fmla="*/ 19095 w 21218"/>
              <a:gd name="connsiteY13" fmla="*/ 5582 h 18072"/>
              <a:gd name="connsiteX14" fmla="*/ 18414 w 21218"/>
              <a:gd name="connsiteY14" fmla="*/ 2817 h 18072"/>
              <a:gd name="connsiteX15" fmla="*/ 15213 w 21218"/>
              <a:gd name="connsiteY15" fmla="*/ 859 h 18072"/>
              <a:gd name="connsiteX16" fmla="*/ 11479 w 21218"/>
              <a:gd name="connsiteY16" fmla="*/ 23 h 18072"/>
              <a:gd name="connsiteX0" fmla="*/ 11479 w 21218"/>
              <a:gd name="connsiteY0" fmla="*/ 23 h 18072"/>
              <a:gd name="connsiteX1" fmla="*/ 5717 w 21218"/>
              <a:gd name="connsiteY1" fmla="*/ 1085 h 18072"/>
              <a:gd name="connsiteX2" fmla="*/ 1234 w 21218"/>
              <a:gd name="connsiteY2" fmla="*/ 5155 h 18072"/>
              <a:gd name="connsiteX3" fmla="*/ 50 w 21218"/>
              <a:gd name="connsiteY3" fmla="*/ 9089 h 18072"/>
              <a:gd name="connsiteX4" fmla="*/ 367 w 21218"/>
              <a:gd name="connsiteY4" fmla="*/ 13412 h 18072"/>
              <a:gd name="connsiteX5" fmla="*/ 1961 w 21218"/>
              <a:gd name="connsiteY5" fmla="*/ 16736 h 18072"/>
              <a:gd name="connsiteX6" fmla="*/ 6196 w 21218"/>
              <a:gd name="connsiteY6" fmla="*/ 17438 h 18072"/>
              <a:gd name="connsiteX7" fmla="*/ 8646 w 21218"/>
              <a:gd name="connsiteY7" fmla="*/ 17760 h 18072"/>
              <a:gd name="connsiteX8" fmla="*/ 11014 w 21218"/>
              <a:gd name="connsiteY8" fmla="*/ 18044 h 18072"/>
              <a:gd name="connsiteX9" fmla="*/ 13912 w 21218"/>
              <a:gd name="connsiteY9" fmla="*/ 17031 h 18072"/>
              <a:gd name="connsiteX10" fmla="*/ 15619 w 21218"/>
              <a:gd name="connsiteY10" fmla="*/ 16855 h 18072"/>
              <a:gd name="connsiteX11" fmla="*/ 19106 w 21218"/>
              <a:gd name="connsiteY11" fmla="*/ 15924 h 18072"/>
              <a:gd name="connsiteX12" fmla="*/ 21218 w 21218"/>
              <a:gd name="connsiteY12" fmla="*/ 12780 h 18072"/>
              <a:gd name="connsiteX13" fmla="*/ 19095 w 21218"/>
              <a:gd name="connsiteY13" fmla="*/ 5582 h 18072"/>
              <a:gd name="connsiteX14" fmla="*/ 18414 w 21218"/>
              <a:gd name="connsiteY14" fmla="*/ 2817 h 18072"/>
              <a:gd name="connsiteX15" fmla="*/ 15213 w 21218"/>
              <a:gd name="connsiteY15" fmla="*/ 859 h 18072"/>
              <a:gd name="connsiteX16" fmla="*/ 11479 w 21218"/>
              <a:gd name="connsiteY16" fmla="*/ 23 h 18072"/>
              <a:gd name="connsiteX0" fmla="*/ 11479 w 21218"/>
              <a:gd name="connsiteY0" fmla="*/ 23 h 18072"/>
              <a:gd name="connsiteX1" fmla="*/ 5717 w 21218"/>
              <a:gd name="connsiteY1" fmla="*/ 1085 h 18072"/>
              <a:gd name="connsiteX2" fmla="*/ 1234 w 21218"/>
              <a:gd name="connsiteY2" fmla="*/ 5155 h 18072"/>
              <a:gd name="connsiteX3" fmla="*/ 50 w 21218"/>
              <a:gd name="connsiteY3" fmla="*/ 9089 h 18072"/>
              <a:gd name="connsiteX4" fmla="*/ 367 w 21218"/>
              <a:gd name="connsiteY4" fmla="*/ 13412 h 18072"/>
              <a:gd name="connsiteX5" fmla="*/ 1961 w 21218"/>
              <a:gd name="connsiteY5" fmla="*/ 16736 h 18072"/>
              <a:gd name="connsiteX6" fmla="*/ 6196 w 21218"/>
              <a:gd name="connsiteY6" fmla="*/ 17438 h 18072"/>
              <a:gd name="connsiteX7" fmla="*/ 8646 w 21218"/>
              <a:gd name="connsiteY7" fmla="*/ 17760 h 18072"/>
              <a:gd name="connsiteX8" fmla="*/ 11014 w 21218"/>
              <a:gd name="connsiteY8" fmla="*/ 18044 h 18072"/>
              <a:gd name="connsiteX9" fmla="*/ 13912 w 21218"/>
              <a:gd name="connsiteY9" fmla="*/ 17031 h 18072"/>
              <a:gd name="connsiteX10" fmla="*/ 15619 w 21218"/>
              <a:gd name="connsiteY10" fmla="*/ 16855 h 18072"/>
              <a:gd name="connsiteX11" fmla="*/ 19106 w 21218"/>
              <a:gd name="connsiteY11" fmla="*/ 15924 h 18072"/>
              <a:gd name="connsiteX12" fmla="*/ 21218 w 21218"/>
              <a:gd name="connsiteY12" fmla="*/ 12780 h 18072"/>
              <a:gd name="connsiteX13" fmla="*/ 19095 w 21218"/>
              <a:gd name="connsiteY13" fmla="*/ 5582 h 18072"/>
              <a:gd name="connsiteX14" fmla="*/ 18414 w 21218"/>
              <a:gd name="connsiteY14" fmla="*/ 2817 h 18072"/>
              <a:gd name="connsiteX15" fmla="*/ 15213 w 21218"/>
              <a:gd name="connsiteY15" fmla="*/ 859 h 18072"/>
              <a:gd name="connsiteX16" fmla="*/ 11479 w 21218"/>
              <a:gd name="connsiteY16" fmla="*/ 23 h 18072"/>
              <a:gd name="connsiteX0" fmla="*/ 11479 w 21218"/>
              <a:gd name="connsiteY0" fmla="*/ 23 h 18072"/>
              <a:gd name="connsiteX1" fmla="*/ 5717 w 21218"/>
              <a:gd name="connsiteY1" fmla="*/ 1085 h 18072"/>
              <a:gd name="connsiteX2" fmla="*/ 1234 w 21218"/>
              <a:gd name="connsiteY2" fmla="*/ 5155 h 18072"/>
              <a:gd name="connsiteX3" fmla="*/ 50 w 21218"/>
              <a:gd name="connsiteY3" fmla="*/ 9089 h 18072"/>
              <a:gd name="connsiteX4" fmla="*/ 367 w 21218"/>
              <a:gd name="connsiteY4" fmla="*/ 13412 h 18072"/>
              <a:gd name="connsiteX5" fmla="*/ 1961 w 21218"/>
              <a:gd name="connsiteY5" fmla="*/ 16736 h 18072"/>
              <a:gd name="connsiteX6" fmla="*/ 6196 w 21218"/>
              <a:gd name="connsiteY6" fmla="*/ 17438 h 18072"/>
              <a:gd name="connsiteX7" fmla="*/ 8646 w 21218"/>
              <a:gd name="connsiteY7" fmla="*/ 17760 h 18072"/>
              <a:gd name="connsiteX8" fmla="*/ 11014 w 21218"/>
              <a:gd name="connsiteY8" fmla="*/ 18044 h 18072"/>
              <a:gd name="connsiteX9" fmla="*/ 13912 w 21218"/>
              <a:gd name="connsiteY9" fmla="*/ 17031 h 18072"/>
              <a:gd name="connsiteX10" fmla="*/ 15619 w 21218"/>
              <a:gd name="connsiteY10" fmla="*/ 16855 h 18072"/>
              <a:gd name="connsiteX11" fmla="*/ 19106 w 21218"/>
              <a:gd name="connsiteY11" fmla="*/ 15924 h 18072"/>
              <a:gd name="connsiteX12" fmla="*/ 21218 w 21218"/>
              <a:gd name="connsiteY12" fmla="*/ 12780 h 18072"/>
              <a:gd name="connsiteX13" fmla="*/ 19095 w 21218"/>
              <a:gd name="connsiteY13" fmla="*/ 5582 h 18072"/>
              <a:gd name="connsiteX14" fmla="*/ 18414 w 21218"/>
              <a:gd name="connsiteY14" fmla="*/ 2817 h 18072"/>
              <a:gd name="connsiteX15" fmla="*/ 15213 w 21218"/>
              <a:gd name="connsiteY15" fmla="*/ 859 h 18072"/>
              <a:gd name="connsiteX16" fmla="*/ 11479 w 21218"/>
              <a:gd name="connsiteY16" fmla="*/ 23 h 18072"/>
              <a:gd name="connsiteX0" fmla="*/ 11479 w 19615"/>
              <a:gd name="connsiteY0" fmla="*/ 23 h 18072"/>
              <a:gd name="connsiteX1" fmla="*/ 5717 w 19615"/>
              <a:gd name="connsiteY1" fmla="*/ 1085 h 18072"/>
              <a:gd name="connsiteX2" fmla="*/ 1234 w 19615"/>
              <a:gd name="connsiteY2" fmla="*/ 5155 h 18072"/>
              <a:gd name="connsiteX3" fmla="*/ 50 w 19615"/>
              <a:gd name="connsiteY3" fmla="*/ 9089 h 18072"/>
              <a:gd name="connsiteX4" fmla="*/ 367 w 19615"/>
              <a:gd name="connsiteY4" fmla="*/ 13412 h 18072"/>
              <a:gd name="connsiteX5" fmla="*/ 1961 w 19615"/>
              <a:gd name="connsiteY5" fmla="*/ 16736 h 18072"/>
              <a:gd name="connsiteX6" fmla="*/ 6196 w 19615"/>
              <a:gd name="connsiteY6" fmla="*/ 17438 h 18072"/>
              <a:gd name="connsiteX7" fmla="*/ 8646 w 19615"/>
              <a:gd name="connsiteY7" fmla="*/ 17760 h 18072"/>
              <a:gd name="connsiteX8" fmla="*/ 11014 w 19615"/>
              <a:gd name="connsiteY8" fmla="*/ 18044 h 18072"/>
              <a:gd name="connsiteX9" fmla="*/ 13912 w 19615"/>
              <a:gd name="connsiteY9" fmla="*/ 17031 h 18072"/>
              <a:gd name="connsiteX10" fmla="*/ 15619 w 19615"/>
              <a:gd name="connsiteY10" fmla="*/ 16855 h 18072"/>
              <a:gd name="connsiteX11" fmla="*/ 19106 w 19615"/>
              <a:gd name="connsiteY11" fmla="*/ 15924 h 18072"/>
              <a:gd name="connsiteX12" fmla="*/ 19594 w 19615"/>
              <a:gd name="connsiteY12" fmla="*/ 10685 h 18072"/>
              <a:gd name="connsiteX13" fmla="*/ 19095 w 19615"/>
              <a:gd name="connsiteY13" fmla="*/ 5582 h 18072"/>
              <a:gd name="connsiteX14" fmla="*/ 18414 w 19615"/>
              <a:gd name="connsiteY14" fmla="*/ 2817 h 18072"/>
              <a:gd name="connsiteX15" fmla="*/ 15213 w 19615"/>
              <a:gd name="connsiteY15" fmla="*/ 859 h 18072"/>
              <a:gd name="connsiteX16" fmla="*/ 11479 w 19615"/>
              <a:gd name="connsiteY16" fmla="*/ 23 h 18072"/>
              <a:gd name="connsiteX0" fmla="*/ 11479 w 19602"/>
              <a:gd name="connsiteY0" fmla="*/ 23 h 18072"/>
              <a:gd name="connsiteX1" fmla="*/ 5717 w 19602"/>
              <a:gd name="connsiteY1" fmla="*/ 1085 h 18072"/>
              <a:gd name="connsiteX2" fmla="*/ 1234 w 19602"/>
              <a:gd name="connsiteY2" fmla="*/ 5155 h 18072"/>
              <a:gd name="connsiteX3" fmla="*/ 50 w 19602"/>
              <a:gd name="connsiteY3" fmla="*/ 9089 h 18072"/>
              <a:gd name="connsiteX4" fmla="*/ 367 w 19602"/>
              <a:gd name="connsiteY4" fmla="*/ 13412 h 18072"/>
              <a:gd name="connsiteX5" fmla="*/ 1961 w 19602"/>
              <a:gd name="connsiteY5" fmla="*/ 16736 h 18072"/>
              <a:gd name="connsiteX6" fmla="*/ 6196 w 19602"/>
              <a:gd name="connsiteY6" fmla="*/ 17438 h 18072"/>
              <a:gd name="connsiteX7" fmla="*/ 8646 w 19602"/>
              <a:gd name="connsiteY7" fmla="*/ 17760 h 18072"/>
              <a:gd name="connsiteX8" fmla="*/ 11014 w 19602"/>
              <a:gd name="connsiteY8" fmla="*/ 18044 h 18072"/>
              <a:gd name="connsiteX9" fmla="*/ 13912 w 19602"/>
              <a:gd name="connsiteY9" fmla="*/ 17031 h 18072"/>
              <a:gd name="connsiteX10" fmla="*/ 15619 w 19602"/>
              <a:gd name="connsiteY10" fmla="*/ 16855 h 18072"/>
              <a:gd name="connsiteX11" fmla="*/ 19106 w 19602"/>
              <a:gd name="connsiteY11" fmla="*/ 15924 h 18072"/>
              <a:gd name="connsiteX12" fmla="*/ 19594 w 19602"/>
              <a:gd name="connsiteY12" fmla="*/ 10685 h 18072"/>
              <a:gd name="connsiteX13" fmla="*/ 19278 w 19602"/>
              <a:gd name="connsiteY13" fmla="*/ 6616 h 18072"/>
              <a:gd name="connsiteX14" fmla="*/ 18414 w 19602"/>
              <a:gd name="connsiteY14" fmla="*/ 2817 h 18072"/>
              <a:gd name="connsiteX15" fmla="*/ 15213 w 19602"/>
              <a:gd name="connsiteY15" fmla="*/ 859 h 18072"/>
              <a:gd name="connsiteX16" fmla="*/ 11479 w 19602"/>
              <a:gd name="connsiteY16" fmla="*/ 23 h 18072"/>
              <a:gd name="connsiteX0" fmla="*/ 11479 w 19603"/>
              <a:gd name="connsiteY0" fmla="*/ 23 h 18072"/>
              <a:gd name="connsiteX1" fmla="*/ 5717 w 19603"/>
              <a:gd name="connsiteY1" fmla="*/ 1085 h 18072"/>
              <a:gd name="connsiteX2" fmla="*/ 1234 w 19603"/>
              <a:gd name="connsiteY2" fmla="*/ 5155 h 18072"/>
              <a:gd name="connsiteX3" fmla="*/ 50 w 19603"/>
              <a:gd name="connsiteY3" fmla="*/ 9089 h 18072"/>
              <a:gd name="connsiteX4" fmla="*/ 367 w 19603"/>
              <a:gd name="connsiteY4" fmla="*/ 13412 h 18072"/>
              <a:gd name="connsiteX5" fmla="*/ 1961 w 19603"/>
              <a:gd name="connsiteY5" fmla="*/ 16736 h 18072"/>
              <a:gd name="connsiteX6" fmla="*/ 6196 w 19603"/>
              <a:gd name="connsiteY6" fmla="*/ 17438 h 18072"/>
              <a:gd name="connsiteX7" fmla="*/ 8646 w 19603"/>
              <a:gd name="connsiteY7" fmla="*/ 17760 h 18072"/>
              <a:gd name="connsiteX8" fmla="*/ 11014 w 19603"/>
              <a:gd name="connsiteY8" fmla="*/ 18044 h 18072"/>
              <a:gd name="connsiteX9" fmla="*/ 13912 w 19603"/>
              <a:gd name="connsiteY9" fmla="*/ 17031 h 18072"/>
              <a:gd name="connsiteX10" fmla="*/ 15619 w 19603"/>
              <a:gd name="connsiteY10" fmla="*/ 16855 h 18072"/>
              <a:gd name="connsiteX11" fmla="*/ 19106 w 19603"/>
              <a:gd name="connsiteY11" fmla="*/ 15924 h 18072"/>
              <a:gd name="connsiteX12" fmla="*/ 19594 w 19603"/>
              <a:gd name="connsiteY12" fmla="*/ 10685 h 18072"/>
              <a:gd name="connsiteX13" fmla="*/ 19347 w 19603"/>
              <a:gd name="connsiteY13" fmla="*/ 8393 h 18072"/>
              <a:gd name="connsiteX14" fmla="*/ 18414 w 19603"/>
              <a:gd name="connsiteY14" fmla="*/ 2817 h 18072"/>
              <a:gd name="connsiteX15" fmla="*/ 15213 w 19603"/>
              <a:gd name="connsiteY15" fmla="*/ 859 h 18072"/>
              <a:gd name="connsiteX16" fmla="*/ 11479 w 19603"/>
              <a:gd name="connsiteY16" fmla="*/ 23 h 18072"/>
              <a:gd name="connsiteX0" fmla="*/ 11479 w 19597"/>
              <a:gd name="connsiteY0" fmla="*/ 23 h 18072"/>
              <a:gd name="connsiteX1" fmla="*/ 5717 w 19597"/>
              <a:gd name="connsiteY1" fmla="*/ 1085 h 18072"/>
              <a:gd name="connsiteX2" fmla="*/ 1234 w 19597"/>
              <a:gd name="connsiteY2" fmla="*/ 5155 h 18072"/>
              <a:gd name="connsiteX3" fmla="*/ 50 w 19597"/>
              <a:gd name="connsiteY3" fmla="*/ 9089 h 18072"/>
              <a:gd name="connsiteX4" fmla="*/ 367 w 19597"/>
              <a:gd name="connsiteY4" fmla="*/ 13412 h 18072"/>
              <a:gd name="connsiteX5" fmla="*/ 1961 w 19597"/>
              <a:gd name="connsiteY5" fmla="*/ 16736 h 18072"/>
              <a:gd name="connsiteX6" fmla="*/ 6196 w 19597"/>
              <a:gd name="connsiteY6" fmla="*/ 17438 h 18072"/>
              <a:gd name="connsiteX7" fmla="*/ 8646 w 19597"/>
              <a:gd name="connsiteY7" fmla="*/ 17760 h 18072"/>
              <a:gd name="connsiteX8" fmla="*/ 11014 w 19597"/>
              <a:gd name="connsiteY8" fmla="*/ 18044 h 18072"/>
              <a:gd name="connsiteX9" fmla="*/ 13912 w 19597"/>
              <a:gd name="connsiteY9" fmla="*/ 17031 h 18072"/>
              <a:gd name="connsiteX10" fmla="*/ 15619 w 19597"/>
              <a:gd name="connsiteY10" fmla="*/ 16855 h 18072"/>
              <a:gd name="connsiteX11" fmla="*/ 19106 w 19597"/>
              <a:gd name="connsiteY11" fmla="*/ 15924 h 18072"/>
              <a:gd name="connsiteX12" fmla="*/ 19594 w 19597"/>
              <a:gd name="connsiteY12" fmla="*/ 10685 h 18072"/>
              <a:gd name="connsiteX13" fmla="*/ 19347 w 19597"/>
              <a:gd name="connsiteY13" fmla="*/ 8393 h 18072"/>
              <a:gd name="connsiteX14" fmla="*/ 18414 w 19597"/>
              <a:gd name="connsiteY14" fmla="*/ 2817 h 18072"/>
              <a:gd name="connsiteX15" fmla="*/ 15213 w 19597"/>
              <a:gd name="connsiteY15" fmla="*/ 859 h 18072"/>
              <a:gd name="connsiteX16" fmla="*/ 11479 w 19597"/>
              <a:gd name="connsiteY16" fmla="*/ 23 h 18072"/>
              <a:gd name="connsiteX0" fmla="*/ 11479 w 19748"/>
              <a:gd name="connsiteY0" fmla="*/ 23 h 18072"/>
              <a:gd name="connsiteX1" fmla="*/ 5717 w 19748"/>
              <a:gd name="connsiteY1" fmla="*/ 1085 h 18072"/>
              <a:gd name="connsiteX2" fmla="*/ 1234 w 19748"/>
              <a:gd name="connsiteY2" fmla="*/ 5155 h 18072"/>
              <a:gd name="connsiteX3" fmla="*/ 50 w 19748"/>
              <a:gd name="connsiteY3" fmla="*/ 9089 h 18072"/>
              <a:gd name="connsiteX4" fmla="*/ 367 w 19748"/>
              <a:gd name="connsiteY4" fmla="*/ 13412 h 18072"/>
              <a:gd name="connsiteX5" fmla="*/ 1961 w 19748"/>
              <a:gd name="connsiteY5" fmla="*/ 16736 h 18072"/>
              <a:gd name="connsiteX6" fmla="*/ 6196 w 19748"/>
              <a:gd name="connsiteY6" fmla="*/ 17438 h 18072"/>
              <a:gd name="connsiteX7" fmla="*/ 8646 w 19748"/>
              <a:gd name="connsiteY7" fmla="*/ 17760 h 18072"/>
              <a:gd name="connsiteX8" fmla="*/ 11014 w 19748"/>
              <a:gd name="connsiteY8" fmla="*/ 18044 h 18072"/>
              <a:gd name="connsiteX9" fmla="*/ 13912 w 19748"/>
              <a:gd name="connsiteY9" fmla="*/ 17031 h 18072"/>
              <a:gd name="connsiteX10" fmla="*/ 15619 w 19748"/>
              <a:gd name="connsiteY10" fmla="*/ 16855 h 18072"/>
              <a:gd name="connsiteX11" fmla="*/ 19106 w 19748"/>
              <a:gd name="connsiteY11" fmla="*/ 15924 h 18072"/>
              <a:gd name="connsiteX12" fmla="*/ 19594 w 19748"/>
              <a:gd name="connsiteY12" fmla="*/ 10685 h 18072"/>
              <a:gd name="connsiteX13" fmla="*/ 19347 w 19748"/>
              <a:gd name="connsiteY13" fmla="*/ 8393 h 18072"/>
              <a:gd name="connsiteX14" fmla="*/ 18986 w 19748"/>
              <a:gd name="connsiteY14" fmla="*/ 3374 h 18072"/>
              <a:gd name="connsiteX15" fmla="*/ 15213 w 19748"/>
              <a:gd name="connsiteY15" fmla="*/ 859 h 18072"/>
              <a:gd name="connsiteX16" fmla="*/ 11479 w 19748"/>
              <a:gd name="connsiteY16" fmla="*/ 23 h 18072"/>
              <a:gd name="connsiteX0" fmla="*/ 11479 w 19638"/>
              <a:gd name="connsiteY0" fmla="*/ 23 h 18072"/>
              <a:gd name="connsiteX1" fmla="*/ 5717 w 19638"/>
              <a:gd name="connsiteY1" fmla="*/ 1085 h 18072"/>
              <a:gd name="connsiteX2" fmla="*/ 1234 w 19638"/>
              <a:gd name="connsiteY2" fmla="*/ 5155 h 18072"/>
              <a:gd name="connsiteX3" fmla="*/ 50 w 19638"/>
              <a:gd name="connsiteY3" fmla="*/ 9089 h 18072"/>
              <a:gd name="connsiteX4" fmla="*/ 367 w 19638"/>
              <a:gd name="connsiteY4" fmla="*/ 13412 h 18072"/>
              <a:gd name="connsiteX5" fmla="*/ 1961 w 19638"/>
              <a:gd name="connsiteY5" fmla="*/ 16736 h 18072"/>
              <a:gd name="connsiteX6" fmla="*/ 6196 w 19638"/>
              <a:gd name="connsiteY6" fmla="*/ 17438 h 18072"/>
              <a:gd name="connsiteX7" fmla="*/ 8646 w 19638"/>
              <a:gd name="connsiteY7" fmla="*/ 17760 h 18072"/>
              <a:gd name="connsiteX8" fmla="*/ 11014 w 19638"/>
              <a:gd name="connsiteY8" fmla="*/ 18044 h 18072"/>
              <a:gd name="connsiteX9" fmla="*/ 13912 w 19638"/>
              <a:gd name="connsiteY9" fmla="*/ 17031 h 18072"/>
              <a:gd name="connsiteX10" fmla="*/ 15619 w 19638"/>
              <a:gd name="connsiteY10" fmla="*/ 16855 h 18072"/>
              <a:gd name="connsiteX11" fmla="*/ 19106 w 19638"/>
              <a:gd name="connsiteY11" fmla="*/ 15924 h 18072"/>
              <a:gd name="connsiteX12" fmla="*/ 19594 w 19638"/>
              <a:gd name="connsiteY12" fmla="*/ 10685 h 18072"/>
              <a:gd name="connsiteX13" fmla="*/ 19347 w 19638"/>
              <a:gd name="connsiteY13" fmla="*/ 8393 h 18072"/>
              <a:gd name="connsiteX14" fmla="*/ 18986 w 19638"/>
              <a:gd name="connsiteY14" fmla="*/ 3374 h 18072"/>
              <a:gd name="connsiteX15" fmla="*/ 15213 w 19638"/>
              <a:gd name="connsiteY15" fmla="*/ 859 h 18072"/>
              <a:gd name="connsiteX16" fmla="*/ 11479 w 19638"/>
              <a:gd name="connsiteY16" fmla="*/ 23 h 18072"/>
              <a:gd name="connsiteX0" fmla="*/ 11479 w 19622"/>
              <a:gd name="connsiteY0" fmla="*/ 23 h 18072"/>
              <a:gd name="connsiteX1" fmla="*/ 5717 w 19622"/>
              <a:gd name="connsiteY1" fmla="*/ 1085 h 18072"/>
              <a:gd name="connsiteX2" fmla="*/ 1234 w 19622"/>
              <a:gd name="connsiteY2" fmla="*/ 5155 h 18072"/>
              <a:gd name="connsiteX3" fmla="*/ 50 w 19622"/>
              <a:gd name="connsiteY3" fmla="*/ 9089 h 18072"/>
              <a:gd name="connsiteX4" fmla="*/ 367 w 19622"/>
              <a:gd name="connsiteY4" fmla="*/ 13412 h 18072"/>
              <a:gd name="connsiteX5" fmla="*/ 1961 w 19622"/>
              <a:gd name="connsiteY5" fmla="*/ 16736 h 18072"/>
              <a:gd name="connsiteX6" fmla="*/ 6196 w 19622"/>
              <a:gd name="connsiteY6" fmla="*/ 17438 h 18072"/>
              <a:gd name="connsiteX7" fmla="*/ 8646 w 19622"/>
              <a:gd name="connsiteY7" fmla="*/ 17760 h 18072"/>
              <a:gd name="connsiteX8" fmla="*/ 11014 w 19622"/>
              <a:gd name="connsiteY8" fmla="*/ 18044 h 18072"/>
              <a:gd name="connsiteX9" fmla="*/ 13912 w 19622"/>
              <a:gd name="connsiteY9" fmla="*/ 17031 h 18072"/>
              <a:gd name="connsiteX10" fmla="*/ 15619 w 19622"/>
              <a:gd name="connsiteY10" fmla="*/ 16855 h 18072"/>
              <a:gd name="connsiteX11" fmla="*/ 19106 w 19622"/>
              <a:gd name="connsiteY11" fmla="*/ 15924 h 18072"/>
              <a:gd name="connsiteX12" fmla="*/ 19594 w 19622"/>
              <a:gd name="connsiteY12" fmla="*/ 10685 h 18072"/>
              <a:gd name="connsiteX13" fmla="*/ 19347 w 19622"/>
              <a:gd name="connsiteY13" fmla="*/ 8393 h 18072"/>
              <a:gd name="connsiteX14" fmla="*/ 18963 w 19622"/>
              <a:gd name="connsiteY14" fmla="*/ 3401 h 18072"/>
              <a:gd name="connsiteX15" fmla="*/ 15213 w 19622"/>
              <a:gd name="connsiteY15" fmla="*/ 859 h 18072"/>
              <a:gd name="connsiteX16" fmla="*/ 11479 w 19622"/>
              <a:gd name="connsiteY16" fmla="*/ 23 h 18072"/>
              <a:gd name="connsiteX0" fmla="*/ 11479 w 19622"/>
              <a:gd name="connsiteY0" fmla="*/ 23 h 18072"/>
              <a:gd name="connsiteX1" fmla="*/ 5717 w 19622"/>
              <a:gd name="connsiteY1" fmla="*/ 1085 h 18072"/>
              <a:gd name="connsiteX2" fmla="*/ 1234 w 19622"/>
              <a:gd name="connsiteY2" fmla="*/ 5155 h 18072"/>
              <a:gd name="connsiteX3" fmla="*/ 50 w 19622"/>
              <a:gd name="connsiteY3" fmla="*/ 9089 h 18072"/>
              <a:gd name="connsiteX4" fmla="*/ 367 w 19622"/>
              <a:gd name="connsiteY4" fmla="*/ 13412 h 18072"/>
              <a:gd name="connsiteX5" fmla="*/ 1961 w 19622"/>
              <a:gd name="connsiteY5" fmla="*/ 16736 h 18072"/>
              <a:gd name="connsiteX6" fmla="*/ 6196 w 19622"/>
              <a:gd name="connsiteY6" fmla="*/ 17438 h 18072"/>
              <a:gd name="connsiteX7" fmla="*/ 8646 w 19622"/>
              <a:gd name="connsiteY7" fmla="*/ 17760 h 18072"/>
              <a:gd name="connsiteX8" fmla="*/ 11014 w 19622"/>
              <a:gd name="connsiteY8" fmla="*/ 18044 h 18072"/>
              <a:gd name="connsiteX9" fmla="*/ 13912 w 19622"/>
              <a:gd name="connsiteY9" fmla="*/ 17031 h 18072"/>
              <a:gd name="connsiteX10" fmla="*/ 15619 w 19622"/>
              <a:gd name="connsiteY10" fmla="*/ 16855 h 18072"/>
              <a:gd name="connsiteX11" fmla="*/ 19106 w 19622"/>
              <a:gd name="connsiteY11" fmla="*/ 15924 h 18072"/>
              <a:gd name="connsiteX12" fmla="*/ 19594 w 19622"/>
              <a:gd name="connsiteY12" fmla="*/ 10685 h 18072"/>
              <a:gd name="connsiteX13" fmla="*/ 19347 w 19622"/>
              <a:gd name="connsiteY13" fmla="*/ 8393 h 18072"/>
              <a:gd name="connsiteX14" fmla="*/ 18963 w 19622"/>
              <a:gd name="connsiteY14" fmla="*/ 3401 h 18072"/>
              <a:gd name="connsiteX15" fmla="*/ 15213 w 19622"/>
              <a:gd name="connsiteY15" fmla="*/ 859 h 18072"/>
              <a:gd name="connsiteX16" fmla="*/ 11479 w 19622"/>
              <a:gd name="connsiteY16" fmla="*/ 23 h 18072"/>
              <a:gd name="connsiteX0" fmla="*/ 11479 w 19599"/>
              <a:gd name="connsiteY0" fmla="*/ 23 h 18072"/>
              <a:gd name="connsiteX1" fmla="*/ 5717 w 19599"/>
              <a:gd name="connsiteY1" fmla="*/ 1085 h 18072"/>
              <a:gd name="connsiteX2" fmla="*/ 1234 w 19599"/>
              <a:gd name="connsiteY2" fmla="*/ 5155 h 18072"/>
              <a:gd name="connsiteX3" fmla="*/ 50 w 19599"/>
              <a:gd name="connsiteY3" fmla="*/ 9089 h 18072"/>
              <a:gd name="connsiteX4" fmla="*/ 367 w 19599"/>
              <a:gd name="connsiteY4" fmla="*/ 13412 h 18072"/>
              <a:gd name="connsiteX5" fmla="*/ 1961 w 19599"/>
              <a:gd name="connsiteY5" fmla="*/ 16736 h 18072"/>
              <a:gd name="connsiteX6" fmla="*/ 6196 w 19599"/>
              <a:gd name="connsiteY6" fmla="*/ 17438 h 18072"/>
              <a:gd name="connsiteX7" fmla="*/ 8646 w 19599"/>
              <a:gd name="connsiteY7" fmla="*/ 17760 h 18072"/>
              <a:gd name="connsiteX8" fmla="*/ 11014 w 19599"/>
              <a:gd name="connsiteY8" fmla="*/ 18044 h 18072"/>
              <a:gd name="connsiteX9" fmla="*/ 13912 w 19599"/>
              <a:gd name="connsiteY9" fmla="*/ 17031 h 18072"/>
              <a:gd name="connsiteX10" fmla="*/ 15619 w 19599"/>
              <a:gd name="connsiteY10" fmla="*/ 16855 h 18072"/>
              <a:gd name="connsiteX11" fmla="*/ 19106 w 19599"/>
              <a:gd name="connsiteY11" fmla="*/ 15924 h 18072"/>
              <a:gd name="connsiteX12" fmla="*/ 19594 w 19599"/>
              <a:gd name="connsiteY12" fmla="*/ 10685 h 18072"/>
              <a:gd name="connsiteX13" fmla="*/ 19347 w 19599"/>
              <a:gd name="connsiteY13" fmla="*/ 8393 h 18072"/>
              <a:gd name="connsiteX14" fmla="*/ 18963 w 19599"/>
              <a:gd name="connsiteY14" fmla="*/ 3401 h 18072"/>
              <a:gd name="connsiteX15" fmla="*/ 15213 w 19599"/>
              <a:gd name="connsiteY15" fmla="*/ 859 h 18072"/>
              <a:gd name="connsiteX16" fmla="*/ 11479 w 19599"/>
              <a:gd name="connsiteY16" fmla="*/ 23 h 18072"/>
              <a:gd name="connsiteX0" fmla="*/ 11479 w 19643"/>
              <a:gd name="connsiteY0" fmla="*/ 23 h 18072"/>
              <a:gd name="connsiteX1" fmla="*/ 5717 w 19643"/>
              <a:gd name="connsiteY1" fmla="*/ 1085 h 18072"/>
              <a:gd name="connsiteX2" fmla="*/ 1234 w 19643"/>
              <a:gd name="connsiteY2" fmla="*/ 5155 h 18072"/>
              <a:gd name="connsiteX3" fmla="*/ 50 w 19643"/>
              <a:gd name="connsiteY3" fmla="*/ 9089 h 18072"/>
              <a:gd name="connsiteX4" fmla="*/ 367 w 19643"/>
              <a:gd name="connsiteY4" fmla="*/ 13412 h 18072"/>
              <a:gd name="connsiteX5" fmla="*/ 1961 w 19643"/>
              <a:gd name="connsiteY5" fmla="*/ 16736 h 18072"/>
              <a:gd name="connsiteX6" fmla="*/ 6196 w 19643"/>
              <a:gd name="connsiteY6" fmla="*/ 17438 h 18072"/>
              <a:gd name="connsiteX7" fmla="*/ 8646 w 19643"/>
              <a:gd name="connsiteY7" fmla="*/ 17760 h 18072"/>
              <a:gd name="connsiteX8" fmla="*/ 11014 w 19643"/>
              <a:gd name="connsiteY8" fmla="*/ 18044 h 18072"/>
              <a:gd name="connsiteX9" fmla="*/ 13912 w 19643"/>
              <a:gd name="connsiteY9" fmla="*/ 17031 h 18072"/>
              <a:gd name="connsiteX10" fmla="*/ 15619 w 19643"/>
              <a:gd name="connsiteY10" fmla="*/ 16855 h 18072"/>
              <a:gd name="connsiteX11" fmla="*/ 18328 w 19643"/>
              <a:gd name="connsiteY11" fmla="*/ 15791 h 18072"/>
              <a:gd name="connsiteX12" fmla="*/ 19594 w 19643"/>
              <a:gd name="connsiteY12" fmla="*/ 10685 h 18072"/>
              <a:gd name="connsiteX13" fmla="*/ 19347 w 19643"/>
              <a:gd name="connsiteY13" fmla="*/ 8393 h 18072"/>
              <a:gd name="connsiteX14" fmla="*/ 18963 w 19643"/>
              <a:gd name="connsiteY14" fmla="*/ 3401 h 18072"/>
              <a:gd name="connsiteX15" fmla="*/ 15213 w 19643"/>
              <a:gd name="connsiteY15" fmla="*/ 859 h 18072"/>
              <a:gd name="connsiteX16" fmla="*/ 11479 w 19643"/>
              <a:gd name="connsiteY16" fmla="*/ 23 h 18072"/>
              <a:gd name="connsiteX0" fmla="*/ 11479 w 19643"/>
              <a:gd name="connsiteY0" fmla="*/ 23 h 18072"/>
              <a:gd name="connsiteX1" fmla="*/ 5717 w 19643"/>
              <a:gd name="connsiteY1" fmla="*/ 1085 h 18072"/>
              <a:gd name="connsiteX2" fmla="*/ 1234 w 19643"/>
              <a:gd name="connsiteY2" fmla="*/ 5155 h 18072"/>
              <a:gd name="connsiteX3" fmla="*/ 50 w 19643"/>
              <a:gd name="connsiteY3" fmla="*/ 9089 h 18072"/>
              <a:gd name="connsiteX4" fmla="*/ 367 w 19643"/>
              <a:gd name="connsiteY4" fmla="*/ 13412 h 18072"/>
              <a:gd name="connsiteX5" fmla="*/ 1961 w 19643"/>
              <a:gd name="connsiteY5" fmla="*/ 16736 h 18072"/>
              <a:gd name="connsiteX6" fmla="*/ 6196 w 19643"/>
              <a:gd name="connsiteY6" fmla="*/ 17438 h 18072"/>
              <a:gd name="connsiteX7" fmla="*/ 8646 w 19643"/>
              <a:gd name="connsiteY7" fmla="*/ 17760 h 18072"/>
              <a:gd name="connsiteX8" fmla="*/ 11014 w 19643"/>
              <a:gd name="connsiteY8" fmla="*/ 18044 h 18072"/>
              <a:gd name="connsiteX9" fmla="*/ 13912 w 19643"/>
              <a:gd name="connsiteY9" fmla="*/ 17031 h 18072"/>
              <a:gd name="connsiteX10" fmla="*/ 15619 w 19643"/>
              <a:gd name="connsiteY10" fmla="*/ 16855 h 18072"/>
              <a:gd name="connsiteX11" fmla="*/ 18328 w 19643"/>
              <a:gd name="connsiteY11" fmla="*/ 15791 h 18072"/>
              <a:gd name="connsiteX12" fmla="*/ 19594 w 19643"/>
              <a:gd name="connsiteY12" fmla="*/ 10685 h 18072"/>
              <a:gd name="connsiteX13" fmla="*/ 19347 w 19643"/>
              <a:gd name="connsiteY13" fmla="*/ 8393 h 18072"/>
              <a:gd name="connsiteX14" fmla="*/ 18963 w 19643"/>
              <a:gd name="connsiteY14" fmla="*/ 3401 h 18072"/>
              <a:gd name="connsiteX15" fmla="*/ 15213 w 19643"/>
              <a:gd name="connsiteY15" fmla="*/ 859 h 18072"/>
              <a:gd name="connsiteX16" fmla="*/ 11479 w 19643"/>
              <a:gd name="connsiteY16" fmla="*/ 23 h 18072"/>
              <a:gd name="connsiteX0" fmla="*/ 11479 w 19597"/>
              <a:gd name="connsiteY0" fmla="*/ 23 h 18072"/>
              <a:gd name="connsiteX1" fmla="*/ 5717 w 19597"/>
              <a:gd name="connsiteY1" fmla="*/ 1085 h 18072"/>
              <a:gd name="connsiteX2" fmla="*/ 1234 w 19597"/>
              <a:gd name="connsiteY2" fmla="*/ 5155 h 18072"/>
              <a:gd name="connsiteX3" fmla="*/ 50 w 19597"/>
              <a:gd name="connsiteY3" fmla="*/ 9089 h 18072"/>
              <a:gd name="connsiteX4" fmla="*/ 367 w 19597"/>
              <a:gd name="connsiteY4" fmla="*/ 13412 h 18072"/>
              <a:gd name="connsiteX5" fmla="*/ 1961 w 19597"/>
              <a:gd name="connsiteY5" fmla="*/ 16736 h 18072"/>
              <a:gd name="connsiteX6" fmla="*/ 6196 w 19597"/>
              <a:gd name="connsiteY6" fmla="*/ 17438 h 18072"/>
              <a:gd name="connsiteX7" fmla="*/ 8646 w 19597"/>
              <a:gd name="connsiteY7" fmla="*/ 17760 h 18072"/>
              <a:gd name="connsiteX8" fmla="*/ 11014 w 19597"/>
              <a:gd name="connsiteY8" fmla="*/ 18044 h 18072"/>
              <a:gd name="connsiteX9" fmla="*/ 13912 w 19597"/>
              <a:gd name="connsiteY9" fmla="*/ 17031 h 18072"/>
              <a:gd name="connsiteX10" fmla="*/ 15619 w 19597"/>
              <a:gd name="connsiteY10" fmla="*/ 16855 h 18072"/>
              <a:gd name="connsiteX11" fmla="*/ 19152 w 19597"/>
              <a:gd name="connsiteY11" fmla="*/ 15924 h 18072"/>
              <a:gd name="connsiteX12" fmla="*/ 19594 w 19597"/>
              <a:gd name="connsiteY12" fmla="*/ 10685 h 18072"/>
              <a:gd name="connsiteX13" fmla="*/ 19347 w 19597"/>
              <a:gd name="connsiteY13" fmla="*/ 8393 h 18072"/>
              <a:gd name="connsiteX14" fmla="*/ 18963 w 19597"/>
              <a:gd name="connsiteY14" fmla="*/ 3401 h 18072"/>
              <a:gd name="connsiteX15" fmla="*/ 15213 w 19597"/>
              <a:gd name="connsiteY15" fmla="*/ 859 h 18072"/>
              <a:gd name="connsiteX16" fmla="*/ 11479 w 19597"/>
              <a:gd name="connsiteY16" fmla="*/ 23 h 18072"/>
              <a:gd name="connsiteX0" fmla="*/ 11479 w 19468"/>
              <a:gd name="connsiteY0" fmla="*/ 23 h 18072"/>
              <a:gd name="connsiteX1" fmla="*/ 5717 w 19468"/>
              <a:gd name="connsiteY1" fmla="*/ 1085 h 18072"/>
              <a:gd name="connsiteX2" fmla="*/ 1234 w 19468"/>
              <a:gd name="connsiteY2" fmla="*/ 5155 h 18072"/>
              <a:gd name="connsiteX3" fmla="*/ 50 w 19468"/>
              <a:gd name="connsiteY3" fmla="*/ 9089 h 18072"/>
              <a:gd name="connsiteX4" fmla="*/ 367 w 19468"/>
              <a:gd name="connsiteY4" fmla="*/ 13412 h 18072"/>
              <a:gd name="connsiteX5" fmla="*/ 1961 w 19468"/>
              <a:gd name="connsiteY5" fmla="*/ 16736 h 18072"/>
              <a:gd name="connsiteX6" fmla="*/ 6196 w 19468"/>
              <a:gd name="connsiteY6" fmla="*/ 17438 h 18072"/>
              <a:gd name="connsiteX7" fmla="*/ 8646 w 19468"/>
              <a:gd name="connsiteY7" fmla="*/ 17760 h 18072"/>
              <a:gd name="connsiteX8" fmla="*/ 11014 w 19468"/>
              <a:gd name="connsiteY8" fmla="*/ 18044 h 18072"/>
              <a:gd name="connsiteX9" fmla="*/ 13912 w 19468"/>
              <a:gd name="connsiteY9" fmla="*/ 17031 h 18072"/>
              <a:gd name="connsiteX10" fmla="*/ 15619 w 19468"/>
              <a:gd name="connsiteY10" fmla="*/ 16855 h 18072"/>
              <a:gd name="connsiteX11" fmla="*/ 19152 w 19468"/>
              <a:gd name="connsiteY11" fmla="*/ 15924 h 18072"/>
              <a:gd name="connsiteX12" fmla="*/ 19319 w 19468"/>
              <a:gd name="connsiteY12" fmla="*/ 12038 h 18072"/>
              <a:gd name="connsiteX13" fmla="*/ 19347 w 19468"/>
              <a:gd name="connsiteY13" fmla="*/ 8393 h 18072"/>
              <a:gd name="connsiteX14" fmla="*/ 18963 w 19468"/>
              <a:gd name="connsiteY14" fmla="*/ 3401 h 18072"/>
              <a:gd name="connsiteX15" fmla="*/ 15213 w 19468"/>
              <a:gd name="connsiteY15" fmla="*/ 859 h 18072"/>
              <a:gd name="connsiteX16" fmla="*/ 11479 w 19468"/>
              <a:gd name="connsiteY16" fmla="*/ 23 h 18072"/>
              <a:gd name="connsiteX0" fmla="*/ 11470 w 19459"/>
              <a:gd name="connsiteY0" fmla="*/ 23 h 18072"/>
              <a:gd name="connsiteX1" fmla="*/ 5708 w 19459"/>
              <a:gd name="connsiteY1" fmla="*/ 1085 h 18072"/>
              <a:gd name="connsiteX2" fmla="*/ 1225 w 19459"/>
              <a:gd name="connsiteY2" fmla="*/ 5155 h 18072"/>
              <a:gd name="connsiteX3" fmla="*/ 41 w 19459"/>
              <a:gd name="connsiteY3" fmla="*/ 9089 h 18072"/>
              <a:gd name="connsiteX4" fmla="*/ 358 w 19459"/>
              <a:gd name="connsiteY4" fmla="*/ 13412 h 18072"/>
              <a:gd name="connsiteX5" fmla="*/ 1494 w 19459"/>
              <a:gd name="connsiteY5" fmla="*/ 15993 h 18072"/>
              <a:gd name="connsiteX6" fmla="*/ 6187 w 19459"/>
              <a:gd name="connsiteY6" fmla="*/ 17438 h 18072"/>
              <a:gd name="connsiteX7" fmla="*/ 8637 w 19459"/>
              <a:gd name="connsiteY7" fmla="*/ 17760 h 18072"/>
              <a:gd name="connsiteX8" fmla="*/ 11005 w 19459"/>
              <a:gd name="connsiteY8" fmla="*/ 18044 h 18072"/>
              <a:gd name="connsiteX9" fmla="*/ 13903 w 19459"/>
              <a:gd name="connsiteY9" fmla="*/ 17031 h 18072"/>
              <a:gd name="connsiteX10" fmla="*/ 15610 w 19459"/>
              <a:gd name="connsiteY10" fmla="*/ 16855 h 18072"/>
              <a:gd name="connsiteX11" fmla="*/ 19143 w 19459"/>
              <a:gd name="connsiteY11" fmla="*/ 15924 h 18072"/>
              <a:gd name="connsiteX12" fmla="*/ 19310 w 19459"/>
              <a:gd name="connsiteY12" fmla="*/ 12038 h 18072"/>
              <a:gd name="connsiteX13" fmla="*/ 19338 w 19459"/>
              <a:gd name="connsiteY13" fmla="*/ 8393 h 18072"/>
              <a:gd name="connsiteX14" fmla="*/ 18954 w 19459"/>
              <a:gd name="connsiteY14" fmla="*/ 3401 h 18072"/>
              <a:gd name="connsiteX15" fmla="*/ 15204 w 19459"/>
              <a:gd name="connsiteY15" fmla="*/ 859 h 18072"/>
              <a:gd name="connsiteX16" fmla="*/ 11470 w 19459"/>
              <a:gd name="connsiteY16" fmla="*/ 23 h 18072"/>
              <a:gd name="connsiteX0" fmla="*/ 11470 w 19459"/>
              <a:gd name="connsiteY0" fmla="*/ 23 h 18072"/>
              <a:gd name="connsiteX1" fmla="*/ 5708 w 19459"/>
              <a:gd name="connsiteY1" fmla="*/ 1085 h 18072"/>
              <a:gd name="connsiteX2" fmla="*/ 1225 w 19459"/>
              <a:gd name="connsiteY2" fmla="*/ 5155 h 18072"/>
              <a:gd name="connsiteX3" fmla="*/ 41 w 19459"/>
              <a:gd name="connsiteY3" fmla="*/ 9089 h 18072"/>
              <a:gd name="connsiteX4" fmla="*/ 358 w 19459"/>
              <a:gd name="connsiteY4" fmla="*/ 13412 h 18072"/>
              <a:gd name="connsiteX5" fmla="*/ 1494 w 19459"/>
              <a:gd name="connsiteY5" fmla="*/ 15993 h 18072"/>
              <a:gd name="connsiteX6" fmla="*/ 6187 w 19459"/>
              <a:gd name="connsiteY6" fmla="*/ 17438 h 18072"/>
              <a:gd name="connsiteX7" fmla="*/ 8637 w 19459"/>
              <a:gd name="connsiteY7" fmla="*/ 17760 h 18072"/>
              <a:gd name="connsiteX8" fmla="*/ 11005 w 19459"/>
              <a:gd name="connsiteY8" fmla="*/ 18044 h 18072"/>
              <a:gd name="connsiteX9" fmla="*/ 13903 w 19459"/>
              <a:gd name="connsiteY9" fmla="*/ 17031 h 18072"/>
              <a:gd name="connsiteX10" fmla="*/ 15610 w 19459"/>
              <a:gd name="connsiteY10" fmla="*/ 16855 h 18072"/>
              <a:gd name="connsiteX11" fmla="*/ 19143 w 19459"/>
              <a:gd name="connsiteY11" fmla="*/ 15924 h 18072"/>
              <a:gd name="connsiteX12" fmla="*/ 19310 w 19459"/>
              <a:gd name="connsiteY12" fmla="*/ 12038 h 18072"/>
              <a:gd name="connsiteX13" fmla="*/ 19338 w 19459"/>
              <a:gd name="connsiteY13" fmla="*/ 8393 h 18072"/>
              <a:gd name="connsiteX14" fmla="*/ 18954 w 19459"/>
              <a:gd name="connsiteY14" fmla="*/ 3401 h 18072"/>
              <a:gd name="connsiteX15" fmla="*/ 15204 w 19459"/>
              <a:gd name="connsiteY15" fmla="*/ 859 h 18072"/>
              <a:gd name="connsiteX16" fmla="*/ 11470 w 19459"/>
              <a:gd name="connsiteY16" fmla="*/ 23 h 18072"/>
              <a:gd name="connsiteX0" fmla="*/ 11465 w 19454"/>
              <a:gd name="connsiteY0" fmla="*/ 23 h 18072"/>
              <a:gd name="connsiteX1" fmla="*/ 5703 w 19454"/>
              <a:gd name="connsiteY1" fmla="*/ 1085 h 18072"/>
              <a:gd name="connsiteX2" fmla="*/ 1220 w 19454"/>
              <a:gd name="connsiteY2" fmla="*/ 5155 h 18072"/>
              <a:gd name="connsiteX3" fmla="*/ 36 w 19454"/>
              <a:gd name="connsiteY3" fmla="*/ 9089 h 18072"/>
              <a:gd name="connsiteX4" fmla="*/ 353 w 19454"/>
              <a:gd name="connsiteY4" fmla="*/ 13412 h 18072"/>
              <a:gd name="connsiteX5" fmla="*/ 1192 w 19454"/>
              <a:gd name="connsiteY5" fmla="*/ 15940 h 18072"/>
              <a:gd name="connsiteX6" fmla="*/ 6182 w 19454"/>
              <a:gd name="connsiteY6" fmla="*/ 17438 h 18072"/>
              <a:gd name="connsiteX7" fmla="*/ 8632 w 19454"/>
              <a:gd name="connsiteY7" fmla="*/ 17760 h 18072"/>
              <a:gd name="connsiteX8" fmla="*/ 11000 w 19454"/>
              <a:gd name="connsiteY8" fmla="*/ 18044 h 18072"/>
              <a:gd name="connsiteX9" fmla="*/ 13898 w 19454"/>
              <a:gd name="connsiteY9" fmla="*/ 17031 h 18072"/>
              <a:gd name="connsiteX10" fmla="*/ 15605 w 19454"/>
              <a:gd name="connsiteY10" fmla="*/ 16855 h 18072"/>
              <a:gd name="connsiteX11" fmla="*/ 19138 w 19454"/>
              <a:gd name="connsiteY11" fmla="*/ 15924 h 18072"/>
              <a:gd name="connsiteX12" fmla="*/ 19305 w 19454"/>
              <a:gd name="connsiteY12" fmla="*/ 12038 h 18072"/>
              <a:gd name="connsiteX13" fmla="*/ 19333 w 19454"/>
              <a:gd name="connsiteY13" fmla="*/ 8393 h 18072"/>
              <a:gd name="connsiteX14" fmla="*/ 18949 w 19454"/>
              <a:gd name="connsiteY14" fmla="*/ 3401 h 18072"/>
              <a:gd name="connsiteX15" fmla="*/ 15199 w 19454"/>
              <a:gd name="connsiteY15" fmla="*/ 859 h 18072"/>
              <a:gd name="connsiteX16" fmla="*/ 11465 w 19454"/>
              <a:gd name="connsiteY16" fmla="*/ 23 h 18072"/>
              <a:gd name="connsiteX0" fmla="*/ 11465 w 19454"/>
              <a:gd name="connsiteY0" fmla="*/ 23 h 18091"/>
              <a:gd name="connsiteX1" fmla="*/ 5703 w 19454"/>
              <a:gd name="connsiteY1" fmla="*/ 1085 h 18091"/>
              <a:gd name="connsiteX2" fmla="*/ 1220 w 19454"/>
              <a:gd name="connsiteY2" fmla="*/ 5155 h 18091"/>
              <a:gd name="connsiteX3" fmla="*/ 36 w 19454"/>
              <a:gd name="connsiteY3" fmla="*/ 9089 h 18091"/>
              <a:gd name="connsiteX4" fmla="*/ 353 w 19454"/>
              <a:gd name="connsiteY4" fmla="*/ 13412 h 18091"/>
              <a:gd name="connsiteX5" fmla="*/ 1192 w 19454"/>
              <a:gd name="connsiteY5" fmla="*/ 15940 h 18091"/>
              <a:gd name="connsiteX6" fmla="*/ 6228 w 19454"/>
              <a:gd name="connsiteY6" fmla="*/ 16324 h 18091"/>
              <a:gd name="connsiteX7" fmla="*/ 8632 w 19454"/>
              <a:gd name="connsiteY7" fmla="*/ 17760 h 18091"/>
              <a:gd name="connsiteX8" fmla="*/ 11000 w 19454"/>
              <a:gd name="connsiteY8" fmla="*/ 18044 h 18091"/>
              <a:gd name="connsiteX9" fmla="*/ 13898 w 19454"/>
              <a:gd name="connsiteY9" fmla="*/ 17031 h 18091"/>
              <a:gd name="connsiteX10" fmla="*/ 15605 w 19454"/>
              <a:gd name="connsiteY10" fmla="*/ 16855 h 18091"/>
              <a:gd name="connsiteX11" fmla="*/ 19138 w 19454"/>
              <a:gd name="connsiteY11" fmla="*/ 15924 h 18091"/>
              <a:gd name="connsiteX12" fmla="*/ 19305 w 19454"/>
              <a:gd name="connsiteY12" fmla="*/ 12038 h 18091"/>
              <a:gd name="connsiteX13" fmla="*/ 19333 w 19454"/>
              <a:gd name="connsiteY13" fmla="*/ 8393 h 18091"/>
              <a:gd name="connsiteX14" fmla="*/ 18949 w 19454"/>
              <a:gd name="connsiteY14" fmla="*/ 3401 h 18091"/>
              <a:gd name="connsiteX15" fmla="*/ 15199 w 19454"/>
              <a:gd name="connsiteY15" fmla="*/ 859 h 18091"/>
              <a:gd name="connsiteX16" fmla="*/ 11465 w 19454"/>
              <a:gd name="connsiteY16" fmla="*/ 23 h 18091"/>
              <a:gd name="connsiteX0" fmla="*/ 11465 w 19454"/>
              <a:gd name="connsiteY0" fmla="*/ 23 h 18091"/>
              <a:gd name="connsiteX1" fmla="*/ 5703 w 19454"/>
              <a:gd name="connsiteY1" fmla="*/ 1085 h 18091"/>
              <a:gd name="connsiteX2" fmla="*/ 1220 w 19454"/>
              <a:gd name="connsiteY2" fmla="*/ 5155 h 18091"/>
              <a:gd name="connsiteX3" fmla="*/ 36 w 19454"/>
              <a:gd name="connsiteY3" fmla="*/ 9089 h 18091"/>
              <a:gd name="connsiteX4" fmla="*/ 353 w 19454"/>
              <a:gd name="connsiteY4" fmla="*/ 13412 h 18091"/>
              <a:gd name="connsiteX5" fmla="*/ 1192 w 19454"/>
              <a:gd name="connsiteY5" fmla="*/ 15940 h 18091"/>
              <a:gd name="connsiteX6" fmla="*/ 6228 w 19454"/>
              <a:gd name="connsiteY6" fmla="*/ 16324 h 18091"/>
              <a:gd name="connsiteX7" fmla="*/ 8632 w 19454"/>
              <a:gd name="connsiteY7" fmla="*/ 17760 h 18091"/>
              <a:gd name="connsiteX8" fmla="*/ 11000 w 19454"/>
              <a:gd name="connsiteY8" fmla="*/ 18044 h 18091"/>
              <a:gd name="connsiteX9" fmla="*/ 13898 w 19454"/>
              <a:gd name="connsiteY9" fmla="*/ 17031 h 18091"/>
              <a:gd name="connsiteX10" fmla="*/ 15605 w 19454"/>
              <a:gd name="connsiteY10" fmla="*/ 16855 h 18091"/>
              <a:gd name="connsiteX11" fmla="*/ 19138 w 19454"/>
              <a:gd name="connsiteY11" fmla="*/ 15924 h 18091"/>
              <a:gd name="connsiteX12" fmla="*/ 19305 w 19454"/>
              <a:gd name="connsiteY12" fmla="*/ 12038 h 18091"/>
              <a:gd name="connsiteX13" fmla="*/ 19333 w 19454"/>
              <a:gd name="connsiteY13" fmla="*/ 8393 h 18091"/>
              <a:gd name="connsiteX14" fmla="*/ 18949 w 19454"/>
              <a:gd name="connsiteY14" fmla="*/ 3401 h 18091"/>
              <a:gd name="connsiteX15" fmla="*/ 15199 w 19454"/>
              <a:gd name="connsiteY15" fmla="*/ 859 h 18091"/>
              <a:gd name="connsiteX16" fmla="*/ 11465 w 19454"/>
              <a:gd name="connsiteY16" fmla="*/ 23 h 18091"/>
              <a:gd name="connsiteX0" fmla="*/ 11465 w 19454"/>
              <a:gd name="connsiteY0" fmla="*/ 23 h 18044"/>
              <a:gd name="connsiteX1" fmla="*/ 5703 w 19454"/>
              <a:gd name="connsiteY1" fmla="*/ 1085 h 18044"/>
              <a:gd name="connsiteX2" fmla="*/ 1220 w 19454"/>
              <a:gd name="connsiteY2" fmla="*/ 5155 h 18044"/>
              <a:gd name="connsiteX3" fmla="*/ 36 w 19454"/>
              <a:gd name="connsiteY3" fmla="*/ 9089 h 18044"/>
              <a:gd name="connsiteX4" fmla="*/ 353 w 19454"/>
              <a:gd name="connsiteY4" fmla="*/ 13412 h 18044"/>
              <a:gd name="connsiteX5" fmla="*/ 1192 w 19454"/>
              <a:gd name="connsiteY5" fmla="*/ 15940 h 18044"/>
              <a:gd name="connsiteX6" fmla="*/ 6228 w 19454"/>
              <a:gd name="connsiteY6" fmla="*/ 16324 h 18044"/>
              <a:gd name="connsiteX7" fmla="*/ 8792 w 19454"/>
              <a:gd name="connsiteY7" fmla="*/ 16911 h 18044"/>
              <a:gd name="connsiteX8" fmla="*/ 11000 w 19454"/>
              <a:gd name="connsiteY8" fmla="*/ 18044 h 18044"/>
              <a:gd name="connsiteX9" fmla="*/ 13898 w 19454"/>
              <a:gd name="connsiteY9" fmla="*/ 17031 h 18044"/>
              <a:gd name="connsiteX10" fmla="*/ 15605 w 19454"/>
              <a:gd name="connsiteY10" fmla="*/ 16855 h 18044"/>
              <a:gd name="connsiteX11" fmla="*/ 19138 w 19454"/>
              <a:gd name="connsiteY11" fmla="*/ 15924 h 18044"/>
              <a:gd name="connsiteX12" fmla="*/ 19305 w 19454"/>
              <a:gd name="connsiteY12" fmla="*/ 12038 h 18044"/>
              <a:gd name="connsiteX13" fmla="*/ 19333 w 19454"/>
              <a:gd name="connsiteY13" fmla="*/ 8393 h 18044"/>
              <a:gd name="connsiteX14" fmla="*/ 18949 w 19454"/>
              <a:gd name="connsiteY14" fmla="*/ 3401 h 18044"/>
              <a:gd name="connsiteX15" fmla="*/ 15199 w 19454"/>
              <a:gd name="connsiteY15" fmla="*/ 859 h 18044"/>
              <a:gd name="connsiteX16" fmla="*/ 11465 w 19454"/>
              <a:gd name="connsiteY16" fmla="*/ 23 h 18044"/>
              <a:gd name="connsiteX0" fmla="*/ 11465 w 19454"/>
              <a:gd name="connsiteY0" fmla="*/ 23 h 17034"/>
              <a:gd name="connsiteX1" fmla="*/ 5703 w 19454"/>
              <a:gd name="connsiteY1" fmla="*/ 1085 h 17034"/>
              <a:gd name="connsiteX2" fmla="*/ 1220 w 19454"/>
              <a:gd name="connsiteY2" fmla="*/ 5155 h 17034"/>
              <a:gd name="connsiteX3" fmla="*/ 36 w 19454"/>
              <a:gd name="connsiteY3" fmla="*/ 9089 h 17034"/>
              <a:gd name="connsiteX4" fmla="*/ 353 w 19454"/>
              <a:gd name="connsiteY4" fmla="*/ 13412 h 17034"/>
              <a:gd name="connsiteX5" fmla="*/ 1192 w 19454"/>
              <a:gd name="connsiteY5" fmla="*/ 15940 h 17034"/>
              <a:gd name="connsiteX6" fmla="*/ 6228 w 19454"/>
              <a:gd name="connsiteY6" fmla="*/ 16324 h 17034"/>
              <a:gd name="connsiteX7" fmla="*/ 8792 w 19454"/>
              <a:gd name="connsiteY7" fmla="*/ 16911 h 17034"/>
              <a:gd name="connsiteX8" fmla="*/ 11183 w 19454"/>
              <a:gd name="connsiteY8" fmla="*/ 16797 h 17034"/>
              <a:gd name="connsiteX9" fmla="*/ 13898 w 19454"/>
              <a:gd name="connsiteY9" fmla="*/ 17031 h 17034"/>
              <a:gd name="connsiteX10" fmla="*/ 15605 w 19454"/>
              <a:gd name="connsiteY10" fmla="*/ 16855 h 17034"/>
              <a:gd name="connsiteX11" fmla="*/ 19138 w 19454"/>
              <a:gd name="connsiteY11" fmla="*/ 15924 h 17034"/>
              <a:gd name="connsiteX12" fmla="*/ 19305 w 19454"/>
              <a:gd name="connsiteY12" fmla="*/ 12038 h 17034"/>
              <a:gd name="connsiteX13" fmla="*/ 19333 w 19454"/>
              <a:gd name="connsiteY13" fmla="*/ 8393 h 17034"/>
              <a:gd name="connsiteX14" fmla="*/ 18949 w 19454"/>
              <a:gd name="connsiteY14" fmla="*/ 3401 h 17034"/>
              <a:gd name="connsiteX15" fmla="*/ 15199 w 19454"/>
              <a:gd name="connsiteY15" fmla="*/ 859 h 17034"/>
              <a:gd name="connsiteX16" fmla="*/ 11465 w 19454"/>
              <a:gd name="connsiteY16" fmla="*/ 23 h 17034"/>
              <a:gd name="connsiteX0" fmla="*/ 11465 w 19454"/>
              <a:gd name="connsiteY0" fmla="*/ 23 h 16937"/>
              <a:gd name="connsiteX1" fmla="*/ 5703 w 19454"/>
              <a:gd name="connsiteY1" fmla="*/ 1085 h 16937"/>
              <a:gd name="connsiteX2" fmla="*/ 1220 w 19454"/>
              <a:gd name="connsiteY2" fmla="*/ 5155 h 16937"/>
              <a:gd name="connsiteX3" fmla="*/ 36 w 19454"/>
              <a:gd name="connsiteY3" fmla="*/ 9089 h 16937"/>
              <a:gd name="connsiteX4" fmla="*/ 353 w 19454"/>
              <a:gd name="connsiteY4" fmla="*/ 13412 h 16937"/>
              <a:gd name="connsiteX5" fmla="*/ 1192 w 19454"/>
              <a:gd name="connsiteY5" fmla="*/ 15940 h 16937"/>
              <a:gd name="connsiteX6" fmla="*/ 6228 w 19454"/>
              <a:gd name="connsiteY6" fmla="*/ 16324 h 16937"/>
              <a:gd name="connsiteX7" fmla="*/ 8792 w 19454"/>
              <a:gd name="connsiteY7" fmla="*/ 16911 h 16937"/>
              <a:gd name="connsiteX8" fmla="*/ 11183 w 19454"/>
              <a:gd name="connsiteY8" fmla="*/ 16797 h 16937"/>
              <a:gd name="connsiteX9" fmla="*/ 13806 w 19454"/>
              <a:gd name="connsiteY9" fmla="*/ 16448 h 16937"/>
              <a:gd name="connsiteX10" fmla="*/ 15605 w 19454"/>
              <a:gd name="connsiteY10" fmla="*/ 16855 h 16937"/>
              <a:gd name="connsiteX11" fmla="*/ 19138 w 19454"/>
              <a:gd name="connsiteY11" fmla="*/ 15924 h 16937"/>
              <a:gd name="connsiteX12" fmla="*/ 19305 w 19454"/>
              <a:gd name="connsiteY12" fmla="*/ 12038 h 16937"/>
              <a:gd name="connsiteX13" fmla="*/ 19333 w 19454"/>
              <a:gd name="connsiteY13" fmla="*/ 8393 h 16937"/>
              <a:gd name="connsiteX14" fmla="*/ 18949 w 19454"/>
              <a:gd name="connsiteY14" fmla="*/ 3401 h 16937"/>
              <a:gd name="connsiteX15" fmla="*/ 15199 w 19454"/>
              <a:gd name="connsiteY15" fmla="*/ 859 h 16937"/>
              <a:gd name="connsiteX16" fmla="*/ 11465 w 19454"/>
              <a:gd name="connsiteY16" fmla="*/ 23 h 16937"/>
              <a:gd name="connsiteX0" fmla="*/ 11465 w 19445"/>
              <a:gd name="connsiteY0" fmla="*/ 23 h 16937"/>
              <a:gd name="connsiteX1" fmla="*/ 5703 w 19445"/>
              <a:gd name="connsiteY1" fmla="*/ 1085 h 16937"/>
              <a:gd name="connsiteX2" fmla="*/ 1220 w 19445"/>
              <a:gd name="connsiteY2" fmla="*/ 5155 h 16937"/>
              <a:gd name="connsiteX3" fmla="*/ 36 w 19445"/>
              <a:gd name="connsiteY3" fmla="*/ 9089 h 16937"/>
              <a:gd name="connsiteX4" fmla="*/ 353 w 19445"/>
              <a:gd name="connsiteY4" fmla="*/ 13412 h 16937"/>
              <a:gd name="connsiteX5" fmla="*/ 1192 w 19445"/>
              <a:gd name="connsiteY5" fmla="*/ 15940 h 16937"/>
              <a:gd name="connsiteX6" fmla="*/ 6228 w 19445"/>
              <a:gd name="connsiteY6" fmla="*/ 16324 h 16937"/>
              <a:gd name="connsiteX7" fmla="*/ 8792 w 19445"/>
              <a:gd name="connsiteY7" fmla="*/ 16911 h 16937"/>
              <a:gd name="connsiteX8" fmla="*/ 11183 w 19445"/>
              <a:gd name="connsiteY8" fmla="*/ 16797 h 16937"/>
              <a:gd name="connsiteX9" fmla="*/ 13806 w 19445"/>
              <a:gd name="connsiteY9" fmla="*/ 16448 h 16937"/>
              <a:gd name="connsiteX10" fmla="*/ 15719 w 19445"/>
              <a:gd name="connsiteY10" fmla="*/ 16033 h 16937"/>
              <a:gd name="connsiteX11" fmla="*/ 19138 w 19445"/>
              <a:gd name="connsiteY11" fmla="*/ 15924 h 16937"/>
              <a:gd name="connsiteX12" fmla="*/ 19305 w 19445"/>
              <a:gd name="connsiteY12" fmla="*/ 12038 h 16937"/>
              <a:gd name="connsiteX13" fmla="*/ 19333 w 19445"/>
              <a:gd name="connsiteY13" fmla="*/ 8393 h 16937"/>
              <a:gd name="connsiteX14" fmla="*/ 18949 w 19445"/>
              <a:gd name="connsiteY14" fmla="*/ 3401 h 16937"/>
              <a:gd name="connsiteX15" fmla="*/ 15199 w 19445"/>
              <a:gd name="connsiteY15" fmla="*/ 859 h 16937"/>
              <a:gd name="connsiteX16" fmla="*/ 11465 w 19445"/>
              <a:gd name="connsiteY16" fmla="*/ 23 h 16937"/>
              <a:gd name="connsiteX0" fmla="*/ 11465 w 19445"/>
              <a:gd name="connsiteY0" fmla="*/ 23 h 16953"/>
              <a:gd name="connsiteX1" fmla="*/ 5703 w 19445"/>
              <a:gd name="connsiteY1" fmla="*/ 1085 h 16953"/>
              <a:gd name="connsiteX2" fmla="*/ 1220 w 19445"/>
              <a:gd name="connsiteY2" fmla="*/ 5155 h 16953"/>
              <a:gd name="connsiteX3" fmla="*/ 36 w 19445"/>
              <a:gd name="connsiteY3" fmla="*/ 9089 h 16953"/>
              <a:gd name="connsiteX4" fmla="*/ 353 w 19445"/>
              <a:gd name="connsiteY4" fmla="*/ 13412 h 16953"/>
              <a:gd name="connsiteX5" fmla="*/ 1192 w 19445"/>
              <a:gd name="connsiteY5" fmla="*/ 15940 h 16953"/>
              <a:gd name="connsiteX6" fmla="*/ 6228 w 19445"/>
              <a:gd name="connsiteY6" fmla="*/ 16324 h 16953"/>
              <a:gd name="connsiteX7" fmla="*/ 8792 w 19445"/>
              <a:gd name="connsiteY7" fmla="*/ 16911 h 16953"/>
              <a:gd name="connsiteX8" fmla="*/ 11183 w 19445"/>
              <a:gd name="connsiteY8" fmla="*/ 16797 h 16953"/>
              <a:gd name="connsiteX9" fmla="*/ 13806 w 19445"/>
              <a:gd name="connsiteY9" fmla="*/ 15918 h 16953"/>
              <a:gd name="connsiteX10" fmla="*/ 15719 w 19445"/>
              <a:gd name="connsiteY10" fmla="*/ 16033 h 16953"/>
              <a:gd name="connsiteX11" fmla="*/ 19138 w 19445"/>
              <a:gd name="connsiteY11" fmla="*/ 15924 h 16953"/>
              <a:gd name="connsiteX12" fmla="*/ 19305 w 19445"/>
              <a:gd name="connsiteY12" fmla="*/ 12038 h 16953"/>
              <a:gd name="connsiteX13" fmla="*/ 19333 w 19445"/>
              <a:gd name="connsiteY13" fmla="*/ 8393 h 16953"/>
              <a:gd name="connsiteX14" fmla="*/ 18949 w 19445"/>
              <a:gd name="connsiteY14" fmla="*/ 3401 h 16953"/>
              <a:gd name="connsiteX15" fmla="*/ 15199 w 19445"/>
              <a:gd name="connsiteY15" fmla="*/ 859 h 16953"/>
              <a:gd name="connsiteX16" fmla="*/ 11465 w 19445"/>
              <a:gd name="connsiteY16" fmla="*/ 23 h 16953"/>
              <a:gd name="connsiteX0" fmla="*/ 11465 w 19445"/>
              <a:gd name="connsiteY0" fmla="*/ 23 h 16917"/>
              <a:gd name="connsiteX1" fmla="*/ 5703 w 19445"/>
              <a:gd name="connsiteY1" fmla="*/ 1085 h 16917"/>
              <a:gd name="connsiteX2" fmla="*/ 1220 w 19445"/>
              <a:gd name="connsiteY2" fmla="*/ 5155 h 16917"/>
              <a:gd name="connsiteX3" fmla="*/ 36 w 19445"/>
              <a:gd name="connsiteY3" fmla="*/ 9089 h 16917"/>
              <a:gd name="connsiteX4" fmla="*/ 353 w 19445"/>
              <a:gd name="connsiteY4" fmla="*/ 13412 h 16917"/>
              <a:gd name="connsiteX5" fmla="*/ 1192 w 19445"/>
              <a:gd name="connsiteY5" fmla="*/ 15940 h 16917"/>
              <a:gd name="connsiteX6" fmla="*/ 6228 w 19445"/>
              <a:gd name="connsiteY6" fmla="*/ 16324 h 16917"/>
              <a:gd name="connsiteX7" fmla="*/ 8792 w 19445"/>
              <a:gd name="connsiteY7" fmla="*/ 16911 h 16917"/>
              <a:gd name="connsiteX8" fmla="*/ 11000 w 19445"/>
              <a:gd name="connsiteY8" fmla="*/ 15895 h 16917"/>
              <a:gd name="connsiteX9" fmla="*/ 13806 w 19445"/>
              <a:gd name="connsiteY9" fmla="*/ 15918 h 16917"/>
              <a:gd name="connsiteX10" fmla="*/ 15719 w 19445"/>
              <a:gd name="connsiteY10" fmla="*/ 16033 h 16917"/>
              <a:gd name="connsiteX11" fmla="*/ 19138 w 19445"/>
              <a:gd name="connsiteY11" fmla="*/ 15924 h 16917"/>
              <a:gd name="connsiteX12" fmla="*/ 19305 w 19445"/>
              <a:gd name="connsiteY12" fmla="*/ 12038 h 16917"/>
              <a:gd name="connsiteX13" fmla="*/ 19333 w 19445"/>
              <a:gd name="connsiteY13" fmla="*/ 8393 h 16917"/>
              <a:gd name="connsiteX14" fmla="*/ 18949 w 19445"/>
              <a:gd name="connsiteY14" fmla="*/ 3401 h 16917"/>
              <a:gd name="connsiteX15" fmla="*/ 15199 w 19445"/>
              <a:gd name="connsiteY15" fmla="*/ 859 h 16917"/>
              <a:gd name="connsiteX16" fmla="*/ 11465 w 19445"/>
              <a:gd name="connsiteY16" fmla="*/ 23 h 16917"/>
              <a:gd name="connsiteX0" fmla="*/ 11465 w 19445"/>
              <a:gd name="connsiteY0" fmla="*/ 23 h 16917"/>
              <a:gd name="connsiteX1" fmla="*/ 5703 w 19445"/>
              <a:gd name="connsiteY1" fmla="*/ 1085 h 16917"/>
              <a:gd name="connsiteX2" fmla="*/ 1220 w 19445"/>
              <a:gd name="connsiteY2" fmla="*/ 5155 h 16917"/>
              <a:gd name="connsiteX3" fmla="*/ 36 w 19445"/>
              <a:gd name="connsiteY3" fmla="*/ 9089 h 16917"/>
              <a:gd name="connsiteX4" fmla="*/ 353 w 19445"/>
              <a:gd name="connsiteY4" fmla="*/ 13412 h 16917"/>
              <a:gd name="connsiteX5" fmla="*/ 1192 w 19445"/>
              <a:gd name="connsiteY5" fmla="*/ 15940 h 16917"/>
              <a:gd name="connsiteX6" fmla="*/ 6228 w 19445"/>
              <a:gd name="connsiteY6" fmla="*/ 16324 h 16917"/>
              <a:gd name="connsiteX7" fmla="*/ 8792 w 19445"/>
              <a:gd name="connsiteY7" fmla="*/ 16911 h 16917"/>
              <a:gd name="connsiteX8" fmla="*/ 11000 w 19445"/>
              <a:gd name="connsiteY8" fmla="*/ 15895 h 16917"/>
              <a:gd name="connsiteX9" fmla="*/ 13829 w 19445"/>
              <a:gd name="connsiteY9" fmla="*/ 15573 h 16917"/>
              <a:gd name="connsiteX10" fmla="*/ 15719 w 19445"/>
              <a:gd name="connsiteY10" fmla="*/ 16033 h 16917"/>
              <a:gd name="connsiteX11" fmla="*/ 19138 w 19445"/>
              <a:gd name="connsiteY11" fmla="*/ 15924 h 16917"/>
              <a:gd name="connsiteX12" fmla="*/ 19305 w 19445"/>
              <a:gd name="connsiteY12" fmla="*/ 12038 h 16917"/>
              <a:gd name="connsiteX13" fmla="*/ 19333 w 19445"/>
              <a:gd name="connsiteY13" fmla="*/ 8393 h 16917"/>
              <a:gd name="connsiteX14" fmla="*/ 18949 w 19445"/>
              <a:gd name="connsiteY14" fmla="*/ 3401 h 16917"/>
              <a:gd name="connsiteX15" fmla="*/ 15199 w 19445"/>
              <a:gd name="connsiteY15" fmla="*/ 859 h 16917"/>
              <a:gd name="connsiteX16" fmla="*/ 11465 w 19445"/>
              <a:gd name="connsiteY16" fmla="*/ 23 h 16917"/>
              <a:gd name="connsiteX0" fmla="*/ 11465 w 19445"/>
              <a:gd name="connsiteY0" fmla="*/ 23 h 16917"/>
              <a:gd name="connsiteX1" fmla="*/ 5703 w 19445"/>
              <a:gd name="connsiteY1" fmla="*/ 1085 h 16917"/>
              <a:gd name="connsiteX2" fmla="*/ 1220 w 19445"/>
              <a:gd name="connsiteY2" fmla="*/ 5155 h 16917"/>
              <a:gd name="connsiteX3" fmla="*/ 36 w 19445"/>
              <a:gd name="connsiteY3" fmla="*/ 9089 h 16917"/>
              <a:gd name="connsiteX4" fmla="*/ 353 w 19445"/>
              <a:gd name="connsiteY4" fmla="*/ 13412 h 16917"/>
              <a:gd name="connsiteX5" fmla="*/ 1192 w 19445"/>
              <a:gd name="connsiteY5" fmla="*/ 15940 h 16917"/>
              <a:gd name="connsiteX6" fmla="*/ 6228 w 19445"/>
              <a:gd name="connsiteY6" fmla="*/ 16324 h 16917"/>
              <a:gd name="connsiteX7" fmla="*/ 8792 w 19445"/>
              <a:gd name="connsiteY7" fmla="*/ 16911 h 16917"/>
              <a:gd name="connsiteX8" fmla="*/ 11000 w 19445"/>
              <a:gd name="connsiteY8" fmla="*/ 15895 h 16917"/>
              <a:gd name="connsiteX9" fmla="*/ 13829 w 19445"/>
              <a:gd name="connsiteY9" fmla="*/ 15573 h 16917"/>
              <a:gd name="connsiteX10" fmla="*/ 15719 w 19445"/>
              <a:gd name="connsiteY10" fmla="*/ 15715 h 16917"/>
              <a:gd name="connsiteX11" fmla="*/ 19138 w 19445"/>
              <a:gd name="connsiteY11" fmla="*/ 15924 h 16917"/>
              <a:gd name="connsiteX12" fmla="*/ 19305 w 19445"/>
              <a:gd name="connsiteY12" fmla="*/ 12038 h 16917"/>
              <a:gd name="connsiteX13" fmla="*/ 19333 w 19445"/>
              <a:gd name="connsiteY13" fmla="*/ 8393 h 16917"/>
              <a:gd name="connsiteX14" fmla="*/ 18949 w 19445"/>
              <a:gd name="connsiteY14" fmla="*/ 3401 h 16917"/>
              <a:gd name="connsiteX15" fmla="*/ 15199 w 19445"/>
              <a:gd name="connsiteY15" fmla="*/ 859 h 16917"/>
              <a:gd name="connsiteX16" fmla="*/ 11465 w 19445"/>
              <a:gd name="connsiteY16" fmla="*/ 23 h 16917"/>
              <a:gd name="connsiteX0" fmla="*/ 11465 w 19390"/>
              <a:gd name="connsiteY0" fmla="*/ 23 h 16917"/>
              <a:gd name="connsiteX1" fmla="*/ 5703 w 19390"/>
              <a:gd name="connsiteY1" fmla="*/ 1085 h 16917"/>
              <a:gd name="connsiteX2" fmla="*/ 1220 w 19390"/>
              <a:gd name="connsiteY2" fmla="*/ 5155 h 16917"/>
              <a:gd name="connsiteX3" fmla="*/ 36 w 19390"/>
              <a:gd name="connsiteY3" fmla="*/ 9089 h 16917"/>
              <a:gd name="connsiteX4" fmla="*/ 353 w 19390"/>
              <a:gd name="connsiteY4" fmla="*/ 13412 h 16917"/>
              <a:gd name="connsiteX5" fmla="*/ 1192 w 19390"/>
              <a:gd name="connsiteY5" fmla="*/ 15940 h 16917"/>
              <a:gd name="connsiteX6" fmla="*/ 6228 w 19390"/>
              <a:gd name="connsiteY6" fmla="*/ 16324 h 16917"/>
              <a:gd name="connsiteX7" fmla="*/ 8792 w 19390"/>
              <a:gd name="connsiteY7" fmla="*/ 16911 h 16917"/>
              <a:gd name="connsiteX8" fmla="*/ 11000 w 19390"/>
              <a:gd name="connsiteY8" fmla="*/ 15895 h 16917"/>
              <a:gd name="connsiteX9" fmla="*/ 13829 w 19390"/>
              <a:gd name="connsiteY9" fmla="*/ 15573 h 16917"/>
              <a:gd name="connsiteX10" fmla="*/ 15719 w 19390"/>
              <a:gd name="connsiteY10" fmla="*/ 15715 h 16917"/>
              <a:gd name="connsiteX11" fmla="*/ 18543 w 19390"/>
              <a:gd name="connsiteY11" fmla="*/ 15924 h 16917"/>
              <a:gd name="connsiteX12" fmla="*/ 19305 w 19390"/>
              <a:gd name="connsiteY12" fmla="*/ 12038 h 16917"/>
              <a:gd name="connsiteX13" fmla="*/ 19333 w 19390"/>
              <a:gd name="connsiteY13" fmla="*/ 8393 h 16917"/>
              <a:gd name="connsiteX14" fmla="*/ 18949 w 19390"/>
              <a:gd name="connsiteY14" fmla="*/ 3401 h 16917"/>
              <a:gd name="connsiteX15" fmla="*/ 15199 w 19390"/>
              <a:gd name="connsiteY15" fmla="*/ 859 h 16917"/>
              <a:gd name="connsiteX16" fmla="*/ 11465 w 19390"/>
              <a:gd name="connsiteY16" fmla="*/ 23 h 16917"/>
              <a:gd name="connsiteX0" fmla="*/ 11465 w 19390"/>
              <a:gd name="connsiteY0" fmla="*/ 23 h 16917"/>
              <a:gd name="connsiteX1" fmla="*/ 5703 w 19390"/>
              <a:gd name="connsiteY1" fmla="*/ 1085 h 16917"/>
              <a:gd name="connsiteX2" fmla="*/ 1220 w 19390"/>
              <a:gd name="connsiteY2" fmla="*/ 5155 h 16917"/>
              <a:gd name="connsiteX3" fmla="*/ 36 w 19390"/>
              <a:gd name="connsiteY3" fmla="*/ 9089 h 16917"/>
              <a:gd name="connsiteX4" fmla="*/ 353 w 19390"/>
              <a:gd name="connsiteY4" fmla="*/ 13412 h 16917"/>
              <a:gd name="connsiteX5" fmla="*/ 1192 w 19390"/>
              <a:gd name="connsiteY5" fmla="*/ 15940 h 16917"/>
              <a:gd name="connsiteX6" fmla="*/ 6228 w 19390"/>
              <a:gd name="connsiteY6" fmla="*/ 16324 h 16917"/>
              <a:gd name="connsiteX7" fmla="*/ 8792 w 19390"/>
              <a:gd name="connsiteY7" fmla="*/ 16911 h 16917"/>
              <a:gd name="connsiteX8" fmla="*/ 11000 w 19390"/>
              <a:gd name="connsiteY8" fmla="*/ 15895 h 16917"/>
              <a:gd name="connsiteX9" fmla="*/ 13829 w 19390"/>
              <a:gd name="connsiteY9" fmla="*/ 15573 h 16917"/>
              <a:gd name="connsiteX10" fmla="*/ 15719 w 19390"/>
              <a:gd name="connsiteY10" fmla="*/ 15715 h 16917"/>
              <a:gd name="connsiteX11" fmla="*/ 18543 w 19390"/>
              <a:gd name="connsiteY11" fmla="*/ 15924 h 16917"/>
              <a:gd name="connsiteX12" fmla="*/ 19305 w 19390"/>
              <a:gd name="connsiteY12" fmla="*/ 12038 h 16917"/>
              <a:gd name="connsiteX13" fmla="*/ 19333 w 19390"/>
              <a:gd name="connsiteY13" fmla="*/ 8393 h 16917"/>
              <a:gd name="connsiteX14" fmla="*/ 18949 w 19390"/>
              <a:gd name="connsiteY14" fmla="*/ 3401 h 16917"/>
              <a:gd name="connsiteX15" fmla="*/ 15199 w 19390"/>
              <a:gd name="connsiteY15" fmla="*/ 859 h 16917"/>
              <a:gd name="connsiteX16" fmla="*/ 11465 w 19390"/>
              <a:gd name="connsiteY16" fmla="*/ 23 h 16917"/>
              <a:gd name="connsiteX0" fmla="*/ 11465 w 19390"/>
              <a:gd name="connsiteY0" fmla="*/ 23 h 16917"/>
              <a:gd name="connsiteX1" fmla="*/ 5703 w 19390"/>
              <a:gd name="connsiteY1" fmla="*/ 1085 h 16917"/>
              <a:gd name="connsiteX2" fmla="*/ 1220 w 19390"/>
              <a:gd name="connsiteY2" fmla="*/ 5155 h 16917"/>
              <a:gd name="connsiteX3" fmla="*/ 36 w 19390"/>
              <a:gd name="connsiteY3" fmla="*/ 9089 h 16917"/>
              <a:gd name="connsiteX4" fmla="*/ 353 w 19390"/>
              <a:gd name="connsiteY4" fmla="*/ 13412 h 16917"/>
              <a:gd name="connsiteX5" fmla="*/ 1192 w 19390"/>
              <a:gd name="connsiteY5" fmla="*/ 15940 h 16917"/>
              <a:gd name="connsiteX6" fmla="*/ 6228 w 19390"/>
              <a:gd name="connsiteY6" fmla="*/ 16324 h 16917"/>
              <a:gd name="connsiteX7" fmla="*/ 8792 w 19390"/>
              <a:gd name="connsiteY7" fmla="*/ 16911 h 16917"/>
              <a:gd name="connsiteX8" fmla="*/ 11000 w 19390"/>
              <a:gd name="connsiteY8" fmla="*/ 15895 h 16917"/>
              <a:gd name="connsiteX9" fmla="*/ 13829 w 19390"/>
              <a:gd name="connsiteY9" fmla="*/ 15573 h 16917"/>
              <a:gd name="connsiteX10" fmla="*/ 15719 w 19390"/>
              <a:gd name="connsiteY10" fmla="*/ 15715 h 16917"/>
              <a:gd name="connsiteX11" fmla="*/ 18543 w 19390"/>
              <a:gd name="connsiteY11" fmla="*/ 15924 h 16917"/>
              <a:gd name="connsiteX12" fmla="*/ 19305 w 19390"/>
              <a:gd name="connsiteY12" fmla="*/ 12038 h 16917"/>
              <a:gd name="connsiteX13" fmla="*/ 19333 w 19390"/>
              <a:gd name="connsiteY13" fmla="*/ 8393 h 16917"/>
              <a:gd name="connsiteX14" fmla="*/ 18949 w 19390"/>
              <a:gd name="connsiteY14" fmla="*/ 3401 h 16917"/>
              <a:gd name="connsiteX15" fmla="*/ 15199 w 19390"/>
              <a:gd name="connsiteY15" fmla="*/ 859 h 16917"/>
              <a:gd name="connsiteX16" fmla="*/ 11465 w 19390"/>
              <a:gd name="connsiteY16" fmla="*/ 23 h 16917"/>
              <a:gd name="connsiteX0" fmla="*/ 11465 w 19379"/>
              <a:gd name="connsiteY0" fmla="*/ 23 h 16917"/>
              <a:gd name="connsiteX1" fmla="*/ 5703 w 19379"/>
              <a:gd name="connsiteY1" fmla="*/ 1085 h 16917"/>
              <a:gd name="connsiteX2" fmla="*/ 1220 w 19379"/>
              <a:gd name="connsiteY2" fmla="*/ 5155 h 16917"/>
              <a:gd name="connsiteX3" fmla="*/ 36 w 19379"/>
              <a:gd name="connsiteY3" fmla="*/ 9089 h 16917"/>
              <a:gd name="connsiteX4" fmla="*/ 353 w 19379"/>
              <a:gd name="connsiteY4" fmla="*/ 13412 h 16917"/>
              <a:gd name="connsiteX5" fmla="*/ 1192 w 19379"/>
              <a:gd name="connsiteY5" fmla="*/ 15940 h 16917"/>
              <a:gd name="connsiteX6" fmla="*/ 6228 w 19379"/>
              <a:gd name="connsiteY6" fmla="*/ 16324 h 16917"/>
              <a:gd name="connsiteX7" fmla="*/ 8792 w 19379"/>
              <a:gd name="connsiteY7" fmla="*/ 16911 h 16917"/>
              <a:gd name="connsiteX8" fmla="*/ 11000 w 19379"/>
              <a:gd name="connsiteY8" fmla="*/ 15895 h 16917"/>
              <a:gd name="connsiteX9" fmla="*/ 13829 w 19379"/>
              <a:gd name="connsiteY9" fmla="*/ 15573 h 16917"/>
              <a:gd name="connsiteX10" fmla="*/ 15719 w 19379"/>
              <a:gd name="connsiteY10" fmla="*/ 15715 h 16917"/>
              <a:gd name="connsiteX11" fmla="*/ 18543 w 19379"/>
              <a:gd name="connsiteY11" fmla="*/ 15924 h 16917"/>
              <a:gd name="connsiteX12" fmla="*/ 19305 w 19379"/>
              <a:gd name="connsiteY12" fmla="*/ 12038 h 16917"/>
              <a:gd name="connsiteX13" fmla="*/ 19310 w 19379"/>
              <a:gd name="connsiteY13" fmla="*/ 8976 h 16917"/>
              <a:gd name="connsiteX14" fmla="*/ 18949 w 19379"/>
              <a:gd name="connsiteY14" fmla="*/ 3401 h 16917"/>
              <a:gd name="connsiteX15" fmla="*/ 15199 w 19379"/>
              <a:gd name="connsiteY15" fmla="*/ 859 h 16917"/>
              <a:gd name="connsiteX16" fmla="*/ 11465 w 19379"/>
              <a:gd name="connsiteY16" fmla="*/ 23 h 16917"/>
              <a:gd name="connsiteX0" fmla="*/ 11465 w 19372"/>
              <a:gd name="connsiteY0" fmla="*/ 23 h 16917"/>
              <a:gd name="connsiteX1" fmla="*/ 5703 w 19372"/>
              <a:gd name="connsiteY1" fmla="*/ 1085 h 16917"/>
              <a:gd name="connsiteX2" fmla="*/ 1220 w 19372"/>
              <a:gd name="connsiteY2" fmla="*/ 5155 h 16917"/>
              <a:gd name="connsiteX3" fmla="*/ 36 w 19372"/>
              <a:gd name="connsiteY3" fmla="*/ 9089 h 16917"/>
              <a:gd name="connsiteX4" fmla="*/ 353 w 19372"/>
              <a:gd name="connsiteY4" fmla="*/ 13412 h 16917"/>
              <a:gd name="connsiteX5" fmla="*/ 1192 w 19372"/>
              <a:gd name="connsiteY5" fmla="*/ 15940 h 16917"/>
              <a:gd name="connsiteX6" fmla="*/ 6228 w 19372"/>
              <a:gd name="connsiteY6" fmla="*/ 16324 h 16917"/>
              <a:gd name="connsiteX7" fmla="*/ 8792 w 19372"/>
              <a:gd name="connsiteY7" fmla="*/ 16911 h 16917"/>
              <a:gd name="connsiteX8" fmla="*/ 11000 w 19372"/>
              <a:gd name="connsiteY8" fmla="*/ 15895 h 16917"/>
              <a:gd name="connsiteX9" fmla="*/ 13829 w 19372"/>
              <a:gd name="connsiteY9" fmla="*/ 15573 h 16917"/>
              <a:gd name="connsiteX10" fmla="*/ 15719 w 19372"/>
              <a:gd name="connsiteY10" fmla="*/ 15715 h 16917"/>
              <a:gd name="connsiteX11" fmla="*/ 18543 w 19372"/>
              <a:gd name="connsiteY11" fmla="*/ 15924 h 16917"/>
              <a:gd name="connsiteX12" fmla="*/ 19305 w 19372"/>
              <a:gd name="connsiteY12" fmla="*/ 12038 h 16917"/>
              <a:gd name="connsiteX13" fmla="*/ 19310 w 19372"/>
              <a:gd name="connsiteY13" fmla="*/ 8976 h 16917"/>
              <a:gd name="connsiteX14" fmla="*/ 18949 w 19372"/>
              <a:gd name="connsiteY14" fmla="*/ 3401 h 16917"/>
              <a:gd name="connsiteX15" fmla="*/ 15199 w 19372"/>
              <a:gd name="connsiteY15" fmla="*/ 859 h 16917"/>
              <a:gd name="connsiteX16" fmla="*/ 11465 w 19372"/>
              <a:gd name="connsiteY16" fmla="*/ 23 h 16917"/>
              <a:gd name="connsiteX0" fmla="*/ 11465 w 19318"/>
              <a:gd name="connsiteY0" fmla="*/ 23 h 16917"/>
              <a:gd name="connsiteX1" fmla="*/ 5703 w 19318"/>
              <a:gd name="connsiteY1" fmla="*/ 1085 h 16917"/>
              <a:gd name="connsiteX2" fmla="*/ 1220 w 19318"/>
              <a:gd name="connsiteY2" fmla="*/ 5155 h 16917"/>
              <a:gd name="connsiteX3" fmla="*/ 36 w 19318"/>
              <a:gd name="connsiteY3" fmla="*/ 9089 h 16917"/>
              <a:gd name="connsiteX4" fmla="*/ 353 w 19318"/>
              <a:gd name="connsiteY4" fmla="*/ 13412 h 16917"/>
              <a:gd name="connsiteX5" fmla="*/ 1192 w 19318"/>
              <a:gd name="connsiteY5" fmla="*/ 15940 h 16917"/>
              <a:gd name="connsiteX6" fmla="*/ 6228 w 19318"/>
              <a:gd name="connsiteY6" fmla="*/ 16324 h 16917"/>
              <a:gd name="connsiteX7" fmla="*/ 8792 w 19318"/>
              <a:gd name="connsiteY7" fmla="*/ 16911 h 16917"/>
              <a:gd name="connsiteX8" fmla="*/ 11000 w 19318"/>
              <a:gd name="connsiteY8" fmla="*/ 15895 h 16917"/>
              <a:gd name="connsiteX9" fmla="*/ 13829 w 19318"/>
              <a:gd name="connsiteY9" fmla="*/ 15573 h 16917"/>
              <a:gd name="connsiteX10" fmla="*/ 15719 w 19318"/>
              <a:gd name="connsiteY10" fmla="*/ 15715 h 16917"/>
              <a:gd name="connsiteX11" fmla="*/ 18543 w 19318"/>
              <a:gd name="connsiteY11" fmla="*/ 15924 h 16917"/>
              <a:gd name="connsiteX12" fmla="*/ 19099 w 19318"/>
              <a:gd name="connsiteY12" fmla="*/ 12224 h 16917"/>
              <a:gd name="connsiteX13" fmla="*/ 19310 w 19318"/>
              <a:gd name="connsiteY13" fmla="*/ 8976 h 16917"/>
              <a:gd name="connsiteX14" fmla="*/ 18949 w 19318"/>
              <a:gd name="connsiteY14" fmla="*/ 3401 h 16917"/>
              <a:gd name="connsiteX15" fmla="*/ 15199 w 19318"/>
              <a:gd name="connsiteY15" fmla="*/ 859 h 16917"/>
              <a:gd name="connsiteX16" fmla="*/ 11465 w 19318"/>
              <a:gd name="connsiteY16" fmla="*/ 23 h 16917"/>
              <a:gd name="connsiteX0" fmla="*/ 11465 w 19167"/>
              <a:gd name="connsiteY0" fmla="*/ 23 h 16917"/>
              <a:gd name="connsiteX1" fmla="*/ 5703 w 19167"/>
              <a:gd name="connsiteY1" fmla="*/ 1085 h 16917"/>
              <a:gd name="connsiteX2" fmla="*/ 1220 w 19167"/>
              <a:gd name="connsiteY2" fmla="*/ 5155 h 16917"/>
              <a:gd name="connsiteX3" fmla="*/ 36 w 19167"/>
              <a:gd name="connsiteY3" fmla="*/ 9089 h 16917"/>
              <a:gd name="connsiteX4" fmla="*/ 353 w 19167"/>
              <a:gd name="connsiteY4" fmla="*/ 13412 h 16917"/>
              <a:gd name="connsiteX5" fmla="*/ 1192 w 19167"/>
              <a:gd name="connsiteY5" fmla="*/ 15940 h 16917"/>
              <a:gd name="connsiteX6" fmla="*/ 6228 w 19167"/>
              <a:gd name="connsiteY6" fmla="*/ 16324 h 16917"/>
              <a:gd name="connsiteX7" fmla="*/ 8792 w 19167"/>
              <a:gd name="connsiteY7" fmla="*/ 16911 h 16917"/>
              <a:gd name="connsiteX8" fmla="*/ 11000 w 19167"/>
              <a:gd name="connsiteY8" fmla="*/ 15895 h 16917"/>
              <a:gd name="connsiteX9" fmla="*/ 13829 w 19167"/>
              <a:gd name="connsiteY9" fmla="*/ 15573 h 16917"/>
              <a:gd name="connsiteX10" fmla="*/ 15719 w 19167"/>
              <a:gd name="connsiteY10" fmla="*/ 15715 h 16917"/>
              <a:gd name="connsiteX11" fmla="*/ 18543 w 19167"/>
              <a:gd name="connsiteY11" fmla="*/ 15924 h 16917"/>
              <a:gd name="connsiteX12" fmla="*/ 19099 w 19167"/>
              <a:gd name="connsiteY12" fmla="*/ 12224 h 16917"/>
              <a:gd name="connsiteX13" fmla="*/ 18944 w 19167"/>
              <a:gd name="connsiteY13" fmla="*/ 9029 h 16917"/>
              <a:gd name="connsiteX14" fmla="*/ 18949 w 19167"/>
              <a:gd name="connsiteY14" fmla="*/ 3401 h 16917"/>
              <a:gd name="connsiteX15" fmla="*/ 15199 w 19167"/>
              <a:gd name="connsiteY15" fmla="*/ 859 h 16917"/>
              <a:gd name="connsiteX16" fmla="*/ 11465 w 19167"/>
              <a:gd name="connsiteY16" fmla="*/ 23 h 16917"/>
              <a:gd name="connsiteX0" fmla="*/ 11465 w 19242"/>
              <a:gd name="connsiteY0" fmla="*/ 23 h 16917"/>
              <a:gd name="connsiteX1" fmla="*/ 5703 w 19242"/>
              <a:gd name="connsiteY1" fmla="*/ 1085 h 16917"/>
              <a:gd name="connsiteX2" fmla="*/ 1220 w 19242"/>
              <a:gd name="connsiteY2" fmla="*/ 5155 h 16917"/>
              <a:gd name="connsiteX3" fmla="*/ 36 w 19242"/>
              <a:gd name="connsiteY3" fmla="*/ 9089 h 16917"/>
              <a:gd name="connsiteX4" fmla="*/ 353 w 19242"/>
              <a:gd name="connsiteY4" fmla="*/ 13412 h 16917"/>
              <a:gd name="connsiteX5" fmla="*/ 1192 w 19242"/>
              <a:gd name="connsiteY5" fmla="*/ 15940 h 16917"/>
              <a:gd name="connsiteX6" fmla="*/ 6228 w 19242"/>
              <a:gd name="connsiteY6" fmla="*/ 16324 h 16917"/>
              <a:gd name="connsiteX7" fmla="*/ 8792 w 19242"/>
              <a:gd name="connsiteY7" fmla="*/ 16911 h 16917"/>
              <a:gd name="connsiteX8" fmla="*/ 11000 w 19242"/>
              <a:gd name="connsiteY8" fmla="*/ 15895 h 16917"/>
              <a:gd name="connsiteX9" fmla="*/ 13829 w 19242"/>
              <a:gd name="connsiteY9" fmla="*/ 15573 h 16917"/>
              <a:gd name="connsiteX10" fmla="*/ 15719 w 19242"/>
              <a:gd name="connsiteY10" fmla="*/ 15715 h 16917"/>
              <a:gd name="connsiteX11" fmla="*/ 18543 w 19242"/>
              <a:gd name="connsiteY11" fmla="*/ 15924 h 16917"/>
              <a:gd name="connsiteX12" fmla="*/ 19099 w 19242"/>
              <a:gd name="connsiteY12" fmla="*/ 12224 h 16917"/>
              <a:gd name="connsiteX13" fmla="*/ 19173 w 19242"/>
              <a:gd name="connsiteY13" fmla="*/ 9029 h 16917"/>
              <a:gd name="connsiteX14" fmla="*/ 18949 w 19242"/>
              <a:gd name="connsiteY14" fmla="*/ 3401 h 16917"/>
              <a:gd name="connsiteX15" fmla="*/ 15199 w 19242"/>
              <a:gd name="connsiteY15" fmla="*/ 859 h 16917"/>
              <a:gd name="connsiteX16" fmla="*/ 11465 w 19242"/>
              <a:gd name="connsiteY16" fmla="*/ 23 h 16917"/>
              <a:gd name="connsiteX0" fmla="*/ 11465 w 19188"/>
              <a:gd name="connsiteY0" fmla="*/ 23 h 16917"/>
              <a:gd name="connsiteX1" fmla="*/ 5703 w 19188"/>
              <a:gd name="connsiteY1" fmla="*/ 1085 h 16917"/>
              <a:gd name="connsiteX2" fmla="*/ 1220 w 19188"/>
              <a:gd name="connsiteY2" fmla="*/ 5155 h 16917"/>
              <a:gd name="connsiteX3" fmla="*/ 36 w 19188"/>
              <a:gd name="connsiteY3" fmla="*/ 9089 h 16917"/>
              <a:gd name="connsiteX4" fmla="*/ 353 w 19188"/>
              <a:gd name="connsiteY4" fmla="*/ 13412 h 16917"/>
              <a:gd name="connsiteX5" fmla="*/ 1192 w 19188"/>
              <a:gd name="connsiteY5" fmla="*/ 15940 h 16917"/>
              <a:gd name="connsiteX6" fmla="*/ 6228 w 19188"/>
              <a:gd name="connsiteY6" fmla="*/ 16324 h 16917"/>
              <a:gd name="connsiteX7" fmla="*/ 8792 w 19188"/>
              <a:gd name="connsiteY7" fmla="*/ 16911 h 16917"/>
              <a:gd name="connsiteX8" fmla="*/ 11000 w 19188"/>
              <a:gd name="connsiteY8" fmla="*/ 15895 h 16917"/>
              <a:gd name="connsiteX9" fmla="*/ 13829 w 19188"/>
              <a:gd name="connsiteY9" fmla="*/ 15573 h 16917"/>
              <a:gd name="connsiteX10" fmla="*/ 15719 w 19188"/>
              <a:gd name="connsiteY10" fmla="*/ 15715 h 16917"/>
              <a:gd name="connsiteX11" fmla="*/ 18543 w 19188"/>
              <a:gd name="connsiteY11" fmla="*/ 15924 h 16917"/>
              <a:gd name="connsiteX12" fmla="*/ 19099 w 19188"/>
              <a:gd name="connsiteY12" fmla="*/ 12224 h 16917"/>
              <a:gd name="connsiteX13" fmla="*/ 19173 w 19188"/>
              <a:gd name="connsiteY13" fmla="*/ 9029 h 16917"/>
              <a:gd name="connsiteX14" fmla="*/ 18949 w 19188"/>
              <a:gd name="connsiteY14" fmla="*/ 3401 h 16917"/>
              <a:gd name="connsiteX15" fmla="*/ 15199 w 19188"/>
              <a:gd name="connsiteY15" fmla="*/ 859 h 16917"/>
              <a:gd name="connsiteX16" fmla="*/ 11465 w 19188"/>
              <a:gd name="connsiteY16" fmla="*/ 23 h 16917"/>
              <a:gd name="connsiteX0" fmla="*/ 11465 w 19188"/>
              <a:gd name="connsiteY0" fmla="*/ 23 h 16917"/>
              <a:gd name="connsiteX1" fmla="*/ 5703 w 19188"/>
              <a:gd name="connsiteY1" fmla="*/ 1085 h 16917"/>
              <a:gd name="connsiteX2" fmla="*/ 1220 w 19188"/>
              <a:gd name="connsiteY2" fmla="*/ 5155 h 16917"/>
              <a:gd name="connsiteX3" fmla="*/ 36 w 19188"/>
              <a:gd name="connsiteY3" fmla="*/ 9089 h 16917"/>
              <a:gd name="connsiteX4" fmla="*/ 353 w 19188"/>
              <a:gd name="connsiteY4" fmla="*/ 13412 h 16917"/>
              <a:gd name="connsiteX5" fmla="*/ 1192 w 19188"/>
              <a:gd name="connsiteY5" fmla="*/ 15940 h 16917"/>
              <a:gd name="connsiteX6" fmla="*/ 6228 w 19188"/>
              <a:gd name="connsiteY6" fmla="*/ 16324 h 16917"/>
              <a:gd name="connsiteX7" fmla="*/ 8792 w 19188"/>
              <a:gd name="connsiteY7" fmla="*/ 16911 h 16917"/>
              <a:gd name="connsiteX8" fmla="*/ 11000 w 19188"/>
              <a:gd name="connsiteY8" fmla="*/ 15895 h 16917"/>
              <a:gd name="connsiteX9" fmla="*/ 13829 w 19188"/>
              <a:gd name="connsiteY9" fmla="*/ 15573 h 16917"/>
              <a:gd name="connsiteX10" fmla="*/ 15719 w 19188"/>
              <a:gd name="connsiteY10" fmla="*/ 15715 h 16917"/>
              <a:gd name="connsiteX11" fmla="*/ 18543 w 19188"/>
              <a:gd name="connsiteY11" fmla="*/ 15924 h 16917"/>
              <a:gd name="connsiteX12" fmla="*/ 19099 w 19188"/>
              <a:gd name="connsiteY12" fmla="*/ 12224 h 16917"/>
              <a:gd name="connsiteX13" fmla="*/ 19173 w 19188"/>
              <a:gd name="connsiteY13" fmla="*/ 9029 h 16917"/>
              <a:gd name="connsiteX14" fmla="*/ 19145 w 19188"/>
              <a:gd name="connsiteY14" fmla="*/ 3629 h 16917"/>
              <a:gd name="connsiteX15" fmla="*/ 15199 w 19188"/>
              <a:gd name="connsiteY15" fmla="*/ 859 h 16917"/>
              <a:gd name="connsiteX16" fmla="*/ 11465 w 19188"/>
              <a:gd name="connsiteY16" fmla="*/ 23 h 16917"/>
              <a:gd name="connsiteX0" fmla="*/ 11465 w 19188"/>
              <a:gd name="connsiteY0" fmla="*/ 23 h 16917"/>
              <a:gd name="connsiteX1" fmla="*/ 5703 w 19188"/>
              <a:gd name="connsiteY1" fmla="*/ 1085 h 16917"/>
              <a:gd name="connsiteX2" fmla="*/ 1220 w 19188"/>
              <a:gd name="connsiteY2" fmla="*/ 5155 h 16917"/>
              <a:gd name="connsiteX3" fmla="*/ 36 w 19188"/>
              <a:gd name="connsiteY3" fmla="*/ 9089 h 16917"/>
              <a:gd name="connsiteX4" fmla="*/ 353 w 19188"/>
              <a:gd name="connsiteY4" fmla="*/ 13412 h 16917"/>
              <a:gd name="connsiteX5" fmla="*/ 1192 w 19188"/>
              <a:gd name="connsiteY5" fmla="*/ 15940 h 16917"/>
              <a:gd name="connsiteX6" fmla="*/ 6228 w 19188"/>
              <a:gd name="connsiteY6" fmla="*/ 16324 h 16917"/>
              <a:gd name="connsiteX7" fmla="*/ 8792 w 19188"/>
              <a:gd name="connsiteY7" fmla="*/ 16911 h 16917"/>
              <a:gd name="connsiteX8" fmla="*/ 11000 w 19188"/>
              <a:gd name="connsiteY8" fmla="*/ 15895 h 16917"/>
              <a:gd name="connsiteX9" fmla="*/ 13829 w 19188"/>
              <a:gd name="connsiteY9" fmla="*/ 15573 h 16917"/>
              <a:gd name="connsiteX10" fmla="*/ 15719 w 19188"/>
              <a:gd name="connsiteY10" fmla="*/ 15715 h 16917"/>
              <a:gd name="connsiteX11" fmla="*/ 18543 w 19188"/>
              <a:gd name="connsiteY11" fmla="*/ 15924 h 16917"/>
              <a:gd name="connsiteX12" fmla="*/ 19099 w 19188"/>
              <a:gd name="connsiteY12" fmla="*/ 12224 h 16917"/>
              <a:gd name="connsiteX13" fmla="*/ 19173 w 19188"/>
              <a:gd name="connsiteY13" fmla="*/ 9029 h 16917"/>
              <a:gd name="connsiteX14" fmla="*/ 19145 w 19188"/>
              <a:gd name="connsiteY14" fmla="*/ 3629 h 16917"/>
              <a:gd name="connsiteX15" fmla="*/ 15199 w 19188"/>
              <a:gd name="connsiteY15" fmla="*/ 859 h 16917"/>
              <a:gd name="connsiteX16" fmla="*/ 11465 w 19188"/>
              <a:gd name="connsiteY16" fmla="*/ 23 h 16917"/>
              <a:gd name="connsiteX0" fmla="*/ 11465 w 19198"/>
              <a:gd name="connsiteY0" fmla="*/ 23 h 16917"/>
              <a:gd name="connsiteX1" fmla="*/ 5703 w 19198"/>
              <a:gd name="connsiteY1" fmla="*/ 1085 h 16917"/>
              <a:gd name="connsiteX2" fmla="*/ 1220 w 19198"/>
              <a:gd name="connsiteY2" fmla="*/ 5155 h 16917"/>
              <a:gd name="connsiteX3" fmla="*/ 36 w 19198"/>
              <a:gd name="connsiteY3" fmla="*/ 9089 h 16917"/>
              <a:gd name="connsiteX4" fmla="*/ 353 w 19198"/>
              <a:gd name="connsiteY4" fmla="*/ 13412 h 16917"/>
              <a:gd name="connsiteX5" fmla="*/ 1192 w 19198"/>
              <a:gd name="connsiteY5" fmla="*/ 15940 h 16917"/>
              <a:gd name="connsiteX6" fmla="*/ 6228 w 19198"/>
              <a:gd name="connsiteY6" fmla="*/ 16324 h 16917"/>
              <a:gd name="connsiteX7" fmla="*/ 8792 w 19198"/>
              <a:gd name="connsiteY7" fmla="*/ 16911 h 16917"/>
              <a:gd name="connsiteX8" fmla="*/ 11000 w 19198"/>
              <a:gd name="connsiteY8" fmla="*/ 15895 h 16917"/>
              <a:gd name="connsiteX9" fmla="*/ 13829 w 19198"/>
              <a:gd name="connsiteY9" fmla="*/ 15573 h 16917"/>
              <a:gd name="connsiteX10" fmla="*/ 15719 w 19198"/>
              <a:gd name="connsiteY10" fmla="*/ 15715 h 16917"/>
              <a:gd name="connsiteX11" fmla="*/ 18543 w 19198"/>
              <a:gd name="connsiteY11" fmla="*/ 15924 h 16917"/>
              <a:gd name="connsiteX12" fmla="*/ 19099 w 19198"/>
              <a:gd name="connsiteY12" fmla="*/ 12224 h 16917"/>
              <a:gd name="connsiteX13" fmla="*/ 19173 w 19198"/>
              <a:gd name="connsiteY13" fmla="*/ 9029 h 16917"/>
              <a:gd name="connsiteX14" fmla="*/ 19161 w 19198"/>
              <a:gd name="connsiteY14" fmla="*/ 3610 h 16917"/>
              <a:gd name="connsiteX15" fmla="*/ 15199 w 19198"/>
              <a:gd name="connsiteY15" fmla="*/ 859 h 16917"/>
              <a:gd name="connsiteX16" fmla="*/ 11465 w 19198"/>
              <a:gd name="connsiteY16" fmla="*/ 23 h 16917"/>
              <a:gd name="connsiteX0" fmla="*/ 11465 w 19359"/>
              <a:gd name="connsiteY0" fmla="*/ 23 h 16917"/>
              <a:gd name="connsiteX1" fmla="*/ 5703 w 19359"/>
              <a:gd name="connsiteY1" fmla="*/ 1085 h 16917"/>
              <a:gd name="connsiteX2" fmla="*/ 1220 w 19359"/>
              <a:gd name="connsiteY2" fmla="*/ 5155 h 16917"/>
              <a:gd name="connsiteX3" fmla="*/ 36 w 19359"/>
              <a:gd name="connsiteY3" fmla="*/ 9089 h 16917"/>
              <a:gd name="connsiteX4" fmla="*/ 353 w 19359"/>
              <a:gd name="connsiteY4" fmla="*/ 13412 h 16917"/>
              <a:gd name="connsiteX5" fmla="*/ 1192 w 19359"/>
              <a:gd name="connsiteY5" fmla="*/ 15940 h 16917"/>
              <a:gd name="connsiteX6" fmla="*/ 6228 w 19359"/>
              <a:gd name="connsiteY6" fmla="*/ 16324 h 16917"/>
              <a:gd name="connsiteX7" fmla="*/ 8792 w 19359"/>
              <a:gd name="connsiteY7" fmla="*/ 16911 h 16917"/>
              <a:gd name="connsiteX8" fmla="*/ 11000 w 19359"/>
              <a:gd name="connsiteY8" fmla="*/ 15895 h 16917"/>
              <a:gd name="connsiteX9" fmla="*/ 13829 w 19359"/>
              <a:gd name="connsiteY9" fmla="*/ 15573 h 16917"/>
              <a:gd name="connsiteX10" fmla="*/ 15719 w 19359"/>
              <a:gd name="connsiteY10" fmla="*/ 15715 h 16917"/>
              <a:gd name="connsiteX11" fmla="*/ 19116 w 19359"/>
              <a:gd name="connsiteY11" fmla="*/ 15943 h 16917"/>
              <a:gd name="connsiteX12" fmla="*/ 19099 w 19359"/>
              <a:gd name="connsiteY12" fmla="*/ 12224 h 16917"/>
              <a:gd name="connsiteX13" fmla="*/ 19173 w 19359"/>
              <a:gd name="connsiteY13" fmla="*/ 9029 h 16917"/>
              <a:gd name="connsiteX14" fmla="*/ 19161 w 19359"/>
              <a:gd name="connsiteY14" fmla="*/ 3610 h 16917"/>
              <a:gd name="connsiteX15" fmla="*/ 15199 w 19359"/>
              <a:gd name="connsiteY15" fmla="*/ 859 h 16917"/>
              <a:gd name="connsiteX16" fmla="*/ 11465 w 19359"/>
              <a:gd name="connsiteY16" fmla="*/ 23 h 16917"/>
              <a:gd name="connsiteX0" fmla="*/ 11465 w 19198"/>
              <a:gd name="connsiteY0" fmla="*/ 23 h 16917"/>
              <a:gd name="connsiteX1" fmla="*/ 5703 w 19198"/>
              <a:gd name="connsiteY1" fmla="*/ 1085 h 16917"/>
              <a:gd name="connsiteX2" fmla="*/ 1220 w 19198"/>
              <a:gd name="connsiteY2" fmla="*/ 5155 h 16917"/>
              <a:gd name="connsiteX3" fmla="*/ 36 w 19198"/>
              <a:gd name="connsiteY3" fmla="*/ 9089 h 16917"/>
              <a:gd name="connsiteX4" fmla="*/ 353 w 19198"/>
              <a:gd name="connsiteY4" fmla="*/ 13412 h 16917"/>
              <a:gd name="connsiteX5" fmla="*/ 1192 w 19198"/>
              <a:gd name="connsiteY5" fmla="*/ 15940 h 16917"/>
              <a:gd name="connsiteX6" fmla="*/ 6228 w 19198"/>
              <a:gd name="connsiteY6" fmla="*/ 16324 h 16917"/>
              <a:gd name="connsiteX7" fmla="*/ 8792 w 19198"/>
              <a:gd name="connsiteY7" fmla="*/ 16911 h 16917"/>
              <a:gd name="connsiteX8" fmla="*/ 11000 w 19198"/>
              <a:gd name="connsiteY8" fmla="*/ 15895 h 16917"/>
              <a:gd name="connsiteX9" fmla="*/ 13829 w 19198"/>
              <a:gd name="connsiteY9" fmla="*/ 15573 h 16917"/>
              <a:gd name="connsiteX10" fmla="*/ 15719 w 19198"/>
              <a:gd name="connsiteY10" fmla="*/ 15715 h 16917"/>
              <a:gd name="connsiteX11" fmla="*/ 19116 w 19198"/>
              <a:gd name="connsiteY11" fmla="*/ 15943 h 16917"/>
              <a:gd name="connsiteX12" fmla="*/ 19099 w 19198"/>
              <a:gd name="connsiteY12" fmla="*/ 12224 h 16917"/>
              <a:gd name="connsiteX13" fmla="*/ 19173 w 19198"/>
              <a:gd name="connsiteY13" fmla="*/ 9029 h 16917"/>
              <a:gd name="connsiteX14" fmla="*/ 19161 w 19198"/>
              <a:gd name="connsiteY14" fmla="*/ 3610 h 16917"/>
              <a:gd name="connsiteX15" fmla="*/ 15199 w 19198"/>
              <a:gd name="connsiteY15" fmla="*/ 859 h 16917"/>
              <a:gd name="connsiteX16" fmla="*/ 11465 w 19198"/>
              <a:gd name="connsiteY16" fmla="*/ 23 h 16917"/>
              <a:gd name="connsiteX0" fmla="*/ 11465 w 19198"/>
              <a:gd name="connsiteY0" fmla="*/ 23 h 16917"/>
              <a:gd name="connsiteX1" fmla="*/ 5703 w 19198"/>
              <a:gd name="connsiteY1" fmla="*/ 1085 h 16917"/>
              <a:gd name="connsiteX2" fmla="*/ 1220 w 19198"/>
              <a:gd name="connsiteY2" fmla="*/ 5155 h 16917"/>
              <a:gd name="connsiteX3" fmla="*/ 36 w 19198"/>
              <a:gd name="connsiteY3" fmla="*/ 9089 h 16917"/>
              <a:gd name="connsiteX4" fmla="*/ 353 w 19198"/>
              <a:gd name="connsiteY4" fmla="*/ 13412 h 16917"/>
              <a:gd name="connsiteX5" fmla="*/ 1192 w 19198"/>
              <a:gd name="connsiteY5" fmla="*/ 15940 h 16917"/>
              <a:gd name="connsiteX6" fmla="*/ 6228 w 19198"/>
              <a:gd name="connsiteY6" fmla="*/ 16324 h 16917"/>
              <a:gd name="connsiteX7" fmla="*/ 8792 w 19198"/>
              <a:gd name="connsiteY7" fmla="*/ 16911 h 16917"/>
              <a:gd name="connsiteX8" fmla="*/ 11000 w 19198"/>
              <a:gd name="connsiteY8" fmla="*/ 15895 h 16917"/>
              <a:gd name="connsiteX9" fmla="*/ 13829 w 19198"/>
              <a:gd name="connsiteY9" fmla="*/ 15573 h 16917"/>
              <a:gd name="connsiteX10" fmla="*/ 15719 w 19198"/>
              <a:gd name="connsiteY10" fmla="*/ 15715 h 16917"/>
              <a:gd name="connsiteX11" fmla="*/ 19177 w 19198"/>
              <a:gd name="connsiteY11" fmla="*/ 15966 h 16917"/>
              <a:gd name="connsiteX12" fmla="*/ 19099 w 19198"/>
              <a:gd name="connsiteY12" fmla="*/ 12224 h 16917"/>
              <a:gd name="connsiteX13" fmla="*/ 19173 w 19198"/>
              <a:gd name="connsiteY13" fmla="*/ 9029 h 16917"/>
              <a:gd name="connsiteX14" fmla="*/ 19161 w 19198"/>
              <a:gd name="connsiteY14" fmla="*/ 3610 h 16917"/>
              <a:gd name="connsiteX15" fmla="*/ 15199 w 19198"/>
              <a:gd name="connsiteY15" fmla="*/ 859 h 16917"/>
              <a:gd name="connsiteX16" fmla="*/ 11465 w 19198"/>
              <a:gd name="connsiteY16" fmla="*/ 23 h 16917"/>
              <a:gd name="connsiteX0" fmla="*/ 11465 w 19434"/>
              <a:gd name="connsiteY0" fmla="*/ 23 h 16917"/>
              <a:gd name="connsiteX1" fmla="*/ 5703 w 19434"/>
              <a:gd name="connsiteY1" fmla="*/ 1085 h 16917"/>
              <a:gd name="connsiteX2" fmla="*/ 1220 w 19434"/>
              <a:gd name="connsiteY2" fmla="*/ 5155 h 16917"/>
              <a:gd name="connsiteX3" fmla="*/ 36 w 19434"/>
              <a:gd name="connsiteY3" fmla="*/ 9089 h 16917"/>
              <a:gd name="connsiteX4" fmla="*/ 353 w 19434"/>
              <a:gd name="connsiteY4" fmla="*/ 13412 h 16917"/>
              <a:gd name="connsiteX5" fmla="*/ 1192 w 19434"/>
              <a:gd name="connsiteY5" fmla="*/ 15940 h 16917"/>
              <a:gd name="connsiteX6" fmla="*/ 6228 w 19434"/>
              <a:gd name="connsiteY6" fmla="*/ 16324 h 16917"/>
              <a:gd name="connsiteX7" fmla="*/ 8792 w 19434"/>
              <a:gd name="connsiteY7" fmla="*/ 16911 h 16917"/>
              <a:gd name="connsiteX8" fmla="*/ 11000 w 19434"/>
              <a:gd name="connsiteY8" fmla="*/ 15895 h 16917"/>
              <a:gd name="connsiteX9" fmla="*/ 13829 w 19434"/>
              <a:gd name="connsiteY9" fmla="*/ 15573 h 16917"/>
              <a:gd name="connsiteX10" fmla="*/ 15719 w 19434"/>
              <a:gd name="connsiteY10" fmla="*/ 15715 h 16917"/>
              <a:gd name="connsiteX11" fmla="*/ 19177 w 19434"/>
              <a:gd name="connsiteY11" fmla="*/ 15966 h 16917"/>
              <a:gd name="connsiteX12" fmla="*/ 19180 w 19434"/>
              <a:gd name="connsiteY12" fmla="*/ 12271 h 16917"/>
              <a:gd name="connsiteX13" fmla="*/ 19173 w 19434"/>
              <a:gd name="connsiteY13" fmla="*/ 9029 h 16917"/>
              <a:gd name="connsiteX14" fmla="*/ 19161 w 19434"/>
              <a:gd name="connsiteY14" fmla="*/ 3610 h 16917"/>
              <a:gd name="connsiteX15" fmla="*/ 15199 w 19434"/>
              <a:gd name="connsiteY15" fmla="*/ 859 h 16917"/>
              <a:gd name="connsiteX16" fmla="*/ 11465 w 19434"/>
              <a:gd name="connsiteY16" fmla="*/ 23 h 16917"/>
              <a:gd name="connsiteX0" fmla="*/ 11465 w 19195"/>
              <a:gd name="connsiteY0" fmla="*/ 23 h 16917"/>
              <a:gd name="connsiteX1" fmla="*/ 5703 w 19195"/>
              <a:gd name="connsiteY1" fmla="*/ 1085 h 16917"/>
              <a:gd name="connsiteX2" fmla="*/ 1220 w 19195"/>
              <a:gd name="connsiteY2" fmla="*/ 5155 h 16917"/>
              <a:gd name="connsiteX3" fmla="*/ 36 w 19195"/>
              <a:gd name="connsiteY3" fmla="*/ 9089 h 16917"/>
              <a:gd name="connsiteX4" fmla="*/ 353 w 19195"/>
              <a:gd name="connsiteY4" fmla="*/ 13412 h 16917"/>
              <a:gd name="connsiteX5" fmla="*/ 1192 w 19195"/>
              <a:gd name="connsiteY5" fmla="*/ 15940 h 16917"/>
              <a:gd name="connsiteX6" fmla="*/ 6228 w 19195"/>
              <a:gd name="connsiteY6" fmla="*/ 16324 h 16917"/>
              <a:gd name="connsiteX7" fmla="*/ 8792 w 19195"/>
              <a:gd name="connsiteY7" fmla="*/ 16911 h 16917"/>
              <a:gd name="connsiteX8" fmla="*/ 11000 w 19195"/>
              <a:gd name="connsiteY8" fmla="*/ 15895 h 16917"/>
              <a:gd name="connsiteX9" fmla="*/ 13829 w 19195"/>
              <a:gd name="connsiteY9" fmla="*/ 15573 h 16917"/>
              <a:gd name="connsiteX10" fmla="*/ 15719 w 19195"/>
              <a:gd name="connsiteY10" fmla="*/ 15715 h 16917"/>
              <a:gd name="connsiteX11" fmla="*/ 19177 w 19195"/>
              <a:gd name="connsiteY11" fmla="*/ 15966 h 16917"/>
              <a:gd name="connsiteX12" fmla="*/ 19180 w 19195"/>
              <a:gd name="connsiteY12" fmla="*/ 12271 h 16917"/>
              <a:gd name="connsiteX13" fmla="*/ 19173 w 19195"/>
              <a:gd name="connsiteY13" fmla="*/ 9029 h 16917"/>
              <a:gd name="connsiteX14" fmla="*/ 19161 w 19195"/>
              <a:gd name="connsiteY14" fmla="*/ 3610 h 16917"/>
              <a:gd name="connsiteX15" fmla="*/ 15199 w 19195"/>
              <a:gd name="connsiteY15" fmla="*/ 859 h 16917"/>
              <a:gd name="connsiteX16" fmla="*/ 11465 w 19195"/>
              <a:gd name="connsiteY16" fmla="*/ 23 h 16917"/>
              <a:gd name="connsiteX0" fmla="*/ 11465 w 19259"/>
              <a:gd name="connsiteY0" fmla="*/ 23 h 16917"/>
              <a:gd name="connsiteX1" fmla="*/ 5703 w 19259"/>
              <a:gd name="connsiteY1" fmla="*/ 1085 h 16917"/>
              <a:gd name="connsiteX2" fmla="*/ 1220 w 19259"/>
              <a:gd name="connsiteY2" fmla="*/ 5155 h 16917"/>
              <a:gd name="connsiteX3" fmla="*/ 36 w 19259"/>
              <a:gd name="connsiteY3" fmla="*/ 9089 h 16917"/>
              <a:gd name="connsiteX4" fmla="*/ 353 w 19259"/>
              <a:gd name="connsiteY4" fmla="*/ 13412 h 16917"/>
              <a:gd name="connsiteX5" fmla="*/ 1192 w 19259"/>
              <a:gd name="connsiteY5" fmla="*/ 15940 h 16917"/>
              <a:gd name="connsiteX6" fmla="*/ 6228 w 19259"/>
              <a:gd name="connsiteY6" fmla="*/ 16324 h 16917"/>
              <a:gd name="connsiteX7" fmla="*/ 8792 w 19259"/>
              <a:gd name="connsiteY7" fmla="*/ 16911 h 16917"/>
              <a:gd name="connsiteX8" fmla="*/ 11000 w 19259"/>
              <a:gd name="connsiteY8" fmla="*/ 15895 h 16917"/>
              <a:gd name="connsiteX9" fmla="*/ 13829 w 19259"/>
              <a:gd name="connsiteY9" fmla="*/ 15573 h 16917"/>
              <a:gd name="connsiteX10" fmla="*/ 15719 w 19259"/>
              <a:gd name="connsiteY10" fmla="*/ 15715 h 16917"/>
              <a:gd name="connsiteX11" fmla="*/ 19177 w 19259"/>
              <a:gd name="connsiteY11" fmla="*/ 15966 h 16917"/>
              <a:gd name="connsiteX12" fmla="*/ 19180 w 19259"/>
              <a:gd name="connsiteY12" fmla="*/ 12271 h 16917"/>
              <a:gd name="connsiteX13" fmla="*/ 19259 w 19259"/>
              <a:gd name="connsiteY13" fmla="*/ 9054 h 16917"/>
              <a:gd name="connsiteX14" fmla="*/ 19161 w 19259"/>
              <a:gd name="connsiteY14" fmla="*/ 3610 h 16917"/>
              <a:gd name="connsiteX15" fmla="*/ 15199 w 19259"/>
              <a:gd name="connsiteY15" fmla="*/ 859 h 16917"/>
              <a:gd name="connsiteX16" fmla="*/ 11465 w 19259"/>
              <a:gd name="connsiteY16" fmla="*/ 23 h 16917"/>
              <a:gd name="connsiteX0" fmla="*/ 11465 w 19263"/>
              <a:gd name="connsiteY0" fmla="*/ 23 h 16917"/>
              <a:gd name="connsiteX1" fmla="*/ 5703 w 19263"/>
              <a:gd name="connsiteY1" fmla="*/ 1085 h 16917"/>
              <a:gd name="connsiteX2" fmla="*/ 1220 w 19263"/>
              <a:gd name="connsiteY2" fmla="*/ 5155 h 16917"/>
              <a:gd name="connsiteX3" fmla="*/ 36 w 19263"/>
              <a:gd name="connsiteY3" fmla="*/ 9089 h 16917"/>
              <a:gd name="connsiteX4" fmla="*/ 353 w 19263"/>
              <a:gd name="connsiteY4" fmla="*/ 13412 h 16917"/>
              <a:gd name="connsiteX5" fmla="*/ 1192 w 19263"/>
              <a:gd name="connsiteY5" fmla="*/ 15940 h 16917"/>
              <a:gd name="connsiteX6" fmla="*/ 6228 w 19263"/>
              <a:gd name="connsiteY6" fmla="*/ 16324 h 16917"/>
              <a:gd name="connsiteX7" fmla="*/ 8792 w 19263"/>
              <a:gd name="connsiteY7" fmla="*/ 16911 h 16917"/>
              <a:gd name="connsiteX8" fmla="*/ 11000 w 19263"/>
              <a:gd name="connsiteY8" fmla="*/ 15895 h 16917"/>
              <a:gd name="connsiteX9" fmla="*/ 13829 w 19263"/>
              <a:gd name="connsiteY9" fmla="*/ 15573 h 16917"/>
              <a:gd name="connsiteX10" fmla="*/ 15719 w 19263"/>
              <a:gd name="connsiteY10" fmla="*/ 15715 h 16917"/>
              <a:gd name="connsiteX11" fmla="*/ 19177 w 19263"/>
              <a:gd name="connsiteY11" fmla="*/ 15966 h 16917"/>
              <a:gd name="connsiteX12" fmla="*/ 19180 w 19263"/>
              <a:gd name="connsiteY12" fmla="*/ 12271 h 16917"/>
              <a:gd name="connsiteX13" fmla="*/ 19259 w 19263"/>
              <a:gd name="connsiteY13" fmla="*/ 9054 h 16917"/>
              <a:gd name="connsiteX14" fmla="*/ 19161 w 19263"/>
              <a:gd name="connsiteY14" fmla="*/ 3610 h 16917"/>
              <a:gd name="connsiteX15" fmla="*/ 15199 w 19263"/>
              <a:gd name="connsiteY15" fmla="*/ 859 h 16917"/>
              <a:gd name="connsiteX16" fmla="*/ 11465 w 19263"/>
              <a:gd name="connsiteY16" fmla="*/ 23 h 16917"/>
              <a:gd name="connsiteX0" fmla="*/ 11465 w 19263"/>
              <a:gd name="connsiteY0" fmla="*/ 23 h 16917"/>
              <a:gd name="connsiteX1" fmla="*/ 5703 w 19263"/>
              <a:gd name="connsiteY1" fmla="*/ 1085 h 16917"/>
              <a:gd name="connsiteX2" fmla="*/ 1220 w 19263"/>
              <a:gd name="connsiteY2" fmla="*/ 5155 h 16917"/>
              <a:gd name="connsiteX3" fmla="*/ 36 w 19263"/>
              <a:gd name="connsiteY3" fmla="*/ 9089 h 16917"/>
              <a:gd name="connsiteX4" fmla="*/ 353 w 19263"/>
              <a:gd name="connsiteY4" fmla="*/ 13412 h 16917"/>
              <a:gd name="connsiteX5" fmla="*/ 1192 w 19263"/>
              <a:gd name="connsiteY5" fmla="*/ 15940 h 16917"/>
              <a:gd name="connsiteX6" fmla="*/ 6228 w 19263"/>
              <a:gd name="connsiteY6" fmla="*/ 16324 h 16917"/>
              <a:gd name="connsiteX7" fmla="*/ 8792 w 19263"/>
              <a:gd name="connsiteY7" fmla="*/ 16911 h 16917"/>
              <a:gd name="connsiteX8" fmla="*/ 11000 w 19263"/>
              <a:gd name="connsiteY8" fmla="*/ 15895 h 16917"/>
              <a:gd name="connsiteX9" fmla="*/ 13829 w 19263"/>
              <a:gd name="connsiteY9" fmla="*/ 15573 h 16917"/>
              <a:gd name="connsiteX10" fmla="*/ 15719 w 19263"/>
              <a:gd name="connsiteY10" fmla="*/ 15715 h 16917"/>
              <a:gd name="connsiteX11" fmla="*/ 19177 w 19263"/>
              <a:gd name="connsiteY11" fmla="*/ 15966 h 16917"/>
              <a:gd name="connsiteX12" fmla="*/ 19180 w 19263"/>
              <a:gd name="connsiteY12" fmla="*/ 12271 h 16917"/>
              <a:gd name="connsiteX13" fmla="*/ 19259 w 19263"/>
              <a:gd name="connsiteY13" fmla="*/ 9054 h 16917"/>
              <a:gd name="connsiteX14" fmla="*/ 19161 w 19263"/>
              <a:gd name="connsiteY14" fmla="*/ 3610 h 16917"/>
              <a:gd name="connsiteX15" fmla="*/ 15199 w 19263"/>
              <a:gd name="connsiteY15" fmla="*/ 859 h 16917"/>
              <a:gd name="connsiteX16" fmla="*/ 11465 w 19263"/>
              <a:gd name="connsiteY16" fmla="*/ 23 h 16917"/>
              <a:gd name="connsiteX0" fmla="*/ 11465 w 19202"/>
              <a:gd name="connsiteY0" fmla="*/ 23 h 16917"/>
              <a:gd name="connsiteX1" fmla="*/ 5703 w 19202"/>
              <a:gd name="connsiteY1" fmla="*/ 1085 h 16917"/>
              <a:gd name="connsiteX2" fmla="*/ 1220 w 19202"/>
              <a:gd name="connsiteY2" fmla="*/ 5155 h 16917"/>
              <a:gd name="connsiteX3" fmla="*/ 36 w 19202"/>
              <a:gd name="connsiteY3" fmla="*/ 9089 h 16917"/>
              <a:gd name="connsiteX4" fmla="*/ 353 w 19202"/>
              <a:gd name="connsiteY4" fmla="*/ 13412 h 16917"/>
              <a:gd name="connsiteX5" fmla="*/ 1192 w 19202"/>
              <a:gd name="connsiteY5" fmla="*/ 15940 h 16917"/>
              <a:gd name="connsiteX6" fmla="*/ 6228 w 19202"/>
              <a:gd name="connsiteY6" fmla="*/ 16324 h 16917"/>
              <a:gd name="connsiteX7" fmla="*/ 8792 w 19202"/>
              <a:gd name="connsiteY7" fmla="*/ 16911 h 16917"/>
              <a:gd name="connsiteX8" fmla="*/ 11000 w 19202"/>
              <a:gd name="connsiteY8" fmla="*/ 15895 h 16917"/>
              <a:gd name="connsiteX9" fmla="*/ 13829 w 19202"/>
              <a:gd name="connsiteY9" fmla="*/ 15573 h 16917"/>
              <a:gd name="connsiteX10" fmla="*/ 15719 w 19202"/>
              <a:gd name="connsiteY10" fmla="*/ 15715 h 16917"/>
              <a:gd name="connsiteX11" fmla="*/ 19177 w 19202"/>
              <a:gd name="connsiteY11" fmla="*/ 15966 h 16917"/>
              <a:gd name="connsiteX12" fmla="*/ 19180 w 19202"/>
              <a:gd name="connsiteY12" fmla="*/ 12271 h 16917"/>
              <a:gd name="connsiteX13" fmla="*/ 18851 w 19202"/>
              <a:gd name="connsiteY13" fmla="*/ 9079 h 16917"/>
              <a:gd name="connsiteX14" fmla="*/ 19161 w 19202"/>
              <a:gd name="connsiteY14" fmla="*/ 3610 h 16917"/>
              <a:gd name="connsiteX15" fmla="*/ 15199 w 19202"/>
              <a:gd name="connsiteY15" fmla="*/ 859 h 16917"/>
              <a:gd name="connsiteX16" fmla="*/ 11465 w 19202"/>
              <a:gd name="connsiteY16" fmla="*/ 23 h 16917"/>
              <a:gd name="connsiteX0" fmla="*/ 11465 w 19186"/>
              <a:gd name="connsiteY0" fmla="*/ 23 h 16917"/>
              <a:gd name="connsiteX1" fmla="*/ 5703 w 19186"/>
              <a:gd name="connsiteY1" fmla="*/ 1085 h 16917"/>
              <a:gd name="connsiteX2" fmla="*/ 1220 w 19186"/>
              <a:gd name="connsiteY2" fmla="*/ 5155 h 16917"/>
              <a:gd name="connsiteX3" fmla="*/ 36 w 19186"/>
              <a:gd name="connsiteY3" fmla="*/ 9089 h 16917"/>
              <a:gd name="connsiteX4" fmla="*/ 353 w 19186"/>
              <a:gd name="connsiteY4" fmla="*/ 13412 h 16917"/>
              <a:gd name="connsiteX5" fmla="*/ 1192 w 19186"/>
              <a:gd name="connsiteY5" fmla="*/ 15940 h 16917"/>
              <a:gd name="connsiteX6" fmla="*/ 6228 w 19186"/>
              <a:gd name="connsiteY6" fmla="*/ 16324 h 16917"/>
              <a:gd name="connsiteX7" fmla="*/ 8792 w 19186"/>
              <a:gd name="connsiteY7" fmla="*/ 16911 h 16917"/>
              <a:gd name="connsiteX8" fmla="*/ 11000 w 19186"/>
              <a:gd name="connsiteY8" fmla="*/ 15895 h 16917"/>
              <a:gd name="connsiteX9" fmla="*/ 13829 w 19186"/>
              <a:gd name="connsiteY9" fmla="*/ 15573 h 16917"/>
              <a:gd name="connsiteX10" fmla="*/ 15719 w 19186"/>
              <a:gd name="connsiteY10" fmla="*/ 15715 h 16917"/>
              <a:gd name="connsiteX11" fmla="*/ 19177 w 19186"/>
              <a:gd name="connsiteY11" fmla="*/ 15966 h 16917"/>
              <a:gd name="connsiteX12" fmla="*/ 19180 w 19186"/>
              <a:gd name="connsiteY12" fmla="*/ 12271 h 16917"/>
              <a:gd name="connsiteX13" fmla="*/ 19152 w 19186"/>
              <a:gd name="connsiteY13" fmla="*/ 9129 h 16917"/>
              <a:gd name="connsiteX14" fmla="*/ 19161 w 19186"/>
              <a:gd name="connsiteY14" fmla="*/ 3610 h 16917"/>
              <a:gd name="connsiteX15" fmla="*/ 15199 w 19186"/>
              <a:gd name="connsiteY15" fmla="*/ 859 h 16917"/>
              <a:gd name="connsiteX16" fmla="*/ 11465 w 19186"/>
              <a:gd name="connsiteY16" fmla="*/ 23 h 16917"/>
              <a:gd name="connsiteX0" fmla="*/ 11465 w 19203"/>
              <a:gd name="connsiteY0" fmla="*/ 23 h 16917"/>
              <a:gd name="connsiteX1" fmla="*/ 5703 w 19203"/>
              <a:gd name="connsiteY1" fmla="*/ 1085 h 16917"/>
              <a:gd name="connsiteX2" fmla="*/ 1220 w 19203"/>
              <a:gd name="connsiteY2" fmla="*/ 5155 h 16917"/>
              <a:gd name="connsiteX3" fmla="*/ 36 w 19203"/>
              <a:gd name="connsiteY3" fmla="*/ 9089 h 16917"/>
              <a:gd name="connsiteX4" fmla="*/ 353 w 19203"/>
              <a:gd name="connsiteY4" fmla="*/ 13412 h 16917"/>
              <a:gd name="connsiteX5" fmla="*/ 1192 w 19203"/>
              <a:gd name="connsiteY5" fmla="*/ 15940 h 16917"/>
              <a:gd name="connsiteX6" fmla="*/ 6228 w 19203"/>
              <a:gd name="connsiteY6" fmla="*/ 16324 h 16917"/>
              <a:gd name="connsiteX7" fmla="*/ 8792 w 19203"/>
              <a:gd name="connsiteY7" fmla="*/ 16911 h 16917"/>
              <a:gd name="connsiteX8" fmla="*/ 11000 w 19203"/>
              <a:gd name="connsiteY8" fmla="*/ 15895 h 16917"/>
              <a:gd name="connsiteX9" fmla="*/ 13829 w 19203"/>
              <a:gd name="connsiteY9" fmla="*/ 15573 h 16917"/>
              <a:gd name="connsiteX10" fmla="*/ 15719 w 19203"/>
              <a:gd name="connsiteY10" fmla="*/ 15715 h 16917"/>
              <a:gd name="connsiteX11" fmla="*/ 19177 w 19203"/>
              <a:gd name="connsiteY11" fmla="*/ 15966 h 16917"/>
              <a:gd name="connsiteX12" fmla="*/ 19180 w 19203"/>
              <a:gd name="connsiteY12" fmla="*/ 12271 h 16917"/>
              <a:gd name="connsiteX13" fmla="*/ 19195 w 19203"/>
              <a:gd name="connsiteY13" fmla="*/ 9129 h 16917"/>
              <a:gd name="connsiteX14" fmla="*/ 19161 w 19203"/>
              <a:gd name="connsiteY14" fmla="*/ 3610 h 16917"/>
              <a:gd name="connsiteX15" fmla="*/ 15199 w 19203"/>
              <a:gd name="connsiteY15" fmla="*/ 859 h 16917"/>
              <a:gd name="connsiteX16" fmla="*/ 11465 w 19203"/>
              <a:gd name="connsiteY16" fmla="*/ 23 h 16917"/>
              <a:gd name="connsiteX0" fmla="*/ 11465 w 19203"/>
              <a:gd name="connsiteY0" fmla="*/ 23 h 16917"/>
              <a:gd name="connsiteX1" fmla="*/ 5703 w 19203"/>
              <a:gd name="connsiteY1" fmla="*/ 1085 h 16917"/>
              <a:gd name="connsiteX2" fmla="*/ 1220 w 19203"/>
              <a:gd name="connsiteY2" fmla="*/ 5155 h 16917"/>
              <a:gd name="connsiteX3" fmla="*/ 36 w 19203"/>
              <a:gd name="connsiteY3" fmla="*/ 9089 h 16917"/>
              <a:gd name="connsiteX4" fmla="*/ 353 w 19203"/>
              <a:gd name="connsiteY4" fmla="*/ 13412 h 16917"/>
              <a:gd name="connsiteX5" fmla="*/ 1192 w 19203"/>
              <a:gd name="connsiteY5" fmla="*/ 15940 h 16917"/>
              <a:gd name="connsiteX6" fmla="*/ 6228 w 19203"/>
              <a:gd name="connsiteY6" fmla="*/ 16324 h 16917"/>
              <a:gd name="connsiteX7" fmla="*/ 8792 w 19203"/>
              <a:gd name="connsiteY7" fmla="*/ 16911 h 16917"/>
              <a:gd name="connsiteX8" fmla="*/ 11000 w 19203"/>
              <a:gd name="connsiteY8" fmla="*/ 15895 h 16917"/>
              <a:gd name="connsiteX9" fmla="*/ 13829 w 19203"/>
              <a:gd name="connsiteY9" fmla="*/ 15573 h 16917"/>
              <a:gd name="connsiteX10" fmla="*/ 15719 w 19203"/>
              <a:gd name="connsiteY10" fmla="*/ 15715 h 16917"/>
              <a:gd name="connsiteX11" fmla="*/ 19177 w 19203"/>
              <a:gd name="connsiteY11" fmla="*/ 15966 h 16917"/>
              <a:gd name="connsiteX12" fmla="*/ 19180 w 19203"/>
              <a:gd name="connsiteY12" fmla="*/ 12271 h 16917"/>
              <a:gd name="connsiteX13" fmla="*/ 19195 w 19203"/>
              <a:gd name="connsiteY13" fmla="*/ 9129 h 16917"/>
              <a:gd name="connsiteX14" fmla="*/ 19161 w 19203"/>
              <a:gd name="connsiteY14" fmla="*/ 3610 h 16917"/>
              <a:gd name="connsiteX15" fmla="*/ 15199 w 19203"/>
              <a:gd name="connsiteY15" fmla="*/ 859 h 16917"/>
              <a:gd name="connsiteX16" fmla="*/ 11465 w 19203"/>
              <a:gd name="connsiteY16" fmla="*/ 23 h 16917"/>
              <a:gd name="connsiteX0" fmla="*/ 11465 w 19203"/>
              <a:gd name="connsiteY0" fmla="*/ 23 h 16917"/>
              <a:gd name="connsiteX1" fmla="*/ 5703 w 19203"/>
              <a:gd name="connsiteY1" fmla="*/ 1085 h 16917"/>
              <a:gd name="connsiteX2" fmla="*/ 1220 w 19203"/>
              <a:gd name="connsiteY2" fmla="*/ 5155 h 16917"/>
              <a:gd name="connsiteX3" fmla="*/ 36 w 19203"/>
              <a:gd name="connsiteY3" fmla="*/ 9089 h 16917"/>
              <a:gd name="connsiteX4" fmla="*/ 353 w 19203"/>
              <a:gd name="connsiteY4" fmla="*/ 13412 h 16917"/>
              <a:gd name="connsiteX5" fmla="*/ 1192 w 19203"/>
              <a:gd name="connsiteY5" fmla="*/ 15940 h 16917"/>
              <a:gd name="connsiteX6" fmla="*/ 6228 w 19203"/>
              <a:gd name="connsiteY6" fmla="*/ 16324 h 16917"/>
              <a:gd name="connsiteX7" fmla="*/ 8792 w 19203"/>
              <a:gd name="connsiteY7" fmla="*/ 16911 h 16917"/>
              <a:gd name="connsiteX8" fmla="*/ 11000 w 19203"/>
              <a:gd name="connsiteY8" fmla="*/ 15895 h 16917"/>
              <a:gd name="connsiteX9" fmla="*/ 13829 w 19203"/>
              <a:gd name="connsiteY9" fmla="*/ 15573 h 16917"/>
              <a:gd name="connsiteX10" fmla="*/ 15719 w 19203"/>
              <a:gd name="connsiteY10" fmla="*/ 15715 h 16917"/>
              <a:gd name="connsiteX11" fmla="*/ 19177 w 19203"/>
              <a:gd name="connsiteY11" fmla="*/ 15966 h 16917"/>
              <a:gd name="connsiteX12" fmla="*/ 19180 w 19203"/>
              <a:gd name="connsiteY12" fmla="*/ 12271 h 16917"/>
              <a:gd name="connsiteX13" fmla="*/ 19195 w 19203"/>
              <a:gd name="connsiteY13" fmla="*/ 9129 h 16917"/>
              <a:gd name="connsiteX14" fmla="*/ 19161 w 19203"/>
              <a:gd name="connsiteY14" fmla="*/ 3610 h 16917"/>
              <a:gd name="connsiteX15" fmla="*/ 15199 w 19203"/>
              <a:gd name="connsiteY15" fmla="*/ 859 h 16917"/>
              <a:gd name="connsiteX16" fmla="*/ 11465 w 19203"/>
              <a:gd name="connsiteY16" fmla="*/ 23 h 16917"/>
              <a:gd name="connsiteX0" fmla="*/ 11465 w 19203"/>
              <a:gd name="connsiteY0" fmla="*/ 23 h 16917"/>
              <a:gd name="connsiteX1" fmla="*/ 5703 w 19203"/>
              <a:gd name="connsiteY1" fmla="*/ 1085 h 16917"/>
              <a:gd name="connsiteX2" fmla="*/ 1220 w 19203"/>
              <a:gd name="connsiteY2" fmla="*/ 5155 h 16917"/>
              <a:gd name="connsiteX3" fmla="*/ 36 w 19203"/>
              <a:gd name="connsiteY3" fmla="*/ 9089 h 16917"/>
              <a:gd name="connsiteX4" fmla="*/ 353 w 19203"/>
              <a:gd name="connsiteY4" fmla="*/ 13412 h 16917"/>
              <a:gd name="connsiteX5" fmla="*/ 1192 w 19203"/>
              <a:gd name="connsiteY5" fmla="*/ 15940 h 16917"/>
              <a:gd name="connsiteX6" fmla="*/ 6228 w 19203"/>
              <a:gd name="connsiteY6" fmla="*/ 16324 h 16917"/>
              <a:gd name="connsiteX7" fmla="*/ 8792 w 19203"/>
              <a:gd name="connsiteY7" fmla="*/ 16911 h 16917"/>
              <a:gd name="connsiteX8" fmla="*/ 11000 w 19203"/>
              <a:gd name="connsiteY8" fmla="*/ 15895 h 16917"/>
              <a:gd name="connsiteX9" fmla="*/ 13786 w 19203"/>
              <a:gd name="connsiteY9" fmla="*/ 15872 h 16917"/>
              <a:gd name="connsiteX10" fmla="*/ 15719 w 19203"/>
              <a:gd name="connsiteY10" fmla="*/ 15715 h 16917"/>
              <a:gd name="connsiteX11" fmla="*/ 19177 w 19203"/>
              <a:gd name="connsiteY11" fmla="*/ 15966 h 16917"/>
              <a:gd name="connsiteX12" fmla="*/ 19180 w 19203"/>
              <a:gd name="connsiteY12" fmla="*/ 12271 h 16917"/>
              <a:gd name="connsiteX13" fmla="*/ 19195 w 19203"/>
              <a:gd name="connsiteY13" fmla="*/ 9129 h 16917"/>
              <a:gd name="connsiteX14" fmla="*/ 19161 w 19203"/>
              <a:gd name="connsiteY14" fmla="*/ 3610 h 16917"/>
              <a:gd name="connsiteX15" fmla="*/ 15199 w 19203"/>
              <a:gd name="connsiteY15" fmla="*/ 859 h 16917"/>
              <a:gd name="connsiteX16" fmla="*/ 11465 w 19203"/>
              <a:gd name="connsiteY16" fmla="*/ 23 h 16917"/>
              <a:gd name="connsiteX0" fmla="*/ 11465 w 19439"/>
              <a:gd name="connsiteY0" fmla="*/ 23 h 16917"/>
              <a:gd name="connsiteX1" fmla="*/ 5703 w 19439"/>
              <a:gd name="connsiteY1" fmla="*/ 1085 h 16917"/>
              <a:gd name="connsiteX2" fmla="*/ 1220 w 19439"/>
              <a:gd name="connsiteY2" fmla="*/ 5155 h 16917"/>
              <a:gd name="connsiteX3" fmla="*/ 36 w 19439"/>
              <a:gd name="connsiteY3" fmla="*/ 9089 h 16917"/>
              <a:gd name="connsiteX4" fmla="*/ 353 w 19439"/>
              <a:gd name="connsiteY4" fmla="*/ 13412 h 16917"/>
              <a:gd name="connsiteX5" fmla="*/ 1192 w 19439"/>
              <a:gd name="connsiteY5" fmla="*/ 15940 h 16917"/>
              <a:gd name="connsiteX6" fmla="*/ 6228 w 19439"/>
              <a:gd name="connsiteY6" fmla="*/ 16324 h 16917"/>
              <a:gd name="connsiteX7" fmla="*/ 8792 w 19439"/>
              <a:gd name="connsiteY7" fmla="*/ 16911 h 16917"/>
              <a:gd name="connsiteX8" fmla="*/ 11000 w 19439"/>
              <a:gd name="connsiteY8" fmla="*/ 15895 h 16917"/>
              <a:gd name="connsiteX9" fmla="*/ 13786 w 19439"/>
              <a:gd name="connsiteY9" fmla="*/ 15872 h 16917"/>
              <a:gd name="connsiteX10" fmla="*/ 15633 w 19439"/>
              <a:gd name="connsiteY10" fmla="*/ 15840 h 16917"/>
              <a:gd name="connsiteX11" fmla="*/ 19177 w 19439"/>
              <a:gd name="connsiteY11" fmla="*/ 15966 h 16917"/>
              <a:gd name="connsiteX12" fmla="*/ 19180 w 19439"/>
              <a:gd name="connsiteY12" fmla="*/ 12271 h 16917"/>
              <a:gd name="connsiteX13" fmla="*/ 19195 w 19439"/>
              <a:gd name="connsiteY13" fmla="*/ 9129 h 16917"/>
              <a:gd name="connsiteX14" fmla="*/ 19161 w 19439"/>
              <a:gd name="connsiteY14" fmla="*/ 3610 h 16917"/>
              <a:gd name="connsiteX15" fmla="*/ 15199 w 19439"/>
              <a:gd name="connsiteY15" fmla="*/ 859 h 16917"/>
              <a:gd name="connsiteX16" fmla="*/ 11465 w 19439"/>
              <a:gd name="connsiteY16" fmla="*/ 23 h 16917"/>
              <a:gd name="connsiteX0" fmla="*/ 11465 w 19203"/>
              <a:gd name="connsiteY0" fmla="*/ 23 h 16917"/>
              <a:gd name="connsiteX1" fmla="*/ 5703 w 19203"/>
              <a:gd name="connsiteY1" fmla="*/ 1085 h 16917"/>
              <a:gd name="connsiteX2" fmla="*/ 1220 w 19203"/>
              <a:gd name="connsiteY2" fmla="*/ 5155 h 16917"/>
              <a:gd name="connsiteX3" fmla="*/ 36 w 19203"/>
              <a:gd name="connsiteY3" fmla="*/ 9089 h 16917"/>
              <a:gd name="connsiteX4" fmla="*/ 353 w 19203"/>
              <a:gd name="connsiteY4" fmla="*/ 13412 h 16917"/>
              <a:gd name="connsiteX5" fmla="*/ 1192 w 19203"/>
              <a:gd name="connsiteY5" fmla="*/ 15940 h 16917"/>
              <a:gd name="connsiteX6" fmla="*/ 6228 w 19203"/>
              <a:gd name="connsiteY6" fmla="*/ 16324 h 16917"/>
              <a:gd name="connsiteX7" fmla="*/ 8792 w 19203"/>
              <a:gd name="connsiteY7" fmla="*/ 16911 h 16917"/>
              <a:gd name="connsiteX8" fmla="*/ 11000 w 19203"/>
              <a:gd name="connsiteY8" fmla="*/ 15895 h 16917"/>
              <a:gd name="connsiteX9" fmla="*/ 13786 w 19203"/>
              <a:gd name="connsiteY9" fmla="*/ 15872 h 16917"/>
              <a:gd name="connsiteX10" fmla="*/ 15633 w 19203"/>
              <a:gd name="connsiteY10" fmla="*/ 15840 h 16917"/>
              <a:gd name="connsiteX11" fmla="*/ 19177 w 19203"/>
              <a:gd name="connsiteY11" fmla="*/ 15966 h 16917"/>
              <a:gd name="connsiteX12" fmla="*/ 19180 w 19203"/>
              <a:gd name="connsiteY12" fmla="*/ 12271 h 16917"/>
              <a:gd name="connsiteX13" fmla="*/ 19195 w 19203"/>
              <a:gd name="connsiteY13" fmla="*/ 9129 h 16917"/>
              <a:gd name="connsiteX14" fmla="*/ 19161 w 19203"/>
              <a:gd name="connsiteY14" fmla="*/ 3610 h 16917"/>
              <a:gd name="connsiteX15" fmla="*/ 15199 w 19203"/>
              <a:gd name="connsiteY15" fmla="*/ 859 h 16917"/>
              <a:gd name="connsiteX16" fmla="*/ 11465 w 19203"/>
              <a:gd name="connsiteY16" fmla="*/ 23 h 16917"/>
              <a:gd name="connsiteX0" fmla="*/ 11465 w 19203"/>
              <a:gd name="connsiteY0" fmla="*/ 23 h 16335"/>
              <a:gd name="connsiteX1" fmla="*/ 5703 w 19203"/>
              <a:gd name="connsiteY1" fmla="*/ 1085 h 16335"/>
              <a:gd name="connsiteX2" fmla="*/ 1220 w 19203"/>
              <a:gd name="connsiteY2" fmla="*/ 5155 h 16335"/>
              <a:gd name="connsiteX3" fmla="*/ 36 w 19203"/>
              <a:gd name="connsiteY3" fmla="*/ 9089 h 16335"/>
              <a:gd name="connsiteX4" fmla="*/ 353 w 19203"/>
              <a:gd name="connsiteY4" fmla="*/ 13412 h 16335"/>
              <a:gd name="connsiteX5" fmla="*/ 1192 w 19203"/>
              <a:gd name="connsiteY5" fmla="*/ 15940 h 16335"/>
              <a:gd name="connsiteX6" fmla="*/ 6228 w 19203"/>
              <a:gd name="connsiteY6" fmla="*/ 16324 h 16335"/>
              <a:gd name="connsiteX7" fmla="*/ 8678 w 19203"/>
              <a:gd name="connsiteY7" fmla="*/ 15903 h 16335"/>
              <a:gd name="connsiteX8" fmla="*/ 11000 w 19203"/>
              <a:gd name="connsiteY8" fmla="*/ 15895 h 16335"/>
              <a:gd name="connsiteX9" fmla="*/ 13786 w 19203"/>
              <a:gd name="connsiteY9" fmla="*/ 15872 h 16335"/>
              <a:gd name="connsiteX10" fmla="*/ 15633 w 19203"/>
              <a:gd name="connsiteY10" fmla="*/ 15840 h 16335"/>
              <a:gd name="connsiteX11" fmla="*/ 19177 w 19203"/>
              <a:gd name="connsiteY11" fmla="*/ 15966 h 16335"/>
              <a:gd name="connsiteX12" fmla="*/ 19180 w 19203"/>
              <a:gd name="connsiteY12" fmla="*/ 12271 h 16335"/>
              <a:gd name="connsiteX13" fmla="*/ 19195 w 19203"/>
              <a:gd name="connsiteY13" fmla="*/ 9129 h 16335"/>
              <a:gd name="connsiteX14" fmla="*/ 19161 w 19203"/>
              <a:gd name="connsiteY14" fmla="*/ 3610 h 16335"/>
              <a:gd name="connsiteX15" fmla="*/ 15199 w 19203"/>
              <a:gd name="connsiteY15" fmla="*/ 859 h 16335"/>
              <a:gd name="connsiteX16" fmla="*/ 11465 w 19203"/>
              <a:gd name="connsiteY16" fmla="*/ 23 h 16335"/>
              <a:gd name="connsiteX0" fmla="*/ 11465 w 19203"/>
              <a:gd name="connsiteY0" fmla="*/ 23 h 16330"/>
              <a:gd name="connsiteX1" fmla="*/ 5703 w 19203"/>
              <a:gd name="connsiteY1" fmla="*/ 1085 h 16330"/>
              <a:gd name="connsiteX2" fmla="*/ 1220 w 19203"/>
              <a:gd name="connsiteY2" fmla="*/ 5155 h 16330"/>
              <a:gd name="connsiteX3" fmla="*/ 36 w 19203"/>
              <a:gd name="connsiteY3" fmla="*/ 9089 h 16330"/>
              <a:gd name="connsiteX4" fmla="*/ 353 w 19203"/>
              <a:gd name="connsiteY4" fmla="*/ 13412 h 16330"/>
              <a:gd name="connsiteX5" fmla="*/ 1192 w 19203"/>
              <a:gd name="connsiteY5" fmla="*/ 15940 h 16330"/>
              <a:gd name="connsiteX6" fmla="*/ 6228 w 19203"/>
              <a:gd name="connsiteY6" fmla="*/ 16324 h 16330"/>
              <a:gd name="connsiteX7" fmla="*/ 8678 w 19203"/>
              <a:gd name="connsiteY7" fmla="*/ 15903 h 16330"/>
              <a:gd name="connsiteX8" fmla="*/ 11000 w 19203"/>
              <a:gd name="connsiteY8" fmla="*/ 15895 h 16330"/>
              <a:gd name="connsiteX9" fmla="*/ 13786 w 19203"/>
              <a:gd name="connsiteY9" fmla="*/ 15872 h 16330"/>
              <a:gd name="connsiteX10" fmla="*/ 15633 w 19203"/>
              <a:gd name="connsiteY10" fmla="*/ 15840 h 16330"/>
              <a:gd name="connsiteX11" fmla="*/ 19177 w 19203"/>
              <a:gd name="connsiteY11" fmla="*/ 15966 h 16330"/>
              <a:gd name="connsiteX12" fmla="*/ 19180 w 19203"/>
              <a:gd name="connsiteY12" fmla="*/ 12271 h 16330"/>
              <a:gd name="connsiteX13" fmla="*/ 19195 w 19203"/>
              <a:gd name="connsiteY13" fmla="*/ 9129 h 16330"/>
              <a:gd name="connsiteX14" fmla="*/ 19161 w 19203"/>
              <a:gd name="connsiteY14" fmla="*/ 3610 h 16330"/>
              <a:gd name="connsiteX15" fmla="*/ 15199 w 19203"/>
              <a:gd name="connsiteY15" fmla="*/ 859 h 16330"/>
              <a:gd name="connsiteX16" fmla="*/ 11465 w 19203"/>
              <a:gd name="connsiteY16" fmla="*/ 23 h 16330"/>
              <a:gd name="connsiteX0" fmla="*/ 11465 w 19203"/>
              <a:gd name="connsiteY0" fmla="*/ 23 h 16142"/>
              <a:gd name="connsiteX1" fmla="*/ 5703 w 19203"/>
              <a:gd name="connsiteY1" fmla="*/ 1085 h 16142"/>
              <a:gd name="connsiteX2" fmla="*/ 1220 w 19203"/>
              <a:gd name="connsiteY2" fmla="*/ 5155 h 16142"/>
              <a:gd name="connsiteX3" fmla="*/ 36 w 19203"/>
              <a:gd name="connsiteY3" fmla="*/ 9089 h 16142"/>
              <a:gd name="connsiteX4" fmla="*/ 353 w 19203"/>
              <a:gd name="connsiteY4" fmla="*/ 13412 h 16142"/>
              <a:gd name="connsiteX5" fmla="*/ 1192 w 19203"/>
              <a:gd name="connsiteY5" fmla="*/ 15940 h 16142"/>
              <a:gd name="connsiteX6" fmla="*/ 5793 w 19203"/>
              <a:gd name="connsiteY6" fmla="*/ 15979 h 16142"/>
              <a:gd name="connsiteX7" fmla="*/ 8678 w 19203"/>
              <a:gd name="connsiteY7" fmla="*/ 15903 h 16142"/>
              <a:gd name="connsiteX8" fmla="*/ 11000 w 19203"/>
              <a:gd name="connsiteY8" fmla="*/ 15895 h 16142"/>
              <a:gd name="connsiteX9" fmla="*/ 13786 w 19203"/>
              <a:gd name="connsiteY9" fmla="*/ 15872 h 16142"/>
              <a:gd name="connsiteX10" fmla="*/ 15633 w 19203"/>
              <a:gd name="connsiteY10" fmla="*/ 15840 h 16142"/>
              <a:gd name="connsiteX11" fmla="*/ 19177 w 19203"/>
              <a:gd name="connsiteY11" fmla="*/ 15966 h 16142"/>
              <a:gd name="connsiteX12" fmla="*/ 19180 w 19203"/>
              <a:gd name="connsiteY12" fmla="*/ 12271 h 16142"/>
              <a:gd name="connsiteX13" fmla="*/ 19195 w 19203"/>
              <a:gd name="connsiteY13" fmla="*/ 9129 h 16142"/>
              <a:gd name="connsiteX14" fmla="*/ 19161 w 19203"/>
              <a:gd name="connsiteY14" fmla="*/ 3610 h 16142"/>
              <a:gd name="connsiteX15" fmla="*/ 15199 w 19203"/>
              <a:gd name="connsiteY15" fmla="*/ 859 h 16142"/>
              <a:gd name="connsiteX16" fmla="*/ 11465 w 19203"/>
              <a:gd name="connsiteY16" fmla="*/ 23 h 16142"/>
              <a:gd name="connsiteX0" fmla="*/ 11465 w 19203"/>
              <a:gd name="connsiteY0" fmla="*/ 23 h 16118"/>
              <a:gd name="connsiteX1" fmla="*/ 5703 w 19203"/>
              <a:gd name="connsiteY1" fmla="*/ 1085 h 16118"/>
              <a:gd name="connsiteX2" fmla="*/ 1220 w 19203"/>
              <a:gd name="connsiteY2" fmla="*/ 5155 h 16118"/>
              <a:gd name="connsiteX3" fmla="*/ 36 w 19203"/>
              <a:gd name="connsiteY3" fmla="*/ 9089 h 16118"/>
              <a:gd name="connsiteX4" fmla="*/ 353 w 19203"/>
              <a:gd name="connsiteY4" fmla="*/ 13412 h 16118"/>
              <a:gd name="connsiteX5" fmla="*/ 1192 w 19203"/>
              <a:gd name="connsiteY5" fmla="*/ 15940 h 16118"/>
              <a:gd name="connsiteX6" fmla="*/ 5793 w 19203"/>
              <a:gd name="connsiteY6" fmla="*/ 15979 h 16118"/>
              <a:gd name="connsiteX7" fmla="*/ 8678 w 19203"/>
              <a:gd name="connsiteY7" fmla="*/ 15903 h 16118"/>
              <a:gd name="connsiteX8" fmla="*/ 11000 w 19203"/>
              <a:gd name="connsiteY8" fmla="*/ 15895 h 16118"/>
              <a:gd name="connsiteX9" fmla="*/ 13786 w 19203"/>
              <a:gd name="connsiteY9" fmla="*/ 15872 h 16118"/>
              <a:gd name="connsiteX10" fmla="*/ 15633 w 19203"/>
              <a:gd name="connsiteY10" fmla="*/ 15840 h 16118"/>
              <a:gd name="connsiteX11" fmla="*/ 19177 w 19203"/>
              <a:gd name="connsiteY11" fmla="*/ 15966 h 16118"/>
              <a:gd name="connsiteX12" fmla="*/ 19180 w 19203"/>
              <a:gd name="connsiteY12" fmla="*/ 12271 h 16118"/>
              <a:gd name="connsiteX13" fmla="*/ 19195 w 19203"/>
              <a:gd name="connsiteY13" fmla="*/ 9129 h 16118"/>
              <a:gd name="connsiteX14" fmla="*/ 19161 w 19203"/>
              <a:gd name="connsiteY14" fmla="*/ 3610 h 16118"/>
              <a:gd name="connsiteX15" fmla="*/ 15199 w 19203"/>
              <a:gd name="connsiteY15" fmla="*/ 859 h 16118"/>
              <a:gd name="connsiteX16" fmla="*/ 11465 w 19203"/>
              <a:gd name="connsiteY16" fmla="*/ 23 h 16118"/>
              <a:gd name="connsiteX0" fmla="*/ 11465 w 19203"/>
              <a:gd name="connsiteY0" fmla="*/ 23 h 16130"/>
              <a:gd name="connsiteX1" fmla="*/ 5703 w 19203"/>
              <a:gd name="connsiteY1" fmla="*/ 1085 h 16130"/>
              <a:gd name="connsiteX2" fmla="*/ 1220 w 19203"/>
              <a:gd name="connsiteY2" fmla="*/ 5155 h 16130"/>
              <a:gd name="connsiteX3" fmla="*/ 36 w 19203"/>
              <a:gd name="connsiteY3" fmla="*/ 9089 h 16130"/>
              <a:gd name="connsiteX4" fmla="*/ 353 w 19203"/>
              <a:gd name="connsiteY4" fmla="*/ 13412 h 16130"/>
              <a:gd name="connsiteX5" fmla="*/ 1192 w 19203"/>
              <a:gd name="connsiteY5" fmla="*/ 15940 h 16130"/>
              <a:gd name="connsiteX6" fmla="*/ 5793 w 19203"/>
              <a:gd name="connsiteY6" fmla="*/ 15979 h 16130"/>
              <a:gd name="connsiteX7" fmla="*/ 8678 w 19203"/>
              <a:gd name="connsiteY7" fmla="*/ 15903 h 16130"/>
              <a:gd name="connsiteX8" fmla="*/ 11000 w 19203"/>
              <a:gd name="connsiteY8" fmla="*/ 15895 h 16130"/>
              <a:gd name="connsiteX9" fmla="*/ 13786 w 19203"/>
              <a:gd name="connsiteY9" fmla="*/ 15872 h 16130"/>
              <a:gd name="connsiteX10" fmla="*/ 15633 w 19203"/>
              <a:gd name="connsiteY10" fmla="*/ 15840 h 16130"/>
              <a:gd name="connsiteX11" fmla="*/ 19177 w 19203"/>
              <a:gd name="connsiteY11" fmla="*/ 15966 h 16130"/>
              <a:gd name="connsiteX12" fmla="*/ 19180 w 19203"/>
              <a:gd name="connsiteY12" fmla="*/ 12271 h 16130"/>
              <a:gd name="connsiteX13" fmla="*/ 19195 w 19203"/>
              <a:gd name="connsiteY13" fmla="*/ 9129 h 16130"/>
              <a:gd name="connsiteX14" fmla="*/ 19161 w 19203"/>
              <a:gd name="connsiteY14" fmla="*/ 3610 h 16130"/>
              <a:gd name="connsiteX15" fmla="*/ 15199 w 19203"/>
              <a:gd name="connsiteY15" fmla="*/ 859 h 16130"/>
              <a:gd name="connsiteX16" fmla="*/ 11465 w 19203"/>
              <a:gd name="connsiteY16" fmla="*/ 23 h 16130"/>
              <a:gd name="connsiteX0" fmla="*/ 11465 w 19203"/>
              <a:gd name="connsiteY0" fmla="*/ 23 h 16014"/>
              <a:gd name="connsiteX1" fmla="*/ 5703 w 19203"/>
              <a:gd name="connsiteY1" fmla="*/ 1085 h 16014"/>
              <a:gd name="connsiteX2" fmla="*/ 1220 w 19203"/>
              <a:gd name="connsiteY2" fmla="*/ 5155 h 16014"/>
              <a:gd name="connsiteX3" fmla="*/ 36 w 19203"/>
              <a:gd name="connsiteY3" fmla="*/ 9089 h 16014"/>
              <a:gd name="connsiteX4" fmla="*/ 353 w 19203"/>
              <a:gd name="connsiteY4" fmla="*/ 13412 h 16014"/>
              <a:gd name="connsiteX5" fmla="*/ 1192 w 19203"/>
              <a:gd name="connsiteY5" fmla="*/ 15940 h 16014"/>
              <a:gd name="connsiteX6" fmla="*/ 5793 w 19203"/>
              <a:gd name="connsiteY6" fmla="*/ 15979 h 16014"/>
              <a:gd name="connsiteX7" fmla="*/ 8678 w 19203"/>
              <a:gd name="connsiteY7" fmla="*/ 15903 h 16014"/>
              <a:gd name="connsiteX8" fmla="*/ 11000 w 19203"/>
              <a:gd name="connsiteY8" fmla="*/ 15895 h 16014"/>
              <a:gd name="connsiteX9" fmla="*/ 13786 w 19203"/>
              <a:gd name="connsiteY9" fmla="*/ 15872 h 16014"/>
              <a:gd name="connsiteX10" fmla="*/ 15633 w 19203"/>
              <a:gd name="connsiteY10" fmla="*/ 15840 h 16014"/>
              <a:gd name="connsiteX11" fmla="*/ 19177 w 19203"/>
              <a:gd name="connsiteY11" fmla="*/ 15966 h 16014"/>
              <a:gd name="connsiteX12" fmla="*/ 19180 w 19203"/>
              <a:gd name="connsiteY12" fmla="*/ 12271 h 16014"/>
              <a:gd name="connsiteX13" fmla="*/ 19195 w 19203"/>
              <a:gd name="connsiteY13" fmla="*/ 9129 h 16014"/>
              <a:gd name="connsiteX14" fmla="*/ 19161 w 19203"/>
              <a:gd name="connsiteY14" fmla="*/ 3610 h 16014"/>
              <a:gd name="connsiteX15" fmla="*/ 15199 w 19203"/>
              <a:gd name="connsiteY15" fmla="*/ 859 h 16014"/>
              <a:gd name="connsiteX16" fmla="*/ 11465 w 19203"/>
              <a:gd name="connsiteY16" fmla="*/ 23 h 16014"/>
              <a:gd name="connsiteX0" fmla="*/ 11465 w 19203"/>
              <a:gd name="connsiteY0" fmla="*/ 23 h 16061"/>
              <a:gd name="connsiteX1" fmla="*/ 5703 w 19203"/>
              <a:gd name="connsiteY1" fmla="*/ 1085 h 16061"/>
              <a:gd name="connsiteX2" fmla="*/ 1220 w 19203"/>
              <a:gd name="connsiteY2" fmla="*/ 5155 h 16061"/>
              <a:gd name="connsiteX3" fmla="*/ 36 w 19203"/>
              <a:gd name="connsiteY3" fmla="*/ 9089 h 16061"/>
              <a:gd name="connsiteX4" fmla="*/ 353 w 19203"/>
              <a:gd name="connsiteY4" fmla="*/ 13412 h 16061"/>
              <a:gd name="connsiteX5" fmla="*/ 1192 w 19203"/>
              <a:gd name="connsiteY5" fmla="*/ 15940 h 16061"/>
              <a:gd name="connsiteX6" fmla="*/ 5793 w 19203"/>
              <a:gd name="connsiteY6" fmla="*/ 15687 h 16061"/>
              <a:gd name="connsiteX7" fmla="*/ 8678 w 19203"/>
              <a:gd name="connsiteY7" fmla="*/ 15903 h 16061"/>
              <a:gd name="connsiteX8" fmla="*/ 11000 w 19203"/>
              <a:gd name="connsiteY8" fmla="*/ 15895 h 16061"/>
              <a:gd name="connsiteX9" fmla="*/ 13786 w 19203"/>
              <a:gd name="connsiteY9" fmla="*/ 15872 h 16061"/>
              <a:gd name="connsiteX10" fmla="*/ 15633 w 19203"/>
              <a:gd name="connsiteY10" fmla="*/ 15840 h 16061"/>
              <a:gd name="connsiteX11" fmla="*/ 19177 w 19203"/>
              <a:gd name="connsiteY11" fmla="*/ 15966 h 16061"/>
              <a:gd name="connsiteX12" fmla="*/ 19180 w 19203"/>
              <a:gd name="connsiteY12" fmla="*/ 12271 h 16061"/>
              <a:gd name="connsiteX13" fmla="*/ 19195 w 19203"/>
              <a:gd name="connsiteY13" fmla="*/ 9129 h 16061"/>
              <a:gd name="connsiteX14" fmla="*/ 19161 w 19203"/>
              <a:gd name="connsiteY14" fmla="*/ 3610 h 16061"/>
              <a:gd name="connsiteX15" fmla="*/ 15199 w 19203"/>
              <a:gd name="connsiteY15" fmla="*/ 859 h 16061"/>
              <a:gd name="connsiteX16" fmla="*/ 11465 w 19203"/>
              <a:gd name="connsiteY16" fmla="*/ 23 h 16061"/>
              <a:gd name="connsiteX0" fmla="*/ 11465 w 19203"/>
              <a:gd name="connsiteY0" fmla="*/ 23 h 16107"/>
              <a:gd name="connsiteX1" fmla="*/ 5703 w 19203"/>
              <a:gd name="connsiteY1" fmla="*/ 1085 h 16107"/>
              <a:gd name="connsiteX2" fmla="*/ 1220 w 19203"/>
              <a:gd name="connsiteY2" fmla="*/ 5155 h 16107"/>
              <a:gd name="connsiteX3" fmla="*/ 36 w 19203"/>
              <a:gd name="connsiteY3" fmla="*/ 9089 h 16107"/>
              <a:gd name="connsiteX4" fmla="*/ 353 w 19203"/>
              <a:gd name="connsiteY4" fmla="*/ 13412 h 16107"/>
              <a:gd name="connsiteX5" fmla="*/ 1192 w 19203"/>
              <a:gd name="connsiteY5" fmla="*/ 15940 h 16107"/>
              <a:gd name="connsiteX6" fmla="*/ 5793 w 19203"/>
              <a:gd name="connsiteY6" fmla="*/ 15873 h 16107"/>
              <a:gd name="connsiteX7" fmla="*/ 8678 w 19203"/>
              <a:gd name="connsiteY7" fmla="*/ 15903 h 16107"/>
              <a:gd name="connsiteX8" fmla="*/ 11000 w 19203"/>
              <a:gd name="connsiteY8" fmla="*/ 15895 h 16107"/>
              <a:gd name="connsiteX9" fmla="*/ 13786 w 19203"/>
              <a:gd name="connsiteY9" fmla="*/ 15872 h 16107"/>
              <a:gd name="connsiteX10" fmla="*/ 15633 w 19203"/>
              <a:gd name="connsiteY10" fmla="*/ 15840 h 16107"/>
              <a:gd name="connsiteX11" fmla="*/ 19177 w 19203"/>
              <a:gd name="connsiteY11" fmla="*/ 15966 h 16107"/>
              <a:gd name="connsiteX12" fmla="*/ 19180 w 19203"/>
              <a:gd name="connsiteY12" fmla="*/ 12271 h 16107"/>
              <a:gd name="connsiteX13" fmla="*/ 19195 w 19203"/>
              <a:gd name="connsiteY13" fmla="*/ 9129 h 16107"/>
              <a:gd name="connsiteX14" fmla="*/ 19161 w 19203"/>
              <a:gd name="connsiteY14" fmla="*/ 3610 h 16107"/>
              <a:gd name="connsiteX15" fmla="*/ 15199 w 19203"/>
              <a:gd name="connsiteY15" fmla="*/ 859 h 16107"/>
              <a:gd name="connsiteX16" fmla="*/ 11465 w 19203"/>
              <a:gd name="connsiteY16" fmla="*/ 23 h 16107"/>
              <a:gd name="connsiteX0" fmla="*/ 11469 w 19207"/>
              <a:gd name="connsiteY0" fmla="*/ 23 h 15966"/>
              <a:gd name="connsiteX1" fmla="*/ 5707 w 19207"/>
              <a:gd name="connsiteY1" fmla="*/ 1085 h 15966"/>
              <a:gd name="connsiteX2" fmla="*/ 1224 w 19207"/>
              <a:gd name="connsiteY2" fmla="*/ 5155 h 15966"/>
              <a:gd name="connsiteX3" fmla="*/ 40 w 19207"/>
              <a:gd name="connsiteY3" fmla="*/ 9089 h 15966"/>
              <a:gd name="connsiteX4" fmla="*/ 357 w 19207"/>
              <a:gd name="connsiteY4" fmla="*/ 13412 h 15966"/>
              <a:gd name="connsiteX5" fmla="*/ 1448 w 19207"/>
              <a:gd name="connsiteY5" fmla="*/ 15463 h 15966"/>
              <a:gd name="connsiteX6" fmla="*/ 5797 w 19207"/>
              <a:gd name="connsiteY6" fmla="*/ 15873 h 15966"/>
              <a:gd name="connsiteX7" fmla="*/ 8682 w 19207"/>
              <a:gd name="connsiteY7" fmla="*/ 15903 h 15966"/>
              <a:gd name="connsiteX8" fmla="*/ 11004 w 19207"/>
              <a:gd name="connsiteY8" fmla="*/ 15895 h 15966"/>
              <a:gd name="connsiteX9" fmla="*/ 13790 w 19207"/>
              <a:gd name="connsiteY9" fmla="*/ 15872 h 15966"/>
              <a:gd name="connsiteX10" fmla="*/ 15637 w 19207"/>
              <a:gd name="connsiteY10" fmla="*/ 15840 h 15966"/>
              <a:gd name="connsiteX11" fmla="*/ 19181 w 19207"/>
              <a:gd name="connsiteY11" fmla="*/ 15966 h 15966"/>
              <a:gd name="connsiteX12" fmla="*/ 19184 w 19207"/>
              <a:gd name="connsiteY12" fmla="*/ 12271 h 15966"/>
              <a:gd name="connsiteX13" fmla="*/ 19199 w 19207"/>
              <a:gd name="connsiteY13" fmla="*/ 9129 h 15966"/>
              <a:gd name="connsiteX14" fmla="*/ 19165 w 19207"/>
              <a:gd name="connsiteY14" fmla="*/ 3610 h 15966"/>
              <a:gd name="connsiteX15" fmla="*/ 15203 w 19207"/>
              <a:gd name="connsiteY15" fmla="*/ 859 h 15966"/>
              <a:gd name="connsiteX16" fmla="*/ 11469 w 19207"/>
              <a:gd name="connsiteY16" fmla="*/ 23 h 15966"/>
              <a:gd name="connsiteX0" fmla="*/ 11469 w 19207"/>
              <a:gd name="connsiteY0" fmla="*/ 23 h 15966"/>
              <a:gd name="connsiteX1" fmla="*/ 5707 w 19207"/>
              <a:gd name="connsiteY1" fmla="*/ 1085 h 15966"/>
              <a:gd name="connsiteX2" fmla="*/ 1224 w 19207"/>
              <a:gd name="connsiteY2" fmla="*/ 5155 h 15966"/>
              <a:gd name="connsiteX3" fmla="*/ 40 w 19207"/>
              <a:gd name="connsiteY3" fmla="*/ 9089 h 15966"/>
              <a:gd name="connsiteX4" fmla="*/ 357 w 19207"/>
              <a:gd name="connsiteY4" fmla="*/ 13412 h 15966"/>
              <a:gd name="connsiteX5" fmla="*/ 1448 w 19207"/>
              <a:gd name="connsiteY5" fmla="*/ 15463 h 15966"/>
              <a:gd name="connsiteX6" fmla="*/ 5797 w 19207"/>
              <a:gd name="connsiteY6" fmla="*/ 15873 h 15966"/>
              <a:gd name="connsiteX7" fmla="*/ 8682 w 19207"/>
              <a:gd name="connsiteY7" fmla="*/ 15903 h 15966"/>
              <a:gd name="connsiteX8" fmla="*/ 11004 w 19207"/>
              <a:gd name="connsiteY8" fmla="*/ 15895 h 15966"/>
              <a:gd name="connsiteX9" fmla="*/ 13790 w 19207"/>
              <a:gd name="connsiteY9" fmla="*/ 15872 h 15966"/>
              <a:gd name="connsiteX10" fmla="*/ 15637 w 19207"/>
              <a:gd name="connsiteY10" fmla="*/ 15840 h 15966"/>
              <a:gd name="connsiteX11" fmla="*/ 19181 w 19207"/>
              <a:gd name="connsiteY11" fmla="*/ 15966 h 15966"/>
              <a:gd name="connsiteX12" fmla="*/ 19184 w 19207"/>
              <a:gd name="connsiteY12" fmla="*/ 12271 h 15966"/>
              <a:gd name="connsiteX13" fmla="*/ 19199 w 19207"/>
              <a:gd name="connsiteY13" fmla="*/ 9129 h 15966"/>
              <a:gd name="connsiteX14" fmla="*/ 19165 w 19207"/>
              <a:gd name="connsiteY14" fmla="*/ 3610 h 15966"/>
              <a:gd name="connsiteX15" fmla="*/ 15203 w 19207"/>
              <a:gd name="connsiteY15" fmla="*/ 859 h 15966"/>
              <a:gd name="connsiteX16" fmla="*/ 11469 w 19207"/>
              <a:gd name="connsiteY16" fmla="*/ 23 h 15966"/>
              <a:gd name="connsiteX0" fmla="*/ 11468 w 19206"/>
              <a:gd name="connsiteY0" fmla="*/ 23 h 15966"/>
              <a:gd name="connsiteX1" fmla="*/ 5706 w 19206"/>
              <a:gd name="connsiteY1" fmla="*/ 1085 h 15966"/>
              <a:gd name="connsiteX2" fmla="*/ 1223 w 19206"/>
              <a:gd name="connsiteY2" fmla="*/ 5155 h 15966"/>
              <a:gd name="connsiteX3" fmla="*/ 39 w 19206"/>
              <a:gd name="connsiteY3" fmla="*/ 9089 h 15966"/>
              <a:gd name="connsiteX4" fmla="*/ 356 w 19206"/>
              <a:gd name="connsiteY4" fmla="*/ 13412 h 15966"/>
              <a:gd name="connsiteX5" fmla="*/ 1378 w 19206"/>
              <a:gd name="connsiteY5" fmla="*/ 15755 h 15966"/>
              <a:gd name="connsiteX6" fmla="*/ 5796 w 19206"/>
              <a:gd name="connsiteY6" fmla="*/ 15873 h 15966"/>
              <a:gd name="connsiteX7" fmla="*/ 8681 w 19206"/>
              <a:gd name="connsiteY7" fmla="*/ 15903 h 15966"/>
              <a:gd name="connsiteX8" fmla="*/ 11003 w 19206"/>
              <a:gd name="connsiteY8" fmla="*/ 15895 h 15966"/>
              <a:gd name="connsiteX9" fmla="*/ 13789 w 19206"/>
              <a:gd name="connsiteY9" fmla="*/ 15872 h 15966"/>
              <a:gd name="connsiteX10" fmla="*/ 15636 w 19206"/>
              <a:gd name="connsiteY10" fmla="*/ 15840 h 15966"/>
              <a:gd name="connsiteX11" fmla="*/ 19180 w 19206"/>
              <a:gd name="connsiteY11" fmla="*/ 15966 h 15966"/>
              <a:gd name="connsiteX12" fmla="*/ 19183 w 19206"/>
              <a:gd name="connsiteY12" fmla="*/ 12271 h 15966"/>
              <a:gd name="connsiteX13" fmla="*/ 19198 w 19206"/>
              <a:gd name="connsiteY13" fmla="*/ 9129 h 15966"/>
              <a:gd name="connsiteX14" fmla="*/ 19164 w 19206"/>
              <a:gd name="connsiteY14" fmla="*/ 3610 h 15966"/>
              <a:gd name="connsiteX15" fmla="*/ 15202 w 19206"/>
              <a:gd name="connsiteY15" fmla="*/ 859 h 15966"/>
              <a:gd name="connsiteX16" fmla="*/ 11468 w 19206"/>
              <a:gd name="connsiteY16" fmla="*/ 23 h 15966"/>
              <a:gd name="connsiteX0" fmla="*/ 11468 w 19206"/>
              <a:gd name="connsiteY0" fmla="*/ 23 h 15966"/>
              <a:gd name="connsiteX1" fmla="*/ 5706 w 19206"/>
              <a:gd name="connsiteY1" fmla="*/ 1085 h 15966"/>
              <a:gd name="connsiteX2" fmla="*/ 1223 w 19206"/>
              <a:gd name="connsiteY2" fmla="*/ 5155 h 15966"/>
              <a:gd name="connsiteX3" fmla="*/ 39 w 19206"/>
              <a:gd name="connsiteY3" fmla="*/ 9089 h 15966"/>
              <a:gd name="connsiteX4" fmla="*/ 356 w 19206"/>
              <a:gd name="connsiteY4" fmla="*/ 13412 h 15966"/>
              <a:gd name="connsiteX5" fmla="*/ 1378 w 19206"/>
              <a:gd name="connsiteY5" fmla="*/ 15755 h 15966"/>
              <a:gd name="connsiteX6" fmla="*/ 5796 w 19206"/>
              <a:gd name="connsiteY6" fmla="*/ 15873 h 15966"/>
              <a:gd name="connsiteX7" fmla="*/ 8681 w 19206"/>
              <a:gd name="connsiteY7" fmla="*/ 15903 h 15966"/>
              <a:gd name="connsiteX8" fmla="*/ 11003 w 19206"/>
              <a:gd name="connsiteY8" fmla="*/ 15895 h 15966"/>
              <a:gd name="connsiteX9" fmla="*/ 13789 w 19206"/>
              <a:gd name="connsiteY9" fmla="*/ 15872 h 15966"/>
              <a:gd name="connsiteX10" fmla="*/ 15636 w 19206"/>
              <a:gd name="connsiteY10" fmla="*/ 15840 h 15966"/>
              <a:gd name="connsiteX11" fmla="*/ 19180 w 19206"/>
              <a:gd name="connsiteY11" fmla="*/ 15966 h 15966"/>
              <a:gd name="connsiteX12" fmla="*/ 19183 w 19206"/>
              <a:gd name="connsiteY12" fmla="*/ 12271 h 15966"/>
              <a:gd name="connsiteX13" fmla="*/ 19198 w 19206"/>
              <a:gd name="connsiteY13" fmla="*/ 9129 h 15966"/>
              <a:gd name="connsiteX14" fmla="*/ 19164 w 19206"/>
              <a:gd name="connsiteY14" fmla="*/ 3610 h 15966"/>
              <a:gd name="connsiteX15" fmla="*/ 15202 w 19206"/>
              <a:gd name="connsiteY15" fmla="*/ 859 h 15966"/>
              <a:gd name="connsiteX16" fmla="*/ 11468 w 19206"/>
              <a:gd name="connsiteY16" fmla="*/ 23 h 15966"/>
              <a:gd name="connsiteX0" fmla="*/ 11465 w 19203"/>
              <a:gd name="connsiteY0" fmla="*/ 23 h 15966"/>
              <a:gd name="connsiteX1" fmla="*/ 5703 w 19203"/>
              <a:gd name="connsiteY1" fmla="*/ 1085 h 15966"/>
              <a:gd name="connsiteX2" fmla="*/ 1220 w 19203"/>
              <a:gd name="connsiteY2" fmla="*/ 5155 h 15966"/>
              <a:gd name="connsiteX3" fmla="*/ 36 w 19203"/>
              <a:gd name="connsiteY3" fmla="*/ 9089 h 15966"/>
              <a:gd name="connsiteX4" fmla="*/ 353 w 19203"/>
              <a:gd name="connsiteY4" fmla="*/ 13412 h 15966"/>
              <a:gd name="connsiteX5" fmla="*/ 1146 w 19203"/>
              <a:gd name="connsiteY5" fmla="*/ 15835 h 15966"/>
              <a:gd name="connsiteX6" fmla="*/ 5793 w 19203"/>
              <a:gd name="connsiteY6" fmla="*/ 15873 h 15966"/>
              <a:gd name="connsiteX7" fmla="*/ 8678 w 19203"/>
              <a:gd name="connsiteY7" fmla="*/ 15903 h 15966"/>
              <a:gd name="connsiteX8" fmla="*/ 11000 w 19203"/>
              <a:gd name="connsiteY8" fmla="*/ 15895 h 15966"/>
              <a:gd name="connsiteX9" fmla="*/ 13786 w 19203"/>
              <a:gd name="connsiteY9" fmla="*/ 15872 h 15966"/>
              <a:gd name="connsiteX10" fmla="*/ 15633 w 19203"/>
              <a:gd name="connsiteY10" fmla="*/ 15840 h 15966"/>
              <a:gd name="connsiteX11" fmla="*/ 19177 w 19203"/>
              <a:gd name="connsiteY11" fmla="*/ 15966 h 15966"/>
              <a:gd name="connsiteX12" fmla="*/ 19180 w 19203"/>
              <a:gd name="connsiteY12" fmla="*/ 12271 h 15966"/>
              <a:gd name="connsiteX13" fmla="*/ 19195 w 19203"/>
              <a:gd name="connsiteY13" fmla="*/ 9129 h 15966"/>
              <a:gd name="connsiteX14" fmla="*/ 19161 w 19203"/>
              <a:gd name="connsiteY14" fmla="*/ 3610 h 15966"/>
              <a:gd name="connsiteX15" fmla="*/ 15199 w 19203"/>
              <a:gd name="connsiteY15" fmla="*/ 859 h 15966"/>
              <a:gd name="connsiteX16" fmla="*/ 11465 w 19203"/>
              <a:gd name="connsiteY16" fmla="*/ 23 h 15966"/>
              <a:gd name="connsiteX0" fmla="*/ 11465 w 19203"/>
              <a:gd name="connsiteY0" fmla="*/ 23 h 15903"/>
              <a:gd name="connsiteX1" fmla="*/ 5703 w 19203"/>
              <a:gd name="connsiteY1" fmla="*/ 1085 h 15903"/>
              <a:gd name="connsiteX2" fmla="*/ 1220 w 19203"/>
              <a:gd name="connsiteY2" fmla="*/ 5155 h 15903"/>
              <a:gd name="connsiteX3" fmla="*/ 36 w 19203"/>
              <a:gd name="connsiteY3" fmla="*/ 9089 h 15903"/>
              <a:gd name="connsiteX4" fmla="*/ 353 w 19203"/>
              <a:gd name="connsiteY4" fmla="*/ 13412 h 15903"/>
              <a:gd name="connsiteX5" fmla="*/ 1146 w 19203"/>
              <a:gd name="connsiteY5" fmla="*/ 15835 h 15903"/>
              <a:gd name="connsiteX6" fmla="*/ 5793 w 19203"/>
              <a:gd name="connsiteY6" fmla="*/ 15873 h 15903"/>
              <a:gd name="connsiteX7" fmla="*/ 8678 w 19203"/>
              <a:gd name="connsiteY7" fmla="*/ 15903 h 15903"/>
              <a:gd name="connsiteX8" fmla="*/ 11000 w 19203"/>
              <a:gd name="connsiteY8" fmla="*/ 15895 h 15903"/>
              <a:gd name="connsiteX9" fmla="*/ 13786 w 19203"/>
              <a:gd name="connsiteY9" fmla="*/ 15872 h 15903"/>
              <a:gd name="connsiteX10" fmla="*/ 15633 w 19203"/>
              <a:gd name="connsiteY10" fmla="*/ 15840 h 15903"/>
              <a:gd name="connsiteX11" fmla="*/ 19154 w 19203"/>
              <a:gd name="connsiteY11" fmla="*/ 15515 h 15903"/>
              <a:gd name="connsiteX12" fmla="*/ 19180 w 19203"/>
              <a:gd name="connsiteY12" fmla="*/ 12271 h 15903"/>
              <a:gd name="connsiteX13" fmla="*/ 19195 w 19203"/>
              <a:gd name="connsiteY13" fmla="*/ 9129 h 15903"/>
              <a:gd name="connsiteX14" fmla="*/ 19161 w 19203"/>
              <a:gd name="connsiteY14" fmla="*/ 3610 h 15903"/>
              <a:gd name="connsiteX15" fmla="*/ 15199 w 19203"/>
              <a:gd name="connsiteY15" fmla="*/ 859 h 15903"/>
              <a:gd name="connsiteX16" fmla="*/ 11465 w 19203"/>
              <a:gd name="connsiteY16" fmla="*/ 23 h 15903"/>
              <a:gd name="connsiteX0" fmla="*/ 11465 w 19203"/>
              <a:gd name="connsiteY0" fmla="*/ 23 h 15913"/>
              <a:gd name="connsiteX1" fmla="*/ 5703 w 19203"/>
              <a:gd name="connsiteY1" fmla="*/ 1085 h 15913"/>
              <a:gd name="connsiteX2" fmla="*/ 1220 w 19203"/>
              <a:gd name="connsiteY2" fmla="*/ 5155 h 15913"/>
              <a:gd name="connsiteX3" fmla="*/ 36 w 19203"/>
              <a:gd name="connsiteY3" fmla="*/ 9089 h 15913"/>
              <a:gd name="connsiteX4" fmla="*/ 353 w 19203"/>
              <a:gd name="connsiteY4" fmla="*/ 13412 h 15913"/>
              <a:gd name="connsiteX5" fmla="*/ 1146 w 19203"/>
              <a:gd name="connsiteY5" fmla="*/ 15835 h 15913"/>
              <a:gd name="connsiteX6" fmla="*/ 5793 w 19203"/>
              <a:gd name="connsiteY6" fmla="*/ 15873 h 15913"/>
              <a:gd name="connsiteX7" fmla="*/ 8678 w 19203"/>
              <a:gd name="connsiteY7" fmla="*/ 15903 h 15913"/>
              <a:gd name="connsiteX8" fmla="*/ 11000 w 19203"/>
              <a:gd name="connsiteY8" fmla="*/ 15895 h 15913"/>
              <a:gd name="connsiteX9" fmla="*/ 13786 w 19203"/>
              <a:gd name="connsiteY9" fmla="*/ 15872 h 15913"/>
              <a:gd name="connsiteX10" fmla="*/ 15633 w 19203"/>
              <a:gd name="connsiteY10" fmla="*/ 15840 h 15913"/>
              <a:gd name="connsiteX11" fmla="*/ 19154 w 19203"/>
              <a:gd name="connsiteY11" fmla="*/ 15913 h 15913"/>
              <a:gd name="connsiteX12" fmla="*/ 19180 w 19203"/>
              <a:gd name="connsiteY12" fmla="*/ 12271 h 15913"/>
              <a:gd name="connsiteX13" fmla="*/ 19195 w 19203"/>
              <a:gd name="connsiteY13" fmla="*/ 9129 h 15913"/>
              <a:gd name="connsiteX14" fmla="*/ 19161 w 19203"/>
              <a:gd name="connsiteY14" fmla="*/ 3610 h 15913"/>
              <a:gd name="connsiteX15" fmla="*/ 15199 w 19203"/>
              <a:gd name="connsiteY15" fmla="*/ 859 h 15913"/>
              <a:gd name="connsiteX16" fmla="*/ 11465 w 19203"/>
              <a:gd name="connsiteY16" fmla="*/ 23 h 15913"/>
              <a:gd name="connsiteX0" fmla="*/ 11465 w 19203"/>
              <a:gd name="connsiteY0" fmla="*/ 23 h 15913"/>
              <a:gd name="connsiteX1" fmla="*/ 5703 w 19203"/>
              <a:gd name="connsiteY1" fmla="*/ 1085 h 15913"/>
              <a:gd name="connsiteX2" fmla="*/ 1220 w 19203"/>
              <a:gd name="connsiteY2" fmla="*/ 5155 h 15913"/>
              <a:gd name="connsiteX3" fmla="*/ 36 w 19203"/>
              <a:gd name="connsiteY3" fmla="*/ 9089 h 15913"/>
              <a:gd name="connsiteX4" fmla="*/ 353 w 19203"/>
              <a:gd name="connsiteY4" fmla="*/ 13412 h 15913"/>
              <a:gd name="connsiteX5" fmla="*/ 1146 w 19203"/>
              <a:gd name="connsiteY5" fmla="*/ 15835 h 15913"/>
              <a:gd name="connsiteX6" fmla="*/ 5793 w 19203"/>
              <a:gd name="connsiteY6" fmla="*/ 15873 h 15913"/>
              <a:gd name="connsiteX7" fmla="*/ 8678 w 19203"/>
              <a:gd name="connsiteY7" fmla="*/ 15744 h 15913"/>
              <a:gd name="connsiteX8" fmla="*/ 11000 w 19203"/>
              <a:gd name="connsiteY8" fmla="*/ 15895 h 15913"/>
              <a:gd name="connsiteX9" fmla="*/ 13786 w 19203"/>
              <a:gd name="connsiteY9" fmla="*/ 15872 h 15913"/>
              <a:gd name="connsiteX10" fmla="*/ 15633 w 19203"/>
              <a:gd name="connsiteY10" fmla="*/ 15840 h 15913"/>
              <a:gd name="connsiteX11" fmla="*/ 19154 w 19203"/>
              <a:gd name="connsiteY11" fmla="*/ 15913 h 15913"/>
              <a:gd name="connsiteX12" fmla="*/ 19180 w 19203"/>
              <a:gd name="connsiteY12" fmla="*/ 12271 h 15913"/>
              <a:gd name="connsiteX13" fmla="*/ 19195 w 19203"/>
              <a:gd name="connsiteY13" fmla="*/ 9129 h 15913"/>
              <a:gd name="connsiteX14" fmla="*/ 19161 w 19203"/>
              <a:gd name="connsiteY14" fmla="*/ 3610 h 15913"/>
              <a:gd name="connsiteX15" fmla="*/ 15199 w 19203"/>
              <a:gd name="connsiteY15" fmla="*/ 859 h 15913"/>
              <a:gd name="connsiteX16" fmla="*/ 11465 w 19203"/>
              <a:gd name="connsiteY16" fmla="*/ 23 h 15913"/>
              <a:gd name="connsiteX0" fmla="*/ 11465 w 19203"/>
              <a:gd name="connsiteY0" fmla="*/ 23 h 15913"/>
              <a:gd name="connsiteX1" fmla="*/ 5703 w 19203"/>
              <a:gd name="connsiteY1" fmla="*/ 1085 h 15913"/>
              <a:gd name="connsiteX2" fmla="*/ 1220 w 19203"/>
              <a:gd name="connsiteY2" fmla="*/ 5155 h 15913"/>
              <a:gd name="connsiteX3" fmla="*/ 36 w 19203"/>
              <a:gd name="connsiteY3" fmla="*/ 9089 h 15913"/>
              <a:gd name="connsiteX4" fmla="*/ 353 w 19203"/>
              <a:gd name="connsiteY4" fmla="*/ 13412 h 15913"/>
              <a:gd name="connsiteX5" fmla="*/ 1146 w 19203"/>
              <a:gd name="connsiteY5" fmla="*/ 15835 h 15913"/>
              <a:gd name="connsiteX6" fmla="*/ 5793 w 19203"/>
              <a:gd name="connsiteY6" fmla="*/ 15873 h 15913"/>
              <a:gd name="connsiteX7" fmla="*/ 8678 w 19203"/>
              <a:gd name="connsiteY7" fmla="*/ 15877 h 15913"/>
              <a:gd name="connsiteX8" fmla="*/ 11000 w 19203"/>
              <a:gd name="connsiteY8" fmla="*/ 15895 h 15913"/>
              <a:gd name="connsiteX9" fmla="*/ 13786 w 19203"/>
              <a:gd name="connsiteY9" fmla="*/ 15872 h 15913"/>
              <a:gd name="connsiteX10" fmla="*/ 15633 w 19203"/>
              <a:gd name="connsiteY10" fmla="*/ 15840 h 15913"/>
              <a:gd name="connsiteX11" fmla="*/ 19154 w 19203"/>
              <a:gd name="connsiteY11" fmla="*/ 15913 h 15913"/>
              <a:gd name="connsiteX12" fmla="*/ 19180 w 19203"/>
              <a:gd name="connsiteY12" fmla="*/ 12271 h 15913"/>
              <a:gd name="connsiteX13" fmla="*/ 19195 w 19203"/>
              <a:gd name="connsiteY13" fmla="*/ 9129 h 15913"/>
              <a:gd name="connsiteX14" fmla="*/ 19161 w 19203"/>
              <a:gd name="connsiteY14" fmla="*/ 3610 h 15913"/>
              <a:gd name="connsiteX15" fmla="*/ 15199 w 19203"/>
              <a:gd name="connsiteY15" fmla="*/ 859 h 15913"/>
              <a:gd name="connsiteX16" fmla="*/ 11465 w 19203"/>
              <a:gd name="connsiteY16" fmla="*/ 23 h 15913"/>
              <a:gd name="connsiteX0" fmla="*/ 11465 w 19198"/>
              <a:gd name="connsiteY0" fmla="*/ 23 h 15913"/>
              <a:gd name="connsiteX1" fmla="*/ 5703 w 19198"/>
              <a:gd name="connsiteY1" fmla="*/ 1085 h 15913"/>
              <a:gd name="connsiteX2" fmla="*/ 1220 w 19198"/>
              <a:gd name="connsiteY2" fmla="*/ 5155 h 15913"/>
              <a:gd name="connsiteX3" fmla="*/ 36 w 19198"/>
              <a:gd name="connsiteY3" fmla="*/ 9089 h 15913"/>
              <a:gd name="connsiteX4" fmla="*/ 353 w 19198"/>
              <a:gd name="connsiteY4" fmla="*/ 13412 h 15913"/>
              <a:gd name="connsiteX5" fmla="*/ 1146 w 19198"/>
              <a:gd name="connsiteY5" fmla="*/ 15835 h 15913"/>
              <a:gd name="connsiteX6" fmla="*/ 5793 w 19198"/>
              <a:gd name="connsiteY6" fmla="*/ 15873 h 15913"/>
              <a:gd name="connsiteX7" fmla="*/ 8678 w 19198"/>
              <a:gd name="connsiteY7" fmla="*/ 15877 h 15913"/>
              <a:gd name="connsiteX8" fmla="*/ 11000 w 19198"/>
              <a:gd name="connsiteY8" fmla="*/ 15895 h 15913"/>
              <a:gd name="connsiteX9" fmla="*/ 13786 w 19198"/>
              <a:gd name="connsiteY9" fmla="*/ 15872 h 15913"/>
              <a:gd name="connsiteX10" fmla="*/ 15633 w 19198"/>
              <a:gd name="connsiteY10" fmla="*/ 15840 h 15913"/>
              <a:gd name="connsiteX11" fmla="*/ 19154 w 19198"/>
              <a:gd name="connsiteY11" fmla="*/ 15913 h 15913"/>
              <a:gd name="connsiteX12" fmla="*/ 19180 w 19198"/>
              <a:gd name="connsiteY12" fmla="*/ 12271 h 15913"/>
              <a:gd name="connsiteX13" fmla="*/ 18943 w 19198"/>
              <a:gd name="connsiteY13" fmla="*/ 9182 h 15913"/>
              <a:gd name="connsiteX14" fmla="*/ 19161 w 19198"/>
              <a:gd name="connsiteY14" fmla="*/ 3610 h 15913"/>
              <a:gd name="connsiteX15" fmla="*/ 15199 w 19198"/>
              <a:gd name="connsiteY15" fmla="*/ 859 h 15913"/>
              <a:gd name="connsiteX16" fmla="*/ 11465 w 19198"/>
              <a:gd name="connsiteY16" fmla="*/ 23 h 15913"/>
              <a:gd name="connsiteX0" fmla="*/ 11465 w 19190"/>
              <a:gd name="connsiteY0" fmla="*/ 23 h 15913"/>
              <a:gd name="connsiteX1" fmla="*/ 5703 w 19190"/>
              <a:gd name="connsiteY1" fmla="*/ 1085 h 15913"/>
              <a:gd name="connsiteX2" fmla="*/ 1220 w 19190"/>
              <a:gd name="connsiteY2" fmla="*/ 5155 h 15913"/>
              <a:gd name="connsiteX3" fmla="*/ 36 w 19190"/>
              <a:gd name="connsiteY3" fmla="*/ 9089 h 15913"/>
              <a:gd name="connsiteX4" fmla="*/ 353 w 19190"/>
              <a:gd name="connsiteY4" fmla="*/ 13412 h 15913"/>
              <a:gd name="connsiteX5" fmla="*/ 1146 w 19190"/>
              <a:gd name="connsiteY5" fmla="*/ 15835 h 15913"/>
              <a:gd name="connsiteX6" fmla="*/ 5793 w 19190"/>
              <a:gd name="connsiteY6" fmla="*/ 15873 h 15913"/>
              <a:gd name="connsiteX7" fmla="*/ 8678 w 19190"/>
              <a:gd name="connsiteY7" fmla="*/ 15877 h 15913"/>
              <a:gd name="connsiteX8" fmla="*/ 11000 w 19190"/>
              <a:gd name="connsiteY8" fmla="*/ 15895 h 15913"/>
              <a:gd name="connsiteX9" fmla="*/ 13786 w 19190"/>
              <a:gd name="connsiteY9" fmla="*/ 15872 h 15913"/>
              <a:gd name="connsiteX10" fmla="*/ 15633 w 19190"/>
              <a:gd name="connsiteY10" fmla="*/ 15840 h 15913"/>
              <a:gd name="connsiteX11" fmla="*/ 19154 w 19190"/>
              <a:gd name="connsiteY11" fmla="*/ 15913 h 15913"/>
              <a:gd name="connsiteX12" fmla="*/ 19180 w 19190"/>
              <a:gd name="connsiteY12" fmla="*/ 12271 h 15913"/>
              <a:gd name="connsiteX13" fmla="*/ 19172 w 19190"/>
              <a:gd name="connsiteY13" fmla="*/ 9209 h 15913"/>
              <a:gd name="connsiteX14" fmla="*/ 19161 w 19190"/>
              <a:gd name="connsiteY14" fmla="*/ 3610 h 15913"/>
              <a:gd name="connsiteX15" fmla="*/ 15199 w 19190"/>
              <a:gd name="connsiteY15" fmla="*/ 859 h 15913"/>
              <a:gd name="connsiteX16" fmla="*/ 11465 w 19190"/>
              <a:gd name="connsiteY16" fmla="*/ 23 h 15913"/>
              <a:gd name="connsiteX0" fmla="*/ 11465 w 19190"/>
              <a:gd name="connsiteY0" fmla="*/ 23 h 15905"/>
              <a:gd name="connsiteX1" fmla="*/ 5703 w 19190"/>
              <a:gd name="connsiteY1" fmla="*/ 1085 h 15905"/>
              <a:gd name="connsiteX2" fmla="*/ 1220 w 19190"/>
              <a:gd name="connsiteY2" fmla="*/ 5155 h 15905"/>
              <a:gd name="connsiteX3" fmla="*/ 36 w 19190"/>
              <a:gd name="connsiteY3" fmla="*/ 9089 h 15905"/>
              <a:gd name="connsiteX4" fmla="*/ 353 w 19190"/>
              <a:gd name="connsiteY4" fmla="*/ 13412 h 15905"/>
              <a:gd name="connsiteX5" fmla="*/ 1146 w 19190"/>
              <a:gd name="connsiteY5" fmla="*/ 15835 h 15905"/>
              <a:gd name="connsiteX6" fmla="*/ 5793 w 19190"/>
              <a:gd name="connsiteY6" fmla="*/ 15873 h 15905"/>
              <a:gd name="connsiteX7" fmla="*/ 8678 w 19190"/>
              <a:gd name="connsiteY7" fmla="*/ 15877 h 15905"/>
              <a:gd name="connsiteX8" fmla="*/ 11000 w 19190"/>
              <a:gd name="connsiteY8" fmla="*/ 15895 h 15905"/>
              <a:gd name="connsiteX9" fmla="*/ 13786 w 19190"/>
              <a:gd name="connsiteY9" fmla="*/ 15872 h 15905"/>
              <a:gd name="connsiteX10" fmla="*/ 15633 w 19190"/>
              <a:gd name="connsiteY10" fmla="*/ 15840 h 15905"/>
              <a:gd name="connsiteX11" fmla="*/ 19154 w 19190"/>
              <a:gd name="connsiteY11" fmla="*/ 15860 h 15905"/>
              <a:gd name="connsiteX12" fmla="*/ 19180 w 19190"/>
              <a:gd name="connsiteY12" fmla="*/ 12271 h 15905"/>
              <a:gd name="connsiteX13" fmla="*/ 19172 w 19190"/>
              <a:gd name="connsiteY13" fmla="*/ 9209 h 15905"/>
              <a:gd name="connsiteX14" fmla="*/ 19161 w 19190"/>
              <a:gd name="connsiteY14" fmla="*/ 3610 h 15905"/>
              <a:gd name="connsiteX15" fmla="*/ 15199 w 19190"/>
              <a:gd name="connsiteY15" fmla="*/ 859 h 15905"/>
              <a:gd name="connsiteX16" fmla="*/ 11465 w 19190"/>
              <a:gd name="connsiteY16" fmla="*/ 23 h 15905"/>
              <a:gd name="connsiteX0" fmla="*/ 11480 w 19205"/>
              <a:gd name="connsiteY0" fmla="*/ 23 h 15905"/>
              <a:gd name="connsiteX1" fmla="*/ 5718 w 19205"/>
              <a:gd name="connsiteY1" fmla="*/ 1085 h 15905"/>
              <a:gd name="connsiteX2" fmla="*/ 1235 w 19205"/>
              <a:gd name="connsiteY2" fmla="*/ 5155 h 15905"/>
              <a:gd name="connsiteX3" fmla="*/ 51 w 19205"/>
              <a:gd name="connsiteY3" fmla="*/ 9089 h 15905"/>
              <a:gd name="connsiteX4" fmla="*/ 368 w 19205"/>
              <a:gd name="connsiteY4" fmla="*/ 13412 h 15905"/>
              <a:gd name="connsiteX5" fmla="*/ 1161 w 19205"/>
              <a:gd name="connsiteY5" fmla="*/ 15835 h 15905"/>
              <a:gd name="connsiteX6" fmla="*/ 5808 w 19205"/>
              <a:gd name="connsiteY6" fmla="*/ 15873 h 15905"/>
              <a:gd name="connsiteX7" fmla="*/ 8693 w 19205"/>
              <a:gd name="connsiteY7" fmla="*/ 15877 h 15905"/>
              <a:gd name="connsiteX8" fmla="*/ 11015 w 19205"/>
              <a:gd name="connsiteY8" fmla="*/ 15895 h 15905"/>
              <a:gd name="connsiteX9" fmla="*/ 13801 w 19205"/>
              <a:gd name="connsiteY9" fmla="*/ 15872 h 15905"/>
              <a:gd name="connsiteX10" fmla="*/ 15648 w 19205"/>
              <a:gd name="connsiteY10" fmla="*/ 15840 h 15905"/>
              <a:gd name="connsiteX11" fmla="*/ 19169 w 19205"/>
              <a:gd name="connsiteY11" fmla="*/ 15860 h 15905"/>
              <a:gd name="connsiteX12" fmla="*/ 19195 w 19205"/>
              <a:gd name="connsiteY12" fmla="*/ 12271 h 15905"/>
              <a:gd name="connsiteX13" fmla="*/ 19187 w 19205"/>
              <a:gd name="connsiteY13" fmla="*/ 9209 h 15905"/>
              <a:gd name="connsiteX14" fmla="*/ 19176 w 19205"/>
              <a:gd name="connsiteY14" fmla="*/ 3610 h 15905"/>
              <a:gd name="connsiteX15" fmla="*/ 15214 w 19205"/>
              <a:gd name="connsiteY15" fmla="*/ 859 h 15905"/>
              <a:gd name="connsiteX16" fmla="*/ 11480 w 19205"/>
              <a:gd name="connsiteY16" fmla="*/ 23 h 15905"/>
              <a:gd name="connsiteX0" fmla="*/ 11474 w 19199"/>
              <a:gd name="connsiteY0" fmla="*/ 23 h 15913"/>
              <a:gd name="connsiteX1" fmla="*/ 5712 w 19199"/>
              <a:gd name="connsiteY1" fmla="*/ 1085 h 15913"/>
              <a:gd name="connsiteX2" fmla="*/ 1229 w 19199"/>
              <a:gd name="connsiteY2" fmla="*/ 5155 h 15913"/>
              <a:gd name="connsiteX3" fmla="*/ 45 w 19199"/>
              <a:gd name="connsiteY3" fmla="*/ 9089 h 15913"/>
              <a:gd name="connsiteX4" fmla="*/ 362 w 19199"/>
              <a:gd name="connsiteY4" fmla="*/ 13412 h 15913"/>
              <a:gd name="connsiteX5" fmla="*/ 1703 w 19199"/>
              <a:gd name="connsiteY5" fmla="*/ 15888 h 15913"/>
              <a:gd name="connsiteX6" fmla="*/ 5802 w 19199"/>
              <a:gd name="connsiteY6" fmla="*/ 15873 h 15913"/>
              <a:gd name="connsiteX7" fmla="*/ 8687 w 19199"/>
              <a:gd name="connsiteY7" fmla="*/ 15877 h 15913"/>
              <a:gd name="connsiteX8" fmla="*/ 11009 w 19199"/>
              <a:gd name="connsiteY8" fmla="*/ 15895 h 15913"/>
              <a:gd name="connsiteX9" fmla="*/ 13795 w 19199"/>
              <a:gd name="connsiteY9" fmla="*/ 15872 h 15913"/>
              <a:gd name="connsiteX10" fmla="*/ 15642 w 19199"/>
              <a:gd name="connsiteY10" fmla="*/ 15840 h 15913"/>
              <a:gd name="connsiteX11" fmla="*/ 19163 w 19199"/>
              <a:gd name="connsiteY11" fmla="*/ 15860 h 15913"/>
              <a:gd name="connsiteX12" fmla="*/ 19189 w 19199"/>
              <a:gd name="connsiteY12" fmla="*/ 12271 h 15913"/>
              <a:gd name="connsiteX13" fmla="*/ 19181 w 19199"/>
              <a:gd name="connsiteY13" fmla="*/ 9209 h 15913"/>
              <a:gd name="connsiteX14" fmla="*/ 19170 w 19199"/>
              <a:gd name="connsiteY14" fmla="*/ 3610 h 15913"/>
              <a:gd name="connsiteX15" fmla="*/ 15208 w 19199"/>
              <a:gd name="connsiteY15" fmla="*/ 859 h 15913"/>
              <a:gd name="connsiteX16" fmla="*/ 11474 w 19199"/>
              <a:gd name="connsiteY16" fmla="*/ 23 h 15913"/>
              <a:gd name="connsiteX0" fmla="*/ 11474 w 19199"/>
              <a:gd name="connsiteY0" fmla="*/ 23 h 15905"/>
              <a:gd name="connsiteX1" fmla="*/ 5712 w 19199"/>
              <a:gd name="connsiteY1" fmla="*/ 1085 h 15905"/>
              <a:gd name="connsiteX2" fmla="*/ 1229 w 19199"/>
              <a:gd name="connsiteY2" fmla="*/ 5155 h 15905"/>
              <a:gd name="connsiteX3" fmla="*/ 45 w 19199"/>
              <a:gd name="connsiteY3" fmla="*/ 9089 h 15905"/>
              <a:gd name="connsiteX4" fmla="*/ 362 w 19199"/>
              <a:gd name="connsiteY4" fmla="*/ 13412 h 15905"/>
              <a:gd name="connsiteX5" fmla="*/ 1703 w 19199"/>
              <a:gd name="connsiteY5" fmla="*/ 15888 h 15905"/>
              <a:gd name="connsiteX6" fmla="*/ 5802 w 19199"/>
              <a:gd name="connsiteY6" fmla="*/ 15873 h 15905"/>
              <a:gd name="connsiteX7" fmla="*/ 8687 w 19199"/>
              <a:gd name="connsiteY7" fmla="*/ 15877 h 15905"/>
              <a:gd name="connsiteX8" fmla="*/ 11009 w 19199"/>
              <a:gd name="connsiteY8" fmla="*/ 15895 h 15905"/>
              <a:gd name="connsiteX9" fmla="*/ 13795 w 19199"/>
              <a:gd name="connsiteY9" fmla="*/ 15872 h 15905"/>
              <a:gd name="connsiteX10" fmla="*/ 15642 w 19199"/>
              <a:gd name="connsiteY10" fmla="*/ 15840 h 15905"/>
              <a:gd name="connsiteX11" fmla="*/ 19163 w 19199"/>
              <a:gd name="connsiteY11" fmla="*/ 15860 h 15905"/>
              <a:gd name="connsiteX12" fmla="*/ 19189 w 19199"/>
              <a:gd name="connsiteY12" fmla="*/ 12271 h 15905"/>
              <a:gd name="connsiteX13" fmla="*/ 19181 w 19199"/>
              <a:gd name="connsiteY13" fmla="*/ 9209 h 15905"/>
              <a:gd name="connsiteX14" fmla="*/ 19170 w 19199"/>
              <a:gd name="connsiteY14" fmla="*/ 3610 h 15905"/>
              <a:gd name="connsiteX15" fmla="*/ 15208 w 19199"/>
              <a:gd name="connsiteY15" fmla="*/ 859 h 15905"/>
              <a:gd name="connsiteX16" fmla="*/ 11474 w 19199"/>
              <a:gd name="connsiteY16" fmla="*/ 23 h 15905"/>
              <a:gd name="connsiteX0" fmla="*/ 11474 w 19199"/>
              <a:gd name="connsiteY0" fmla="*/ 23 h 15905"/>
              <a:gd name="connsiteX1" fmla="*/ 5712 w 19199"/>
              <a:gd name="connsiteY1" fmla="*/ 1085 h 15905"/>
              <a:gd name="connsiteX2" fmla="*/ 1229 w 19199"/>
              <a:gd name="connsiteY2" fmla="*/ 5155 h 15905"/>
              <a:gd name="connsiteX3" fmla="*/ 45 w 19199"/>
              <a:gd name="connsiteY3" fmla="*/ 9089 h 15905"/>
              <a:gd name="connsiteX4" fmla="*/ 362 w 19199"/>
              <a:gd name="connsiteY4" fmla="*/ 13412 h 15905"/>
              <a:gd name="connsiteX5" fmla="*/ 1703 w 19199"/>
              <a:gd name="connsiteY5" fmla="*/ 15888 h 15905"/>
              <a:gd name="connsiteX6" fmla="*/ 5802 w 19199"/>
              <a:gd name="connsiteY6" fmla="*/ 15873 h 15905"/>
              <a:gd name="connsiteX7" fmla="*/ 8687 w 19199"/>
              <a:gd name="connsiteY7" fmla="*/ 15877 h 15905"/>
              <a:gd name="connsiteX8" fmla="*/ 11009 w 19199"/>
              <a:gd name="connsiteY8" fmla="*/ 15895 h 15905"/>
              <a:gd name="connsiteX9" fmla="*/ 13795 w 19199"/>
              <a:gd name="connsiteY9" fmla="*/ 15872 h 15905"/>
              <a:gd name="connsiteX10" fmla="*/ 15642 w 19199"/>
              <a:gd name="connsiteY10" fmla="*/ 15840 h 15905"/>
              <a:gd name="connsiteX11" fmla="*/ 19163 w 19199"/>
              <a:gd name="connsiteY11" fmla="*/ 15860 h 15905"/>
              <a:gd name="connsiteX12" fmla="*/ 19189 w 19199"/>
              <a:gd name="connsiteY12" fmla="*/ 12271 h 15905"/>
              <a:gd name="connsiteX13" fmla="*/ 19181 w 19199"/>
              <a:gd name="connsiteY13" fmla="*/ 9209 h 15905"/>
              <a:gd name="connsiteX14" fmla="*/ 19170 w 19199"/>
              <a:gd name="connsiteY14" fmla="*/ 3610 h 15905"/>
              <a:gd name="connsiteX15" fmla="*/ 15208 w 19199"/>
              <a:gd name="connsiteY15" fmla="*/ 859 h 15905"/>
              <a:gd name="connsiteX16" fmla="*/ 11474 w 19199"/>
              <a:gd name="connsiteY16" fmla="*/ 23 h 15905"/>
              <a:gd name="connsiteX0" fmla="*/ 11464 w 19189"/>
              <a:gd name="connsiteY0" fmla="*/ 23 h 15905"/>
              <a:gd name="connsiteX1" fmla="*/ 5702 w 19189"/>
              <a:gd name="connsiteY1" fmla="*/ 1085 h 15905"/>
              <a:gd name="connsiteX2" fmla="*/ 1219 w 19189"/>
              <a:gd name="connsiteY2" fmla="*/ 5155 h 15905"/>
              <a:gd name="connsiteX3" fmla="*/ 35 w 19189"/>
              <a:gd name="connsiteY3" fmla="*/ 9089 h 15905"/>
              <a:gd name="connsiteX4" fmla="*/ 352 w 19189"/>
              <a:gd name="connsiteY4" fmla="*/ 13412 h 15905"/>
              <a:gd name="connsiteX5" fmla="*/ 1099 w 19189"/>
              <a:gd name="connsiteY5" fmla="*/ 15861 h 15905"/>
              <a:gd name="connsiteX6" fmla="*/ 5792 w 19189"/>
              <a:gd name="connsiteY6" fmla="*/ 15873 h 15905"/>
              <a:gd name="connsiteX7" fmla="*/ 8677 w 19189"/>
              <a:gd name="connsiteY7" fmla="*/ 15877 h 15905"/>
              <a:gd name="connsiteX8" fmla="*/ 10999 w 19189"/>
              <a:gd name="connsiteY8" fmla="*/ 15895 h 15905"/>
              <a:gd name="connsiteX9" fmla="*/ 13785 w 19189"/>
              <a:gd name="connsiteY9" fmla="*/ 15872 h 15905"/>
              <a:gd name="connsiteX10" fmla="*/ 15632 w 19189"/>
              <a:gd name="connsiteY10" fmla="*/ 15840 h 15905"/>
              <a:gd name="connsiteX11" fmla="*/ 19153 w 19189"/>
              <a:gd name="connsiteY11" fmla="*/ 15860 h 15905"/>
              <a:gd name="connsiteX12" fmla="*/ 19179 w 19189"/>
              <a:gd name="connsiteY12" fmla="*/ 12271 h 15905"/>
              <a:gd name="connsiteX13" fmla="*/ 19171 w 19189"/>
              <a:gd name="connsiteY13" fmla="*/ 9209 h 15905"/>
              <a:gd name="connsiteX14" fmla="*/ 19160 w 19189"/>
              <a:gd name="connsiteY14" fmla="*/ 3610 h 15905"/>
              <a:gd name="connsiteX15" fmla="*/ 15198 w 19189"/>
              <a:gd name="connsiteY15" fmla="*/ 859 h 15905"/>
              <a:gd name="connsiteX16" fmla="*/ 11464 w 19189"/>
              <a:gd name="connsiteY16" fmla="*/ 23 h 15905"/>
              <a:gd name="connsiteX0" fmla="*/ 11472 w 19197"/>
              <a:gd name="connsiteY0" fmla="*/ 23 h 15905"/>
              <a:gd name="connsiteX1" fmla="*/ 5710 w 19197"/>
              <a:gd name="connsiteY1" fmla="*/ 1085 h 15905"/>
              <a:gd name="connsiteX2" fmla="*/ 1227 w 19197"/>
              <a:gd name="connsiteY2" fmla="*/ 5155 h 15905"/>
              <a:gd name="connsiteX3" fmla="*/ 43 w 19197"/>
              <a:gd name="connsiteY3" fmla="*/ 9089 h 15905"/>
              <a:gd name="connsiteX4" fmla="*/ 360 w 19197"/>
              <a:gd name="connsiteY4" fmla="*/ 13412 h 15905"/>
              <a:gd name="connsiteX5" fmla="*/ 1107 w 19197"/>
              <a:gd name="connsiteY5" fmla="*/ 15861 h 15905"/>
              <a:gd name="connsiteX6" fmla="*/ 5800 w 19197"/>
              <a:gd name="connsiteY6" fmla="*/ 15873 h 15905"/>
              <a:gd name="connsiteX7" fmla="*/ 8685 w 19197"/>
              <a:gd name="connsiteY7" fmla="*/ 15877 h 15905"/>
              <a:gd name="connsiteX8" fmla="*/ 11007 w 19197"/>
              <a:gd name="connsiteY8" fmla="*/ 15895 h 15905"/>
              <a:gd name="connsiteX9" fmla="*/ 13793 w 19197"/>
              <a:gd name="connsiteY9" fmla="*/ 15872 h 15905"/>
              <a:gd name="connsiteX10" fmla="*/ 15640 w 19197"/>
              <a:gd name="connsiteY10" fmla="*/ 15840 h 15905"/>
              <a:gd name="connsiteX11" fmla="*/ 19161 w 19197"/>
              <a:gd name="connsiteY11" fmla="*/ 15860 h 15905"/>
              <a:gd name="connsiteX12" fmla="*/ 19187 w 19197"/>
              <a:gd name="connsiteY12" fmla="*/ 12271 h 15905"/>
              <a:gd name="connsiteX13" fmla="*/ 19179 w 19197"/>
              <a:gd name="connsiteY13" fmla="*/ 9209 h 15905"/>
              <a:gd name="connsiteX14" fmla="*/ 19168 w 19197"/>
              <a:gd name="connsiteY14" fmla="*/ 3610 h 15905"/>
              <a:gd name="connsiteX15" fmla="*/ 15206 w 19197"/>
              <a:gd name="connsiteY15" fmla="*/ 859 h 15905"/>
              <a:gd name="connsiteX16" fmla="*/ 11472 w 19197"/>
              <a:gd name="connsiteY16" fmla="*/ 23 h 15905"/>
              <a:gd name="connsiteX0" fmla="*/ 11472 w 19193"/>
              <a:gd name="connsiteY0" fmla="*/ 23 h 15905"/>
              <a:gd name="connsiteX1" fmla="*/ 5710 w 19193"/>
              <a:gd name="connsiteY1" fmla="*/ 1085 h 15905"/>
              <a:gd name="connsiteX2" fmla="*/ 1227 w 19193"/>
              <a:gd name="connsiteY2" fmla="*/ 5155 h 15905"/>
              <a:gd name="connsiteX3" fmla="*/ 43 w 19193"/>
              <a:gd name="connsiteY3" fmla="*/ 9089 h 15905"/>
              <a:gd name="connsiteX4" fmla="*/ 360 w 19193"/>
              <a:gd name="connsiteY4" fmla="*/ 13412 h 15905"/>
              <a:gd name="connsiteX5" fmla="*/ 1107 w 19193"/>
              <a:gd name="connsiteY5" fmla="*/ 15861 h 15905"/>
              <a:gd name="connsiteX6" fmla="*/ 5800 w 19193"/>
              <a:gd name="connsiteY6" fmla="*/ 15873 h 15905"/>
              <a:gd name="connsiteX7" fmla="*/ 8685 w 19193"/>
              <a:gd name="connsiteY7" fmla="*/ 15877 h 15905"/>
              <a:gd name="connsiteX8" fmla="*/ 11007 w 19193"/>
              <a:gd name="connsiteY8" fmla="*/ 15895 h 15905"/>
              <a:gd name="connsiteX9" fmla="*/ 13793 w 19193"/>
              <a:gd name="connsiteY9" fmla="*/ 15872 h 15905"/>
              <a:gd name="connsiteX10" fmla="*/ 15640 w 19193"/>
              <a:gd name="connsiteY10" fmla="*/ 15840 h 15905"/>
              <a:gd name="connsiteX11" fmla="*/ 19161 w 19193"/>
              <a:gd name="connsiteY11" fmla="*/ 15860 h 15905"/>
              <a:gd name="connsiteX12" fmla="*/ 19187 w 19193"/>
              <a:gd name="connsiteY12" fmla="*/ 12271 h 15905"/>
              <a:gd name="connsiteX13" fmla="*/ 19179 w 19193"/>
              <a:gd name="connsiteY13" fmla="*/ 9209 h 15905"/>
              <a:gd name="connsiteX14" fmla="*/ 19168 w 19193"/>
              <a:gd name="connsiteY14" fmla="*/ 3610 h 15905"/>
              <a:gd name="connsiteX15" fmla="*/ 15206 w 19193"/>
              <a:gd name="connsiteY15" fmla="*/ 859 h 15905"/>
              <a:gd name="connsiteX16" fmla="*/ 11472 w 19193"/>
              <a:gd name="connsiteY16" fmla="*/ 23 h 15905"/>
              <a:gd name="connsiteX0" fmla="*/ 11472 w 19193"/>
              <a:gd name="connsiteY0" fmla="*/ 23 h 15905"/>
              <a:gd name="connsiteX1" fmla="*/ 5710 w 19193"/>
              <a:gd name="connsiteY1" fmla="*/ 1085 h 15905"/>
              <a:gd name="connsiteX2" fmla="*/ 1227 w 19193"/>
              <a:gd name="connsiteY2" fmla="*/ 5155 h 15905"/>
              <a:gd name="connsiteX3" fmla="*/ 43 w 19193"/>
              <a:gd name="connsiteY3" fmla="*/ 9089 h 15905"/>
              <a:gd name="connsiteX4" fmla="*/ 360 w 19193"/>
              <a:gd name="connsiteY4" fmla="*/ 13412 h 15905"/>
              <a:gd name="connsiteX5" fmla="*/ 1107 w 19193"/>
              <a:gd name="connsiteY5" fmla="*/ 15861 h 15905"/>
              <a:gd name="connsiteX6" fmla="*/ 5800 w 19193"/>
              <a:gd name="connsiteY6" fmla="*/ 15873 h 15905"/>
              <a:gd name="connsiteX7" fmla="*/ 8685 w 19193"/>
              <a:gd name="connsiteY7" fmla="*/ 15877 h 15905"/>
              <a:gd name="connsiteX8" fmla="*/ 11007 w 19193"/>
              <a:gd name="connsiteY8" fmla="*/ 15895 h 15905"/>
              <a:gd name="connsiteX9" fmla="*/ 13793 w 19193"/>
              <a:gd name="connsiteY9" fmla="*/ 15872 h 15905"/>
              <a:gd name="connsiteX10" fmla="*/ 15640 w 19193"/>
              <a:gd name="connsiteY10" fmla="*/ 15840 h 15905"/>
              <a:gd name="connsiteX11" fmla="*/ 19161 w 19193"/>
              <a:gd name="connsiteY11" fmla="*/ 15860 h 15905"/>
              <a:gd name="connsiteX12" fmla="*/ 19187 w 19193"/>
              <a:gd name="connsiteY12" fmla="*/ 12271 h 15905"/>
              <a:gd name="connsiteX13" fmla="*/ 19179 w 19193"/>
              <a:gd name="connsiteY13" fmla="*/ 9209 h 15905"/>
              <a:gd name="connsiteX14" fmla="*/ 19168 w 19193"/>
              <a:gd name="connsiteY14" fmla="*/ 3610 h 15905"/>
              <a:gd name="connsiteX15" fmla="*/ 15206 w 19193"/>
              <a:gd name="connsiteY15" fmla="*/ 859 h 15905"/>
              <a:gd name="connsiteX16" fmla="*/ 11472 w 19193"/>
              <a:gd name="connsiteY16" fmla="*/ 23 h 15905"/>
              <a:gd name="connsiteX0" fmla="*/ 11472 w 19467"/>
              <a:gd name="connsiteY0" fmla="*/ 23 h 15905"/>
              <a:gd name="connsiteX1" fmla="*/ 5710 w 19467"/>
              <a:gd name="connsiteY1" fmla="*/ 1085 h 15905"/>
              <a:gd name="connsiteX2" fmla="*/ 1227 w 19467"/>
              <a:gd name="connsiteY2" fmla="*/ 5155 h 15905"/>
              <a:gd name="connsiteX3" fmla="*/ 43 w 19467"/>
              <a:gd name="connsiteY3" fmla="*/ 9089 h 15905"/>
              <a:gd name="connsiteX4" fmla="*/ 360 w 19467"/>
              <a:gd name="connsiteY4" fmla="*/ 13412 h 15905"/>
              <a:gd name="connsiteX5" fmla="*/ 1107 w 19467"/>
              <a:gd name="connsiteY5" fmla="*/ 15861 h 15905"/>
              <a:gd name="connsiteX6" fmla="*/ 5800 w 19467"/>
              <a:gd name="connsiteY6" fmla="*/ 15873 h 15905"/>
              <a:gd name="connsiteX7" fmla="*/ 8685 w 19467"/>
              <a:gd name="connsiteY7" fmla="*/ 15877 h 15905"/>
              <a:gd name="connsiteX8" fmla="*/ 11007 w 19467"/>
              <a:gd name="connsiteY8" fmla="*/ 15895 h 15905"/>
              <a:gd name="connsiteX9" fmla="*/ 13793 w 19467"/>
              <a:gd name="connsiteY9" fmla="*/ 15872 h 15905"/>
              <a:gd name="connsiteX10" fmla="*/ 15640 w 19467"/>
              <a:gd name="connsiteY10" fmla="*/ 15840 h 15905"/>
              <a:gd name="connsiteX11" fmla="*/ 19161 w 19467"/>
              <a:gd name="connsiteY11" fmla="*/ 15860 h 15905"/>
              <a:gd name="connsiteX12" fmla="*/ 19187 w 19467"/>
              <a:gd name="connsiteY12" fmla="*/ 12271 h 15905"/>
              <a:gd name="connsiteX13" fmla="*/ 19168 w 19467"/>
              <a:gd name="connsiteY13" fmla="*/ 3610 h 15905"/>
              <a:gd name="connsiteX14" fmla="*/ 15206 w 19467"/>
              <a:gd name="connsiteY14" fmla="*/ 859 h 15905"/>
              <a:gd name="connsiteX15" fmla="*/ 11472 w 19467"/>
              <a:gd name="connsiteY15" fmla="*/ 23 h 15905"/>
              <a:gd name="connsiteX0" fmla="*/ 11472 w 19189"/>
              <a:gd name="connsiteY0" fmla="*/ 23 h 15905"/>
              <a:gd name="connsiteX1" fmla="*/ 5710 w 19189"/>
              <a:gd name="connsiteY1" fmla="*/ 1085 h 15905"/>
              <a:gd name="connsiteX2" fmla="*/ 1227 w 19189"/>
              <a:gd name="connsiteY2" fmla="*/ 5155 h 15905"/>
              <a:gd name="connsiteX3" fmla="*/ 43 w 19189"/>
              <a:gd name="connsiteY3" fmla="*/ 9089 h 15905"/>
              <a:gd name="connsiteX4" fmla="*/ 360 w 19189"/>
              <a:gd name="connsiteY4" fmla="*/ 13412 h 15905"/>
              <a:gd name="connsiteX5" fmla="*/ 1107 w 19189"/>
              <a:gd name="connsiteY5" fmla="*/ 15861 h 15905"/>
              <a:gd name="connsiteX6" fmla="*/ 5800 w 19189"/>
              <a:gd name="connsiteY6" fmla="*/ 15873 h 15905"/>
              <a:gd name="connsiteX7" fmla="*/ 8685 w 19189"/>
              <a:gd name="connsiteY7" fmla="*/ 15877 h 15905"/>
              <a:gd name="connsiteX8" fmla="*/ 11007 w 19189"/>
              <a:gd name="connsiteY8" fmla="*/ 15895 h 15905"/>
              <a:gd name="connsiteX9" fmla="*/ 13793 w 19189"/>
              <a:gd name="connsiteY9" fmla="*/ 15872 h 15905"/>
              <a:gd name="connsiteX10" fmla="*/ 15640 w 19189"/>
              <a:gd name="connsiteY10" fmla="*/ 15840 h 15905"/>
              <a:gd name="connsiteX11" fmla="*/ 19161 w 19189"/>
              <a:gd name="connsiteY11" fmla="*/ 15860 h 15905"/>
              <a:gd name="connsiteX12" fmla="*/ 19187 w 19189"/>
              <a:gd name="connsiteY12" fmla="*/ 12271 h 15905"/>
              <a:gd name="connsiteX13" fmla="*/ 19168 w 19189"/>
              <a:gd name="connsiteY13" fmla="*/ 3610 h 15905"/>
              <a:gd name="connsiteX14" fmla="*/ 15206 w 19189"/>
              <a:gd name="connsiteY14" fmla="*/ 859 h 15905"/>
              <a:gd name="connsiteX15" fmla="*/ 11472 w 19189"/>
              <a:gd name="connsiteY15" fmla="*/ 23 h 15905"/>
              <a:gd name="connsiteX0" fmla="*/ 11472 w 19190"/>
              <a:gd name="connsiteY0" fmla="*/ 23 h 15905"/>
              <a:gd name="connsiteX1" fmla="*/ 5710 w 19190"/>
              <a:gd name="connsiteY1" fmla="*/ 1085 h 15905"/>
              <a:gd name="connsiteX2" fmla="*/ 1227 w 19190"/>
              <a:gd name="connsiteY2" fmla="*/ 5155 h 15905"/>
              <a:gd name="connsiteX3" fmla="*/ 43 w 19190"/>
              <a:gd name="connsiteY3" fmla="*/ 9089 h 15905"/>
              <a:gd name="connsiteX4" fmla="*/ 360 w 19190"/>
              <a:gd name="connsiteY4" fmla="*/ 13412 h 15905"/>
              <a:gd name="connsiteX5" fmla="*/ 1107 w 19190"/>
              <a:gd name="connsiteY5" fmla="*/ 15861 h 15905"/>
              <a:gd name="connsiteX6" fmla="*/ 5800 w 19190"/>
              <a:gd name="connsiteY6" fmla="*/ 15873 h 15905"/>
              <a:gd name="connsiteX7" fmla="*/ 8685 w 19190"/>
              <a:gd name="connsiteY7" fmla="*/ 15877 h 15905"/>
              <a:gd name="connsiteX8" fmla="*/ 11007 w 19190"/>
              <a:gd name="connsiteY8" fmla="*/ 15895 h 15905"/>
              <a:gd name="connsiteX9" fmla="*/ 13793 w 19190"/>
              <a:gd name="connsiteY9" fmla="*/ 15872 h 15905"/>
              <a:gd name="connsiteX10" fmla="*/ 15640 w 19190"/>
              <a:gd name="connsiteY10" fmla="*/ 15840 h 15905"/>
              <a:gd name="connsiteX11" fmla="*/ 19161 w 19190"/>
              <a:gd name="connsiteY11" fmla="*/ 15860 h 15905"/>
              <a:gd name="connsiteX12" fmla="*/ 19187 w 19190"/>
              <a:gd name="connsiteY12" fmla="*/ 12271 h 15905"/>
              <a:gd name="connsiteX13" fmla="*/ 19148 w 19190"/>
              <a:gd name="connsiteY13" fmla="*/ 3493 h 15905"/>
              <a:gd name="connsiteX14" fmla="*/ 15206 w 19190"/>
              <a:gd name="connsiteY14" fmla="*/ 859 h 15905"/>
              <a:gd name="connsiteX15" fmla="*/ 11472 w 19190"/>
              <a:gd name="connsiteY15" fmla="*/ 23 h 15905"/>
              <a:gd name="connsiteX0" fmla="*/ 11472 w 19190"/>
              <a:gd name="connsiteY0" fmla="*/ 23 h 15905"/>
              <a:gd name="connsiteX1" fmla="*/ 5710 w 19190"/>
              <a:gd name="connsiteY1" fmla="*/ 1085 h 15905"/>
              <a:gd name="connsiteX2" fmla="*/ 1227 w 19190"/>
              <a:gd name="connsiteY2" fmla="*/ 5155 h 15905"/>
              <a:gd name="connsiteX3" fmla="*/ 43 w 19190"/>
              <a:gd name="connsiteY3" fmla="*/ 9089 h 15905"/>
              <a:gd name="connsiteX4" fmla="*/ 360 w 19190"/>
              <a:gd name="connsiteY4" fmla="*/ 13412 h 15905"/>
              <a:gd name="connsiteX5" fmla="*/ 1107 w 19190"/>
              <a:gd name="connsiteY5" fmla="*/ 15861 h 15905"/>
              <a:gd name="connsiteX6" fmla="*/ 5800 w 19190"/>
              <a:gd name="connsiteY6" fmla="*/ 15873 h 15905"/>
              <a:gd name="connsiteX7" fmla="*/ 8685 w 19190"/>
              <a:gd name="connsiteY7" fmla="*/ 15877 h 15905"/>
              <a:gd name="connsiteX8" fmla="*/ 11007 w 19190"/>
              <a:gd name="connsiteY8" fmla="*/ 15895 h 15905"/>
              <a:gd name="connsiteX9" fmla="*/ 13793 w 19190"/>
              <a:gd name="connsiteY9" fmla="*/ 15872 h 15905"/>
              <a:gd name="connsiteX10" fmla="*/ 15640 w 19190"/>
              <a:gd name="connsiteY10" fmla="*/ 15840 h 15905"/>
              <a:gd name="connsiteX11" fmla="*/ 19161 w 19190"/>
              <a:gd name="connsiteY11" fmla="*/ 15860 h 15905"/>
              <a:gd name="connsiteX12" fmla="*/ 19187 w 19190"/>
              <a:gd name="connsiteY12" fmla="*/ 12271 h 15905"/>
              <a:gd name="connsiteX13" fmla="*/ 19148 w 19190"/>
              <a:gd name="connsiteY13" fmla="*/ 3704 h 15905"/>
              <a:gd name="connsiteX14" fmla="*/ 15206 w 19190"/>
              <a:gd name="connsiteY14" fmla="*/ 859 h 15905"/>
              <a:gd name="connsiteX15" fmla="*/ 11472 w 19190"/>
              <a:gd name="connsiteY15" fmla="*/ 23 h 15905"/>
              <a:gd name="connsiteX0" fmla="*/ 11472 w 19190"/>
              <a:gd name="connsiteY0" fmla="*/ 23 h 15905"/>
              <a:gd name="connsiteX1" fmla="*/ 5710 w 19190"/>
              <a:gd name="connsiteY1" fmla="*/ 1085 h 15905"/>
              <a:gd name="connsiteX2" fmla="*/ 1227 w 19190"/>
              <a:gd name="connsiteY2" fmla="*/ 5155 h 15905"/>
              <a:gd name="connsiteX3" fmla="*/ 43 w 19190"/>
              <a:gd name="connsiteY3" fmla="*/ 9089 h 15905"/>
              <a:gd name="connsiteX4" fmla="*/ 360 w 19190"/>
              <a:gd name="connsiteY4" fmla="*/ 13412 h 15905"/>
              <a:gd name="connsiteX5" fmla="*/ 1107 w 19190"/>
              <a:gd name="connsiteY5" fmla="*/ 15861 h 15905"/>
              <a:gd name="connsiteX6" fmla="*/ 5800 w 19190"/>
              <a:gd name="connsiteY6" fmla="*/ 15873 h 15905"/>
              <a:gd name="connsiteX7" fmla="*/ 8685 w 19190"/>
              <a:gd name="connsiteY7" fmla="*/ 15877 h 15905"/>
              <a:gd name="connsiteX8" fmla="*/ 11007 w 19190"/>
              <a:gd name="connsiteY8" fmla="*/ 15895 h 15905"/>
              <a:gd name="connsiteX9" fmla="*/ 13793 w 19190"/>
              <a:gd name="connsiteY9" fmla="*/ 15872 h 15905"/>
              <a:gd name="connsiteX10" fmla="*/ 15640 w 19190"/>
              <a:gd name="connsiteY10" fmla="*/ 15840 h 15905"/>
              <a:gd name="connsiteX11" fmla="*/ 19161 w 19190"/>
              <a:gd name="connsiteY11" fmla="*/ 15860 h 15905"/>
              <a:gd name="connsiteX12" fmla="*/ 19187 w 19190"/>
              <a:gd name="connsiteY12" fmla="*/ 12271 h 15905"/>
              <a:gd name="connsiteX13" fmla="*/ 19148 w 19190"/>
              <a:gd name="connsiteY13" fmla="*/ 3610 h 15905"/>
              <a:gd name="connsiteX14" fmla="*/ 15206 w 19190"/>
              <a:gd name="connsiteY14" fmla="*/ 859 h 15905"/>
              <a:gd name="connsiteX15" fmla="*/ 11472 w 19190"/>
              <a:gd name="connsiteY15" fmla="*/ 23 h 15905"/>
              <a:gd name="connsiteX0" fmla="*/ 11472 w 19190"/>
              <a:gd name="connsiteY0" fmla="*/ 23 h 15905"/>
              <a:gd name="connsiteX1" fmla="*/ 5710 w 19190"/>
              <a:gd name="connsiteY1" fmla="*/ 1085 h 15905"/>
              <a:gd name="connsiteX2" fmla="*/ 1227 w 19190"/>
              <a:gd name="connsiteY2" fmla="*/ 5155 h 15905"/>
              <a:gd name="connsiteX3" fmla="*/ 43 w 19190"/>
              <a:gd name="connsiteY3" fmla="*/ 9089 h 15905"/>
              <a:gd name="connsiteX4" fmla="*/ 360 w 19190"/>
              <a:gd name="connsiteY4" fmla="*/ 13412 h 15905"/>
              <a:gd name="connsiteX5" fmla="*/ 1107 w 19190"/>
              <a:gd name="connsiteY5" fmla="*/ 15861 h 15905"/>
              <a:gd name="connsiteX6" fmla="*/ 5800 w 19190"/>
              <a:gd name="connsiteY6" fmla="*/ 15873 h 15905"/>
              <a:gd name="connsiteX7" fmla="*/ 8685 w 19190"/>
              <a:gd name="connsiteY7" fmla="*/ 15877 h 15905"/>
              <a:gd name="connsiteX8" fmla="*/ 11007 w 19190"/>
              <a:gd name="connsiteY8" fmla="*/ 15895 h 15905"/>
              <a:gd name="connsiteX9" fmla="*/ 13793 w 19190"/>
              <a:gd name="connsiteY9" fmla="*/ 15872 h 15905"/>
              <a:gd name="connsiteX10" fmla="*/ 15640 w 19190"/>
              <a:gd name="connsiteY10" fmla="*/ 15840 h 15905"/>
              <a:gd name="connsiteX11" fmla="*/ 19161 w 19190"/>
              <a:gd name="connsiteY11" fmla="*/ 15860 h 15905"/>
              <a:gd name="connsiteX12" fmla="*/ 19187 w 19190"/>
              <a:gd name="connsiteY12" fmla="*/ 12271 h 15905"/>
              <a:gd name="connsiteX13" fmla="*/ 19148 w 19190"/>
              <a:gd name="connsiteY13" fmla="*/ 3610 h 15905"/>
              <a:gd name="connsiteX14" fmla="*/ 15206 w 19190"/>
              <a:gd name="connsiteY14" fmla="*/ 859 h 15905"/>
              <a:gd name="connsiteX15" fmla="*/ 11472 w 19190"/>
              <a:gd name="connsiteY15" fmla="*/ 23 h 15905"/>
              <a:gd name="connsiteX0" fmla="*/ 11472 w 19190"/>
              <a:gd name="connsiteY0" fmla="*/ 23 h 15905"/>
              <a:gd name="connsiteX1" fmla="*/ 5710 w 19190"/>
              <a:gd name="connsiteY1" fmla="*/ 1085 h 15905"/>
              <a:gd name="connsiteX2" fmla="*/ 1227 w 19190"/>
              <a:gd name="connsiteY2" fmla="*/ 5155 h 15905"/>
              <a:gd name="connsiteX3" fmla="*/ 43 w 19190"/>
              <a:gd name="connsiteY3" fmla="*/ 9089 h 15905"/>
              <a:gd name="connsiteX4" fmla="*/ 360 w 19190"/>
              <a:gd name="connsiteY4" fmla="*/ 13412 h 15905"/>
              <a:gd name="connsiteX5" fmla="*/ 1107 w 19190"/>
              <a:gd name="connsiteY5" fmla="*/ 15861 h 15905"/>
              <a:gd name="connsiteX6" fmla="*/ 5800 w 19190"/>
              <a:gd name="connsiteY6" fmla="*/ 15873 h 15905"/>
              <a:gd name="connsiteX7" fmla="*/ 8685 w 19190"/>
              <a:gd name="connsiteY7" fmla="*/ 15877 h 15905"/>
              <a:gd name="connsiteX8" fmla="*/ 11007 w 19190"/>
              <a:gd name="connsiteY8" fmla="*/ 15895 h 15905"/>
              <a:gd name="connsiteX9" fmla="*/ 13793 w 19190"/>
              <a:gd name="connsiteY9" fmla="*/ 15872 h 15905"/>
              <a:gd name="connsiteX10" fmla="*/ 15640 w 19190"/>
              <a:gd name="connsiteY10" fmla="*/ 15840 h 15905"/>
              <a:gd name="connsiteX11" fmla="*/ 19161 w 19190"/>
              <a:gd name="connsiteY11" fmla="*/ 15860 h 15905"/>
              <a:gd name="connsiteX12" fmla="*/ 19187 w 19190"/>
              <a:gd name="connsiteY12" fmla="*/ 12271 h 15905"/>
              <a:gd name="connsiteX13" fmla="*/ 19148 w 19190"/>
              <a:gd name="connsiteY13" fmla="*/ 3610 h 15905"/>
              <a:gd name="connsiteX14" fmla="*/ 15206 w 19190"/>
              <a:gd name="connsiteY14" fmla="*/ 859 h 15905"/>
              <a:gd name="connsiteX15" fmla="*/ 11472 w 19190"/>
              <a:gd name="connsiteY15" fmla="*/ 23 h 159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9190" h="15905" extrusionOk="0">
                <a:moveTo>
                  <a:pt x="11472" y="23"/>
                </a:moveTo>
                <a:cubicBezTo>
                  <a:pt x="9485" y="-99"/>
                  <a:pt x="7487" y="271"/>
                  <a:pt x="5710" y="1085"/>
                </a:cubicBezTo>
                <a:cubicBezTo>
                  <a:pt x="3906" y="1911"/>
                  <a:pt x="2308" y="3211"/>
                  <a:pt x="1227" y="5155"/>
                </a:cubicBezTo>
                <a:cubicBezTo>
                  <a:pt x="561" y="6353"/>
                  <a:pt x="171" y="7696"/>
                  <a:pt x="43" y="9089"/>
                </a:cubicBezTo>
                <a:cubicBezTo>
                  <a:pt x="-88" y="10520"/>
                  <a:pt x="92" y="12203"/>
                  <a:pt x="360" y="13412"/>
                </a:cubicBezTo>
                <a:cubicBezTo>
                  <a:pt x="607" y="14528"/>
                  <a:pt x="1091" y="15876"/>
                  <a:pt x="1107" y="15861"/>
                </a:cubicBezTo>
                <a:cubicBezTo>
                  <a:pt x="1123" y="15846"/>
                  <a:pt x="4537" y="15870"/>
                  <a:pt x="5800" y="15873"/>
                </a:cubicBezTo>
                <a:cubicBezTo>
                  <a:pt x="7063" y="15876"/>
                  <a:pt x="7723" y="15920"/>
                  <a:pt x="8685" y="15877"/>
                </a:cubicBezTo>
                <a:cubicBezTo>
                  <a:pt x="9459" y="15927"/>
                  <a:pt x="10156" y="15896"/>
                  <a:pt x="11007" y="15895"/>
                </a:cubicBezTo>
                <a:lnTo>
                  <a:pt x="13793" y="15872"/>
                </a:lnTo>
                <a:cubicBezTo>
                  <a:pt x="14565" y="15863"/>
                  <a:pt x="14745" y="15842"/>
                  <a:pt x="15640" y="15840"/>
                </a:cubicBezTo>
                <a:lnTo>
                  <a:pt x="19161" y="15860"/>
                </a:lnTo>
                <a:cubicBezTo>
                  <a:pt x="19203" y="15875"/>
                  <a:pt x="19189" y="14313"/>
                  <a:pt x="19187" y="12271"/>
                </a:cubicBezTo>
                <a:cubicBezTo>
                  <a:pt x="19185" y="10229"/>
                  <a:pt x="19126" y="3682"/>
                  <a:pt x="19148" y="3610"/>
                </a:cubicBezTo>
                <a:cubicBezTo>
                  <a:pt x="18027" y="2331"/>
                  <a:pt x="16672" y="1405"/>
                  <a:pt x="15206" y="859"/>
                </a:cubicBezTo>
                <a:cubicBezTo>
                  <a:pt x="14026" y="396"/>
                  <a:pt x="12761" y="103"/>
                  <a:pt x="11472" y="23"/>
                </a:cubicBezTo>
                <a:close/>
              </a:path>
            </a:pathLst>
          </a:cu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25400">
            <a:noFill/>
            <a:miter lim="400000"/>
          </a:ln>
        </p:spPr>
        <p:txBody>
          <a:bodyPr lIns="25400" tIns="25400" rIns="25400" bIns="25400" anchor="ctr"/>
          <a:lstStyle/>
          <a:p>
            <a:endParaRPr sz="60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99033CB-7B8A-4DB4-0988-DB37E76057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6155" t="8764" r="10248" b="19092"/>
          <a:stretch/>
        </p:blipFill>
        <p:spPr>
          <a:xfrm>
            <a:off x="4907666" y="0"/>
            <a:ext cx="7302622" cy="6859764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16B3D84-9E87-63D9-ABC0-06C62F80F60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5A18A9-FB90-4F92-9633-9A2FCB4DF4A0}" type="slidenum">
              <a:rPr lang="pt-PT" smtClean="0"/>
              <a:pPr/>
              <a:t>‹nº›</a:t>
            </a:fld>
            <a:endParaRPr lang="pt-PT" dirty="0"/>
          </a:p>
        </p:txBody>
      </p:sp>
      <p:pic>
        <p:nvPicPr>
          <p:cNvPr id="6" name="Image" descr="Image">
            <a:extLst>
              <a:ext uri="{FF2B5EF4-FFF2-40B4-BE49-F238E27FC236}">
                <a16:creationId xmlns:a16="http://schemas.microsoft.com/office/drawing/2014/main" id="{3BE7E261-535B-3167-77C0-DED5382DD91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5637" y="409975"/>
            <a:ext cx="1157293" cy="190501"/>
          </a:xfrm>
          <a:prstGeom prst="rect">
            <a:avLst/>
          </a:prstGeom>
          <a:ln w="12700">
            <a:miter lim="400000"/>
          </a:ln>
        </p:spPr>
      </p:pic>
      <p:sp>
        <p:nvSpPr>
          <p:cNvPr id="9" name="Marcador de Posição do Texto 2">
            <a:extLst>
              <a:ext uri="{FF2B5EF4-FFF2-40B4-BE49-F238E27FC236}">
                <a16:creationId xmlns:a16="http://schemas.microsoft.com/office/drawing/2014/main" id="{8B1DCFE6-9A94-789A-E4DC-51494F92E36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4317" y="2281107"/>
            <a:ext cx="4153056" cy="2445035"/>
          </a:xfrm>
          <a:prstGeom prst="rect">
            <a:avLst/>
          </a:prstGeom>
        </p:spPr>
        <p:txBody>
          <a:bodyPr vert="horz" wrap="none" lIns="0" tIns="45720" rIns="0" bIns="45720" rtlCol="0" anchor="t" anchorCtr="0">
            <a:noAutofit/>
          </a:bodyPr>
          <a:lstStyle>
            <a:lvl1pPr marL="0" indent="0">
              <a:lnSpc>
                <a:spcPts val="3860"/>
              </a:lnSpc>
              <a:buNone/>
              <a:defRPr lang="pt-PT" sz="3200" b="1" baseline="0" dirty="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166682" lvl="0" indent="-342891">
              <a:spcBef>
                <a:spcPct val="0"/>
              </a:spcBef>
            </a:pPr>
            <a:r>
              <a:rPr lang="pt-PT" dirty="0"/>
              <a:t>Título do Separador</a:t>
            </a:r>
          </a:p>
        </p:txBody>
      </p:sp>
      <p:sp useBgFill="1">
        <p:nvSpPr>
          <p:cNvPr id="12" name="Marcador de Posição do Texto 2">
            <a:extLst>
              <a:ext uri="{FF2B5EF4-FFF2-40B4-BE49-F238E27FC236}">
                <a16:creationId xmlns:a16="http://schemas.microsoft.com/office/drawing/2014/main" id="{76232CD6-C395-F87E-2079-8C82E68B65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6835" y="253243"/>
            <a:ext cx="1771431" cy="1876776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pt-PT" sz="15000" b="1" i="0" baseline="0" dirty="0">
                <a:ln w="22225">
                  <a:solidFill>
                    <a:srgbClr val="FF9E0E"/>
                  </a:solidFill>
                </a:ln>
                <a:noFill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pt-PT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33417895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+ Subtítulo + 2Texto + Conclus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C111F0-D262-B60F-6DEC-FE38C424CC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/>
              <a:t>Clique para editar o estilo de título do Modelo Global</a:t>
            </a:r>
            <a:endParaRPr lang="en-PT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9A88FF7-4413-0F33-32F7-AE36352071E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5A18A9-FB90-4F92-9633-9A2FCB4DF4A0}" type="slidenum">
              <a:rPr lang="pt-PT" smtClean="0"/>
              <a:pPr/>
              <a:t>‹nº›</a:t>
            </a:fld>
            <a:endParaRPr lang="pt-PT" dirty="0"/>
          </a:p>
        </p:txBody>
      </p:sp>
      <p:sp>
        <p:nvSpPr>
          <p:cNvPr id="4" name="Marcador de Posição do Texto 7">
            <a:extLst>
              <a:ext uri="{FF2B5EF4-FFF2-40B4-BE49-F238E27FC236}">
                <a16:creationId xmlns:a16="http://schemas.microsoft.com/office/drawing/2014/main" id="{A8A38F78-B311-CB23-09D1-2AE965D58B6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4318" y="737786"/>
            <a:ext cx="9899997" cy="510098"/>
          </a:xfrm>
          <a:prstGeom prst="rect">
            <a:avLst/>
          </a:prstGeom>
        </p:spPr>
        <p:txBody>
          <a:bodyPr vert="horz" wrap="square" lIns="0" tIns="45720" rIns="0" bIns="45720" rtlCol="0" anchor="t" anchorCtr="0">
            <a:noAutofit/>
          </a:bodyPr>
          <a:lstStyle>
            <a:lvl1pPr>
              <a:buNone/>
              <a:defRPr lang="pt-PT" sz="2400" b="0" i="0" baseline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  <a:lvl2pPr>
              <a:buNone/>
              <a:defRPr lang="pt-PT" sz="1800" smtClean="0"/>
            </a:lvl2pPr>
            <a:lvl3pPr>
              <a:defRPr lang="pt-PT" sz="1800" smtClean="0"/>
            </a:lvl3pPr>
            <a:lvl4pPr>
              <a:defRPr lang="pt-PT" smtClean="0"/>
            </a:lvl4pPr>
            <a:lvl5pPr>
              <a:defRPr lang="en-GB"/>
            </a:lvl5pPr>
          </a:lstStyle>
          <a:p>
            <a:pPr marL="166687" lvl="0" indent="-342900">
              <a:spcBef>
                <a:spcPct val="0"/>
              </a:spcBef>
            </a:pPr>
            <a:r>
              <a:rPr lang="pt-PT" dirty="0"/>
              <a:t>Clique para editar o estilo do </a:t>
            </a:r>
            <a:r>
              <a:rPr lang="pt-PT" dirty="0" err="1"/>
              <a:t>sub-título</a:t>
            </a:r>
            <a:r>
              <a:rPr lang="pt-PT" dirty="0"/>
              <a:t> do Modelo Globa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938E706-5394-84FE-26A3-64FAA34AC087}"/>
              </a:ext>
            </a:extLst>
          </p:cNvPr>
          <p:cNvCxnSpPr/>
          <p:nvPr userDrawn="1"/>
        </p:nvCxnSpPr>
        <p:spPr>
          <a:xfrm>
            <a:off x="370393" y="335666"/>
            <a:ext cx="0" cy="706056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25">
            <a:extLst>
              <a:ext uri="{FF2B5EF4-FFF2-40B4-BE49-F238E27FC236}">
                <a16:creationId xmlns:a16="http://schemas.microsoft.com/office/drawing/2014/main" id="{D6B415F8-0C08-A5B4-4217-D1E43EC93C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315" y="1625601"/>
            <a:ext cx="5353085" cy="4114800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>
              <a:lnSpc>
                <a:spcPts val="2300"/>
              </a:lnSpc>
              <a:buSzPct val="70000"/>
              <a:buFont typeface="Arial"/>
              <a:buNone/>
              <a:defRPr sz="1600" b="0" i="0">
                <a:solidFill>
                  <a:srgbClr val="39393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500">
                <a:solidFill>
                  <a:srgbClr val="39393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pt-PT" dirty="0"/>
              <a:t>Clique para editar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2AB1BF71-89FB-9486-537F-A1F0A8C29C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4316" y="6050382"/>
            <a:ext cx="11160868" cy="391886"/>
          </a:xfrm>
          <a:prstGeom prst="rect">
            <a:avLst/>
          </a:prstGeom>
          <a:noFill/>
        </p:spPr>
        <p:txBody>
          <a:bodyPr vert="horz" anchor="t" anchorCtr="0">
            <a:normAutofit/>
          </a:bodyPr>
          <a:lstStyle>
            <a:lvl1pPr marL="0" marR="0" indent="0" algn="l" defTabSz="34289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400" b="0">
                <a:solidFill>
                  <a:srgbClr val="1B93BE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marL="0" marR="0" lvl="0" indent="0" algn="l" defTabSz="34289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pt-PT" dirty="0"/>
              <a:t>Clique para editar o estilo</a:t>
            </a:r>
          </a:p>
        </p:txBody>
      </p:sp>
      <p:sp>
        <p:nvSpPr>
          <p:cNvPr id="16" name="Text Placeholder 25">
            <a:extLst>
              <a:ext uri="{FF2B5EF4-FFF2-40B4-BE49-F238E27FC236}">
                <a16:creationId xmlns:a16="http://schemas.microsoft.com/office/drawing/2014/main" id="{FEDD8B7C-8B87-C256-8525-84710F1114E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13982" y="1625601"/>
            <a:ext cx="5353085" cy="4114800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>
              <a:lnSpc>
                <a:spcPts val="2300"/>
              </a:lnSpc>
              <a:buSzPct val="70000"/>
              <a:buFont typeface="Arial"/>
              <a:buNone/>
              <a:defRPr sz="1600" b="0" i="0">
                <a:solidFill>
                  <a:srgbClr val="39393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500">
                <a:solidFill>
                  <a:srgbClr val="39393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pt-PT" dirty="0"/>
              <a:t>Clique para editar</a:t>
            </a:r>
          </a:p>
        </p:txBody>
      </p:sp>
    </p:spTree>
    <p:extLst>
      <p:ext uri="{BB962C8B-B14F-4D97-AF65-F5344CB8AC3E}">
        <p14:creationId xmlns:p14="http://schemas.microsoft.com/office/powerpoint/2010/main" val="316239595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+ Subtítulo + Gráfic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C111F0-D262-B60F-6DEC-FE38C424CC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/>
              <a:t>Clique para editar o estilo de título do Modelo Global</a:t>
            </a:r>
            <a:endParaRPr lang="en-PT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9A88FF7-4413-0F33-32F7-AE36352071E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5A18A9-FB90-4F92-9633-9A2FCB4DF4A0}" type="slidenum">
              <a:rPr lang="pt-PT" smtClean="0"/>
              <a:pPr/>
              <a:t>‹nº›</a:t>
            </a:fld>
            <a:endParaRPr lang="pt-PT" dirty="0"/>
          </a:p>
        </p:txBody>
      </p:sp>
      <p:sp>
        <p:nvSpPr>
          <p:cNvPr id="4" name="Marcador de Posição do Texto 7">
            <a:extLst>
              <a:ext uri="{FF2B5EF4-FFF2-40B4-BE49-F238E27FC236}">
                <a16:creationId xmlns:a16="http://schemas.microsoft.com/office/drawing/2014/main" id="{A8A38F78-B311-CB23-09D1-2AE965D58B6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4318" y="737786"/>
            <a:ext cx="9899997" cy="510098"/>
          </a:xfrm>
          <a:prstGeom prst="rect">
            <a:avLst/>
          </a:prstGeom>
        </p:spPr>
        <p:txBody>
          <a:bodyPr vert="horz" wrap="square" lIns="0" tIns="45720" rIns="0" bIns="45720" rtlCol="0" anchor="t" anchorCtr="0">
            <a:noAutofit/>
          </a:bodyPr>
          <a:lstStyle>
            <a:lvl1pPr>
              <a:buNone/>
              <a:defRPr lang="pt-PT" sz="2400" b="0" i="0" baseline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  <a:lvl2pPr>
              <a:buNone/>
              <a:defRPr lang="pt-PT" sz="1800" smtClean="0"/>
            </a:lvl2pPr>
            <a:lvl3pPr>
              <a:defRPr lang="pt-PT" sz="1800" smtClean="0"/>
            </a:lvl3pPr>
            <a:lvl4pPr>
              <a:defRPr lang="pt-PT" smtClean="0"/>
            </a:lvl4pPr>
            <a:lvl5pPr>
              <a:defRPr lang="en-GB"/>
            </a:lvl5pPr>
          </a:lstStyle>
          <a:p>
            <a:pPr marL="166687" lvl="0" indent="-342900">
              <a:spcBef>
                <a:spcPct val="0"/>
              </a:spcBef>
            </a:pPr>
            <a:r>
              <a:rPr lang="pt-PT" dirty="0"/>
              <a:t>Clique para editar o estilo do </a:t>
            </a:r>
            <a:r>
              <a:rPr lang="pt-PT" dirty="0" err="1"/>
              <a:t>sub-título</a:t>
            </a:r>
            <a:r>
              <a:rPr lang="pt-PT" dirty="0"/>
              <a:t> do Modelo Globa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938E706-5394-84FE-26A3-64FAA34AC087}"/>
              </a:ext>
            </a:extLst>
          </p:cNvPr>
          <p:cNvCxnSpPr/>
          <p:nvPr userDrawn="1"/>
        </p:nvCxnSpPr>
        <p:spPr>
          <a:xfrm>
            <a:off x="370393" y="335666"/>
            <a:ext cx="0" cy="706056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hart Placeholder 3">
            <a:extLst>
              <a:ext uri="{FF2B5EF4-FFF2-40B4-BE49-F238E27FC236}">
                <a16:creationId xmlns:a16="http://schemas.microsoft.com/office/drawing/2014/main" id="{7C04ACE1-4DEA-9955-1804-AC289348FFE8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514350" y="1651000"/>
            <a:ext cx="4176713" cy="4106863"/>
          </a:xfrm>
        </p:spPr>
        <p:txBody>
          <a:bodyPr/>
          <a:lstStyle/>
          <a:p>
            <a:endParaRPr lang="en-PT" dirty="0"/>
          </a:p>
        </p:txBody>
      </p:sp>
      <p:sp>
        <p:nvSpPr>
          <p:cNvPr id="8" name="Chart Placeholder 3">
            <a:extLst>
              <a:ext uri="{FF2B5EF4-FFF2-40B4-BE49-F238E27FC236}">
                <a16:creationId xmlns:a16="http://schemas.microsoft.com/office/drawing/2014/main" id="{53A42D30-3EF5-8E78-03EE-C4C4E326D1ED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263217" y="1651000"/>
            <a:ext cx="4176713" cy="4106863"/>
          </a:xfrm>
        </p:spPr>
        <p:txBody>
          <a:bodyPr/>
          <a:lstStyle/>
          <a:p>
            <a:endParaRPr lang="en-PT"/>
          </a:p>
        </p:txBody>
      </p:sp>
    </p:spTree>
    <p:extLst>
      <p:ext uri="{BB962C8B-B14F-4D97-AF65-F5344CB8AC3E}">
        <p14:creationId xmlns:p14="http://schemas.microsoft.com/office/powerpoint/2010/main" val="24449477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+ Subtítulo + Gráfico Mai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hart Placeholder 3">
            <a:extLst>
              <a:ext uri="{FF2B5EF4-FFF2-40B4-BE49-F238E27FC236}">
                <a16:creationId xmlns:a16="http://schemas.microsoft.com/office/drawing/2014/main" id="{3FB7C4D0-D6A2-B63A-8193-267636E8B374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5501217" y="1651000"/>
            <a:ext cx="6176312" cy="4106863"/>
          </a:xfrm>
        </p:spPr>
        <p:txBody>
          <a:bodyPr/>
          <a:lstStyle/>
          <a:p>
            <a:endParaRPr lang="en-PT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7C111F0-D262-B60F-6DEC-FE38C424CC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/>
              <a:t>Clique para editar o estilo de título do Modelo Global</a:t>
            </a:r>
            <a:endParaRPr lang="en-PT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9A88FF7-4413-0F33-32F7-AE36352071E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5A18A9-FB90-4F92-9633-9A2FCB4DF4A0}" type="slidenum">
              <a:rPr lang="pt-PT" smtClean="0"/>
              <a:pPr/>
              <a:t>‹nº›</a:t>
            </a:fld>
            <a:endParaRPr lang="pt-PT" dirty="0"/>
          </a:p>
        </p:txBody>
      </p:sp>
      <p:sp>
        <p:nvSpPr>
          <p:cNvPr id="4" name="Marcador de Posição do Texto 7">
            <a:extLst>
              <a:ext uri="{FF2B5EF4-FFF2-40B4-BE49-F238E27FC236}">
                <a16:creationId xmlns:a16="http://schemas.microsoft.com/office/drawing/2014/main" id="{A8A38F78-B311-CB23-09D1-2AE965D58B6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4318" y="737786"/>
            <a:ext cx="9899997" cy="510098"/>
          </a:xfrm>
          <a:prstGeom prst="rect">
            <a:avLst/>
          </a:prstGeom>
        </p:spPr>
        <p:txBody>
          <a:bodyPr vert="horz" wrap="square" lIns="0" tIns="45720" rIns="0" bIns="45720" rtlCol="0" anchor="t" anchorCtr="0">
            <a:noAutofit/>
          </a:bodyPr>
          <a:lstStyle>
            <a:lvl1pPr>
              <a:buNone/>
              <a:defRPr lang="pt-PT" sz="2400" b="0" i="0" baseline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  <a:lvl2pPr>
              <a:buNone/>
              <a:defRPr lang="pt-PT" sz="1800" smtClean="0"/>
            </a:lvl2pPr>
            <a:lvl3pPr>
              <a:defRPr lang="pt-PT" sz="1800" smtClean="0"/>
            </a:lvl3pPr>
            <a:lvl4pPr>
              <a:defRPr lang="pt-PT" smtClean="0"/>
            </a:lvl4pPr>
            <a:lvl5pPr>
              <a:defRPr lang="en-GB"/>
            </a:lvl5pPr>
          </a:lstStyle>
          <a:p>
            <a:pPr marL="166687" lvl="0" indent="-342900">
              <a:spcBef>
                <a:spcPct val="0"/>
              </a:spcBef>
            </a:pPr>
            <a:r>
              <a:rPr lang="pt-PT" dirty="0"/>
              <a:t>Clique para editar o estilo do </a:t>
            </a:r>
            <a:r>
              <a:rPr lang="pt-PT" dirty="0" err="1"/>
              <a:t>sub-título</a:t>
            </a:r>
            <a:r>
              <a:rPr lang="pt-PT" dirty="0"/>
              <a:t> do Modelo Globa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938E706-5394-84FE-26A3-64FAA34AC087}"/>
              </a:ext>
            </a:extLst>
          </p:cNvPr>
          <p:cNvCxnSpPr/>
          <p:nvPr userDrawn="1"/>
        </p:nvCxnSpPr>
        <p:spPr>
          <a:xfrm>
            <a:off x="370393" y="335666"/>
            <a:ext cx="0" cy="706056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hart Placeholder 3">
            <a:extLst>
              <a:ext uri="{FF2B5EF4-FFF2-40B4-BE49-F238E27FC236}">
                <a16:creationId xmlns:a16="http://schemas.microsoft.com/office/drawing/2014/main" id="{7C04ACE1-4DEA-9955-1804-AC289348FFE8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514350" y="1651000"/>
            <a:ext cx="4176713" cy="4106863"/>
          </a:xfrm>
        </p:spPr>
        <p:txBody>
          <a:bodyPr/>
          <a:lstStyle/>
          <a:p>
            <a:endParaRPr lang="en-PT" dirty="0"/>
          </a:p>
        </p:txBody>
      </p:sp>
    </p:spTree>
    <p:extLst>
      <p:ext uri="{BB962C8B-B14F-4D97-AF65-F5344CB8AC3E}">
        <p14:creationId xmlns:p14="http://schemas.microsoft.com/office/powerpoint/2010/main" val="386983918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+ Subtítulo + Imagem + Conclus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C111F0-D262-B60F-6DEC-FE38C424CC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/>
              <a:t>Clique para editar o estilo de título do Modelo Global</a:t>
            </a:r>
            <a:endParaRPr lang="en-PT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9A88FF7-4413-0F33-32F7-AE36352071E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5A18A9-FB90-4F92-9633-9A2FCB4DF4A0}" type="slidenum">
              <a:rPr lang="pt-PT" smtClean="0"/>
              <a:pPr/>
              <a:t>‹nº›</a:t>
            </a:fld>
            <a:endParaRPr lang="pt-PT" dirty="0"/>
          </a:p>
        </p:txBody>
      </p:sp>
      <p:sp>
        <p:nvSpPr>
          <p:cNvPr id="4" name="Marcador de Posição do Texto 7">
            <a:extLst>
              <a:ext uri="{FF2B5EF4-FFF2-40B4-BE49-F238E27FC236}">
                <a16:creationId xmlns:a16="http://schemas.microsoft.com/office/drawing/2014/main" id="{A8A38F78-B311-CB23-09D1-2AE965D58B6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4318" y="737786"/>
            <a:ext cx="9899997" cy="510098"/>
          </a:xfrm>
          <a:prstGeom prst="rect">
            <a:avLst/>
          </a:prstGeom>
        </p:spPr>
        <p:txBody>
          <a:bodyPr vert="horz" wrap="square" lIns="0" tIns="45720" rIns="0" bIns="45720" rtlCol="0" anchor="t" anchorCtr="0">
            <a:noAutofit/>
          </a:bodyPr>
          <a:lstStyle>
            <a:lvl1pPr>
              <a:buNone/>
              <a:defRPr lang="pt-PT" sz="2400" b="0" i="0" baseline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  <a:lvl2pPr>
              <a:buNone/>
              <a:defRPr lang="pt-PT" sz="1800" smtClean="0"/>
            </a:lvl2pPr>
            <a:lvl3pPr>
              <a:defRPr lang="pt-PT" sz="1800" smtClean="0"/>
            </a:lvl3pPr>
            <a:lvl4pPr>
              <a:defRPr lang="pt-PT" smtClean="0"/>
            </a:lvl4pPr>
            <a:lvl5pPr>
              <a:defRPr lang="en-GB"/>
            </a:lvl5pPr>
          </a:lstStyle>
          <a:p>
            <a:pPr marL="166687" lvl="0" indent="-342900">
              <a:spcBef>
                <a:spcPct val="0"/>
              </a:spcBef>
            </a:pPr>
            <a:r>
              <a:rPr lang="pt-PT" dirty="0"/>
              <a:t>Clique para editar o estilo do </a:t>
            </a:r>
            <a:r>
              <a:rPr lang="pt-PT" dirty="0" err="1"/>
              <a:t>sub-título</a:t>
            </a:r>
            <a:r>
              <a:rPr lang="pt-PT" dirty="0"/>
              <a:t> do Modelo Globa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938E706-5394-84FE-26A3-64FAA34AC087}"/>
              </a:ext>
            </a:extLst>
          </p:cNvPr>
          <p:cNvCxnSpPr/>
          <p:nvPr userDrawn="1"/>
        </p:nvCxnSpPr>
        <p:spPr>
          <a:xfrm>
            <a:off x="370393" y="335666"/>
            <a:ext cx="0" cy="706056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2AB1BF71-89FB-9486-537F-A1F0A8C29C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4316" y="6050382"/>
            <a:ext cx="11160868" cy="391886"/>
          </a:xfrm>
          <a:prstGeom prst="rect">
            <a:avLst/>
          </a:prstGeom>
          <a:noFill/>
        </p:spPr>
        <p:txBody>
          <a:bodyPr vert="horz" anchor="t" anchorCtr="0">
            <a:normAutofit/>
          </a:bodyPr>
          <a:lstStyle>
            <a:lvl1pPr marL="0" marR="0" indent="0" algn="l" defTabSz="34289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400" b="0">
                <a:solidFill>
                  <a:srgbClr val="1B93BE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marL="0" marR="0" lvl="0" indent="0" algn="l" defTabSz="34289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pt-PT" dirty="0"/>
              <a:t>Clique para editar o estilo</a:t>
            </a:r>
          </a:p>
        </p:txBody>
      </p:sp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4A8180A3-5491-D030-61F5-A3E2004A71B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512262" y="1553974"/>
            <a:ext cx="11160868" cy="4062456"/>
          </a:xfrm>
        </p:spPr>
        <p:txBody>
          <a:bodyPr/>
          <a:lstStyle/>
          <a:p>
            <a:endParaRPr lang="en-PT" dirty="0"/>
          </a:p>
        </p:txBody>
      </p:sp>
    </p:spTree>
    <p:extLst>
      <p:ext uri="{BB962C8B-B14F-4D97-AF65-F5344CB8AC3E}">
        <p14:creationId xmlns:p14="http://schemas.microsoft.com/office/powerpoint/2010/main" val="171536136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4E8410-17BA-4009-7878-B4034F6219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01E39B6-90E6-2390-F5E5-9CD5B710BBE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5A18A9-FB90-4F92-9633-9A2FCB4DF4A0}" type="slidenum">
              <a:rPr lang="pt-PT" smtClean="0"/>
              <a:pPr/>
              <a:t>‹nº›</a:t>
            </a:fld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201131323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+ Subtítulo + Tabe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C111F0-D262-B60F-6DEC-FE38C424CC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/>
              <a:t>Clique para editar o estilo de título do Modelo Global</a:t>
            </a:r>
            <a:endParaRPr lang="en-PT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9A88FF7-4413-0F33-32F7-AE36352071E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5A18A9-FB90-4F92-9633-9A2FCB4DF4A0}" type="slidenum">
              <a:rPr lang="pt-PT" smtClean="0"/>
              <a:pPr/>
              <a:t>‹nº›</a:t>
            </a:fld>
            <a:endParaRPr lang="pt-PT" dirty="0"/>
          </a:p>
        </p:txBody>
      </p:sp>
      <p:sp>
        <p:nvSpPr>
          <p:cNvPr id="4" name="Marcador de Posição do Texto 7">
            <a:extLst>
              <a:ext uri="{FF2B5EF4-FFF2-40B4-BE49-F238E27FC236}">
                <a16:creationId xmlns:a16="http://schemas.microsoft.com/office/drawing/2014/main" id="{A8A38F78-B311-CB23-09D1-2AE965D58B6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4318" y="737786"/>
            <a:ext cx="9899997" cy="510098"/>
          </a:xfrm>
          <a:prstGeom prst="rect">
            <a:avLst/>
          </a:prstGeom>
        </p:spPr>
        <p:txBody>
          <a:bodyPr vert="horz" wrap="square" lIns="0" tIns="45720" rIns="0" bIns="45720" rtlCol="0" anchor="t" anchorCtr="0">
            <a:noAutofit/>
          </a:bodyPr>
          <a:lstStyle>
            <a:lvl1pPr>
              <a:buNone/>
              <a:defRPr lang="pt-PT" sz="2400" b="0" i="0" baseline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  <a:lvl2pPr>
              <a:buNone/>
              <a:defRPr lang="pt-PT" sz="1800" smtClean="0"/>
            </a:lvl2pPr>
            <a:lvl3pPr>
              <a:defRPr lang="pt-PT" sz="1800" smtClean="0"/>
            </a:lvl3pPr>
            <a:lvl4pPr>
              <a:defRPr lang="pt-PT" smtClean="0"/>
            </a:lvl4pPr>
            <a:lvl5pPr>
              <a:defRPr lang="en-GB"/>
            </a:lvl5pPr>
          </a:lstStyle>
          <a:p>
            <a:pPr marL="166687" lvl="0" indent="-342900">
              <a:spcBef>
                <a:spcPct val="0"/>
              </a:spcBef>
            </a:pPr>
            <a:r>
              <a:rPr lang="pt-PT" dirty="0"/>
              <a:t>Clique para editar o estilo do </a:t>
            </a:r>
            <a:r>
              <a:rPr lang="pt-PT" dirty="0" err="1"/>
              <a:t>sub-título</a:t>
            </a:r>
            <a:r>
              <a:rPr lang="pt-PT" dirty="0"/>
              <a:t> do Modelo Globa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938E706-5394-84FE-26A3-64FAA34AC087}"/>
              </a:ext>
            </a:extLst>
          </p:cNvPr>
          <p:cNvCxnSpPr/>
          <p:nvPr userDrawn="1"/>
        </p:nvCxnSpPr>
        <p:spPr>
          <a:xfrm>
            <a:off x="370393" y="335666"/>
            <a:ext cx="0" cy="706056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able Placeholder 6">
            <a:extLst>
              <a:ext uri="{FF2B5EF4-FFF2-40B4-BE49-F238E27FC236}">
                <a16:creationId xmlns:a16="http://schemas.microsoft.com/office/drawing/2014/main" id="{2DE46D8B-4E23-0375-85D8-235093AA393B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514350" y="1843088"/>
            <a:ext cx="11126788" cy="3911600"/>
          </a:xfrm>
        </p:spPr>
        <p:txBody>
          <a:bodyPr/>
          <a:lstStyle/>
          <a:p>
            <a:endParaRPr lang="en-PT" dirty="0"/>
          </a:p>
        </p:txBody>
      </p:sp>
    </p:spTree>
    <p:extLst>
      <p:ext uri="{BB962C8B-B14F-4D97-AF65-F5344CB8AC3E}">
        <p14:creationId xmlns:p14="http://schemas.microsoft.com/office/powerpoint/2010/main" val="424692986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dor 1_preto_sem imagem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3343D74-B0DA-80C8-C17A-700F36542CF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0862" t="16519" r="23518" b="24724"/>
          <a:stretch/>
        </p:blipFill>
        <p:spPr>
          <a:xfrm>
            <a:off x="4919240" y="0"/>
            <a:ext cx="7281227" cy="6857787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16B3D84-9E87-63D9-ABC0-06C62F80F60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5A18A9-FB90-4F92-9633-9A2FCB4DF4A0}" type="slidenum">
              <a:rPr lang="pt-PT" smtClean="0"/>
              <a:pPr/>
              <a:t>‹nº›</a:t>
            </a:fld>
            <a:endParaRPr lang="pt-PT" dirty="0"/>
          </a:p>
        </p:txBody>
      </p:sp>
      <p:pic>
        <p:nvPicPr>
          <p:cNvPr id="6" name="Image" descr="Image">
            <a:extLst>
              <a:ext uri="{FF2B5EF4-FFF2-40B4-BE49-F238E27FC236}">
                <a16:creationId xmlns:a16="http://schemas.microsoft.com/office/drawing/2014/main" id="{3BE7E261-535B-3167-77C0-DED5382DD91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5637" y="409975"/>
            <a:ext cx="1157293" cy="190501"/>
          </a:xfrm>
          <a:prstGeom prst="rect">
            <a:avLst/>
          </a:prstGeom>
          <a:ln w="12700">
            <a:miter lim="400000"/>
          </a:ln>
        </p:spPr>
      </p:pic>
      <p:sp>
        <p:nvSpPr>
          <p:cNvPr id="9" name="Marcador de Posição do Texto 2">
            <a:extLst>
              <a:ext uri="{FF2B5EF4-FFF2-40B4-BE49-F238E27FC236}">
                <a16:creationId xmlns:a16="http://schemas.microsoft.com/office/drawing/2014/main" id="{8B1DCFE6-9A94-789A-E4DC-51494F92E36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4317" y="2281107"/>
            <a:ext cx="4153056" cy="2445035"/>
          </a:xfrm>
          <a:prstGeom prst="rect">
            <a:avLst/>
          </a:prstGeom>
        </p:spPr>
        <p:txBody>
          <a:bodyPr vert="horz" wrap="none" lIns="0" tIns="45720" rIns="0" bIns="45720" rtlCol="0" anchor="t" anchorCtr="0">
            <a:noAutofit/>
          </a:bodyPr>
          <a:lstStyle>
            <a:lvl1pPr marL="0" indent="0">
              <a:lnSpc>
                <a:spcPts val="3860"/>
              </a:lnSpc>
              <a:buNone/>
              <a:defRPr lang="pt-PT" sz="3200" b="1" baseline="0" dirty="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166682" lvl="0" indent="-342891">
              <a:spcBef>
                <a:spcPct val="0"/>
              </a:spcBef>
            </a:pPr>
            <a:r>
              <a:rPr lang="pt-PT" dirty="0"/>
              <a:t>Título do Separador</a:t>
            </a:r>
          </a:p>
        </p:txBody>
      </p:sp>
      <p:sp useBgFill="1">
        <p:nvSpPr>
          <p:cNvPr id="12" name="Marcador de Posição do Texto 2">
            <a:extLst>
              <a:ext uri="{FF2B5EF4-FFF2-40B4-BE49-F238E27FC236}">
                <a16:creationId xmlns:a16="http://schemas.microsoft.com/office/drawing/2014/main" id="{76232CD6-C395-F87E-2079-8C82E68B65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6835" y="253243"/>
            <a:ext cx="1771431" cy="1876776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pt-PT" sz="15000" b="1" i="0" baseline="0" dirty="0">
                <a:ln w="22225">
                  <a:solidFill>
                    <a:schemeClr val="accent1"/>
                  </a:solidFill>
                </a:ln>
                <a:noFill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pt-PT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852146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dor 1_branco_com imag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hape">
            <a:extLst>
              <a:ext uri="{FF2B5EF4-FFF2-40B4-BE49-F238E27FC236}">
                <a16:creationId xmlns:a16="http://schemas.microsoft.com/office/drawing/2014/main" id="{55C6A604-639B-78B7-F707-C7296C61EDE3}"/>
              </a:ext>
            </a:extLst>
          </p:cNvPr>
          <p:cNvSpPr/>
          <p:nvPr userDrawn="1"/>
        </p:nvSpPr>
        <p:spPr>
          <a:xfrm rot="47089">
            <a:off x="5152438" y="947395"/>
            <a:ext cx="6562965" cy="439047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31" h="21417" extrusionOk="0">
                <a:moveTo>
                  <a:pt x="4390" y="9299"/>
                </a:moveTo>
                <a:cubicBezTo>
                  <a:pt x="3525" y="10557"/>
                  <a:pt x="2724" y="11907"/>
                  <a:pt x="1993" y="13339"/>
                </a:cubicBezTo>
                <a:cubicBezTo>
                  <a:pt x="1552" y="14113"/>
                  <a:pt x="1159" y="14944"/>
                  <a:pt x="816" y="15821"/>
                </a:cubicBezTo>
                <a:cubicBezTo>
                  <a:pt x="552" y="16497"/>
                  <a:pt x="318" y="17201"/>
                  <a:pt x="162" y="17948"/>
                </a:cubicBezTo>
                <a:cubicBezTo>
                  <a:pt x="71" y="18388"/>
                  <a:pt x="10" y="18826"/>
                  <a:pt x="1" y="19265"/>
                </a:cubicBezTo>
                <a:cubicBezTo>
                  <a:pt x="-7" y="19657"/>
                  <a:pt x="26" y="20060"/>
                  <a:pt x="153" y="20413"/>
                </a:cubicBezTo>
                <a:cubicBezTo>
                  <a:pt x="238" y="20648"/>
                  <a:pt x="361" y="20847"/>
                  <a:pt x="508" y="21001"/>
                </a:cubicBezTo>
                <a:cubicBezTo>
                  <a:pt x="852" y="21359"/>
                  <a:pt x="1250" y="21439"/>
                  <a:pt x="1661" y="21413"/>
                </a:cubicBezTo>
                <a:cubicBezTo>
                  <a:pt x="2075" y="21386"/>
                  <a:pt x="2510" y="21256"/>
                  <a:pt x="2925" y="21103"/>
                </a:cubicBezTo>
                <a:cubicBezTo>
                  <a:pt x="3533" y="20878"/>
                  <a:pt x="4145" y="20624"/>
                  <a:pt x="4741" y="20313"/>
                </a:cubicBezTo>
                <a:cubicBezTo>
                  <a:pt x="5640" y="19841"/>
                  <a:pt x="6503" y="19236"/>
                  <a:pt x="7359" y="18613"/>
                </a:cubicBezTo>
                <a:cubicBezTo>
                  <a:pt x="8382" y="17870"/>
                  <a:pt x="9394" y="17098"/>
                  <a:pt x="10389" y="16276"/>
                </a:cubicBezTo>
                <a:cubicBezTo>
                  <a:pt x="11357" y="15477"/>
                  <a:pt x="12306" y="14631"/>
                  <a:pt x="13245" y="13761"/>
                </a:cubicBezTo>
                <a:cubicBezTo>
                  <a:pt x="15007" y="12128"/>
                  <a:pt x="16735" y="10406"/>
                  <a:pt x="18311" y="8397"/>
                </a:cubicBezTo>
                <a:cubicBezTo>
                  <a:pt x="18824" y="7743"/>
                  <a:pt x="19322" y="7057"/>
                  <a:pt x="19787" y="6334"/>
                </a:cubicBezTo>
                <a:cubicBezTo>
                  <a:pt x="20144" y="5779"/>
                  <a:pt x="20486" y="5194"/>
                  <a:pt x="20805" y="4598"/>
                </a:cubicBezTo>
                <a:cubicBezTo>
                  <a:pt x="21027" y="4141"/>
                  <a:pt x="21209" y="3658"/>
                  <a:pt x="21352" y="3158"/>
                </a:cubicBezTo>
                <a:cubicBezTo>
                  <a:pt x="21485" y="2689"/>
                  <a:pt x="21593" y="2170"/>
                  <a:pt x="21489" y="1655"/>
                </a:cubicBezTo>
                <a:cubicBezTo>
                  <a:pt x="21373" y="1078"/>
                  <a:pt x="21020" y="711"/>
                  <a:pt x="20646" y="473"/>
                </a:cubicBezTo>
                <a:cubicBezTo>
                  <a:pt x="20302" y="254"/>
                  <a:pt x="19936" y="124"/>
                  <a:pt x="19563" y="90"/>
                </a:cubicBezTo>
                <a:cubicBezTo>
                  <a:pt x="17608" y="-161"/>
                  <a:pt x="15638" y="114"/>
                  <a:pt x="13748" y="901"/>
                </a:cubicBezTo>
                <a:cubicBezTo>
                  <a:pt x="11927" y="1660"/>
                  <a:pt x="10225" y="2868"/>
                  <a:pt x="8633" y="4345"/>
                </a:cubicBezTo>
                <a:cubicBezTo>
                  <a:pt x="7110" y="5757"/>
                  <a:pt x="5682" y="7419"/>
                  <a:pt x="4390" y="9299"/>
                </a:cubicBezTo>
                <a:close/>
              </a:path>
            </a:pathLst>
          </a:cu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25400">
            <a:noFill/>
            <a:miter lim="400000"/>
          </a:ln>
        </p:spPr>
        <p:txBody>
          <a:bodyPr lIns="25400" tIns="25400" rIns="25400" bIns="25400" anchor="ctr"/>
          <a:lstStyle/>
          <a:p>
            <a:endParaRPr sz="6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FF2E1AB-3873-5D40-E9DE-CDBE7B120F9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5A18A9-FB90-4F92-9633-9A2FCB4DF4A0}" type="slidenum">
              <a:rPr lang="pt-PT" smtClean="0"/>
              <a:pPr/>
              <a:t>‹nº›</a:t>
            </a:fld>
            <a:endParaRPr lang="pt-PT" dirty="0"/>
          </a:p>
        </p:txBody>
      </p:sp>
      <p:sp>
        <p:nvSpPr>
          <p:cNvPr id="6" name="Marcador de Posição do Texto 2">
            <a:extLst>
              <a:ext uri="{FF2B5EF4-FFF2-40B4-BE49-F238E27FC236}">
                <a16:creationId xmlns:a16="http://schemas.microsoft.com/office/drawing/2014/main" id="{7D5DA25B-3DA3-EEE1-CEA6-930FC9FBF76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4317" y="2281107"/>
            <a:ext cx="4153056" cy="2445035"/>
          </a:xfrm>
          <a:prstGeom prst="rect">
            <a:avLst/>
          </a:prstGeom>
        </p:spPr>
        <p:txBody>
          <a:bodyPr vert="horz" wrap="none" lIns="0" tIns="45720" rIns="0" bIns="45720" rtlCol="0" anchor="t" anchorCtr="0">
            <a:noAutofit/>
          </a:bodyPr>
          <a:lstStyle>
            <a:lvl1pPr marL="0" indent="0">
              <a:lnSpc>
                <a:spcPts val="3860"/>
              </a:lnSpc>
              <a:buNone/>
              <a:defRPr lang="pt-PT" sz="3200" b="1" baseline="0" dirty="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166682" lvl="0" indent="-342891">
              <a:spcBef>
                <a:spcPct val="0"/>
              </a:spcBef>
            </a:pPr>
            <a:r>
              <a:rPr lang="pt-PT" dirty="0"/>
              <a:t>Título do Separador</a:t>
            </a:r>
          </a:p>
        </p:txBody>
      </p:sp>
      <p:sp useBgFill="1">
        <p:nvSpPr>
          <p:cNvPr id="7" name="Marcador de Posição do Texto 2">
            <a:extLst>
              <a:ext uri="{FF2B5EF4-FFF2-40B4-BE49-F238E27FC236}">
                <a16:creationId xmlns:a16="http://schemas.microsoft.com/office/drawing/2014/main" id="{CE0DA020-400A-3031-0988-8CF6C39D229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6835" y="253243"/>
            <a:ext cx="1771431" cy="1876776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pt-PT" sz="15000" b="1" i="0" baseline="0" dirty="0">
                <a:ln w="22225">
                  <a:solidFill>
                    <a:schemeClr val="accent1"/>
                  </a:solidFill>
                </a:ln>
                <a:noFill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pt-PT" dirty="0"/>
              <a:t>1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804CBBA-F8F1-E652-6976-AE880AB0DD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370" t="16519" r="23518" b="24724"/>
          <a:stretch/>
        </p:blipFill>
        <p:spPr>
          <a:xfrm>
            <a:off x="5000262" y="0"/>
            <a:ext cx="7200205" cy="6857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708894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pa_Branc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" descr="Image">
            <a:extLst>
              <a:ext uri="{FF2B5EF4-FFF2-40B4-BE49-F238E27FC236}">
                <a16:creationId xmlns:a16="http://schemas.microsoft.com/office/drawing/2014/main" id="{B122DBC7-E105-9BFE-7B93-B32B4CFEAB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3182" y="633903"/>
            <a:ext cx="2549364" cy="632750"/>
          </a:xfrm>
          <a:prstGeom prst="rect">
            <a:avLst/>
          </a:prstGeom>
          <a:ln w="12700">
            <a:miter lim="400000"/>
          </a:ln>
        </p:spPr>
      </p:pic>
      <p:sp>
        <p:nvSpPr>
          <p:cNvPr id="14" name="Título 1">
            <a:extLst>
              <a:ext uri="{FF2B5EF4-FFF2-40B4-BE49-F238E27FC236}">
                <a16:creationId xmlns:a16="http://schemas.microsoft.com/office/drawing/2014/main" id="{99C3617A-5102-B10B-F4BA-94C7D960C0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185" y="3386665"/>
            <a:ext cx="4095497" cy="1779391"/>
          </a:xfrm>
          <a:prstGeom prst="rect">
            <a:avLst/>
          </a:prstGeom>
        </p:spPr>
        <p:txBody>
          <a:bodyPr anchor="b"/>
          <a:lstStyle>
            <a:lvl1pPr>
              <a:lnSpc>
                <a:spcPct val="80000"/>
              </a:lnSpc>
              <a:defRPr lang="en-GB" sz="3200" b="1" i="0" kern="1200" baseline="0" dirty="0">
                <a:solidFill>
                  <a:schemeClr val="tx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br>
              <a:rPr lang="pt-PT" dirty="0"/>
            </a:br>
            <a:r>
              <a:rPr lang="pt-PT" dirty="0"/>
              <a:t>Clique para editar</a:t>
            </a:r>
            <a:endParaRPr lang="en-GB" dirty="0"/>
          </a:p>
        </p:txBody>
      </p:sp>
      <p:sp>
        <p:nvSpPr>
          <p:cNvPr id="15" name="Marcador de Posição do Texto 2">
            <a:extLst>
              <a:ext uri="{FF2B5EF4-FFF2-40B4-BE49-F238E27FC236}">
                <a16:creationId xmlns:a16="http://schemas.microsoft.com/office/drawing/2014/main" id="{A1D381F7-2CBE-C22A-6CFC-16B9399256D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3186" y="5226679"/>
            <a:ext cx="4095496" cy="430256"/>
          </a:xfrm>
          <a:prstGeom prst="rect">
            <a:avLst/>
          </a:prstGeom>
        </p:spPr>
        <p:txBody>
          <a:bodyPr vert="horz" wrap="none" lIns="0" tIns="45720" rIns="0" bIns="45720" rtlCol="0" anchor="t" anchorCtr="0">
            <a:noAutofit/>
          </a:bodyPr>
          <a:lstStyle>
            <a:lvl1pPr marL="0" indent="0">
              <a:buNone/>
              <a:defRPr lang="pt-PT" sz="2200" b="0" i="0" baseline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166682" lvl="0" indent="-342891">
              <a:spcBef>
                <a:spcPct val="0"/>
              </a:spcBef>
            </a:pPr>
            <a:r>
              <a:rPr lang="pt-PT" dirty="0"/>
              <a:t>Clique para editar</a:t>
            </a:r>
          </a:p>
        </p:txBody>
      </p:sp>
      <p:sp>
        <p:nvSpPr>
          <p:cNvPr id="16" name="Marcador de Posição do Texto 6">
            <a:extLst>
              <a:ext uri="{FF2B5EF4-FFF2-40B4-BE49-F238E27FC236}">
                <a16:creationId xmlns:a16="http://schemas.microsoft.com/office/drawing/2014/main" id="{4C6508F2-98A4-F28B-B814-1BB0945A865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3619" y="5734763"/>
            <a:ext cx="4095064" cy="304699"/>
          </a:xfrm>
          <a:prstGeom prst="rect">
            <a:avLst/>
          </a:prstGeom>
        </p:spPr>
        <p:txBody>
          <a:bodyPr wrap="none">
            <a:noAutofit/>
          </a:bodyPr>
          <a:lstStyle>
            <a:lvl1pPr>
              <a:defRPr sz="1400" b="0" i="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pt-PT" dirty="0"/>
              <a:t>Clique para editar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8C92078-20A0-F93C-7FEB-30802AEEC1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4222" t="13656" r="17806" b="13414"/>
          <a:stretch/>
        </p:blipFill>
        <p:spPr>
          <a:xfrm>
            <a:off x="5069711" y="-10758"/>
            <a:ext cx="7135341" cy="68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77988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226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dor 1_branco_semm imag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9804CBBA-F8F1-E652-6976-AE880AB0DD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007" t="16519" r="23518" b="24724"/>
          <a:stretch/>
        </p:blipFill>
        <p:spPr>
          <a:xfrm>
            <a:off x="4942390" y="0"/>
            <a:ext cx="7258078" cy="6857787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FF2E1AB-3873-5D40-E9DE-CDBE7B120F9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5A18A9-FB90-4F92-9633-9A2FCB4DF4A0}" type="slidenum">
              <a:rPr lang="pt-PT" smtClean="0"/>
              <a:pPr/>
              <a:t>‹nº›</a:t>
            </a:fld>
            <a:endParaRPr lang="pt-PT" dirty="0"/>
          </a:p>
        </p:txBody>
      </p:sp>
      <p:sp>
        <p:nvSpPr>
          <p:cNvPr id="6" name="Marcador de Posição do Texto 2">
            <a:extLst>
              <a:ext uri="{FF2B5EF4-FFF2-40B4-BE49-F238E27FC236}">
                <a16:creationId xmlns:a16="http://schemas.microsoft.com/office/drawing/2014/main" id="{7D5DA25B-3DA3-EEE1-CEA6-930FC9FBF76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4317" y="2281107"/>
            <a:ext cx="4153056" cy="2445035"/>
          </a:xfrm>
          <a:prstGeom prst="rect">
            <a:avLst/>
          </a:prstGeom>
        </p:spPr>
        <p:txBody>
          <a:bodyPr vert="horz" wrap="none" lIns="0" tIns="45720" rIns="0" bIns="45720" rtlCol="0" anchor="t" anchorCtr="0">
            <a:noAutofit/>
          </a:bodyPr>
          <a:lstStyle>
            <a:lvl1pPr marL="0" indent="0">
              <a:lnSpc>
                <a:spcPts val="3860"/>
              </a:lnSpc>
              <a:buNone/>
              <a:defRPr lang="pt-PT" sz="3200" b="1" baseline="0" dirty="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166682" lvl="0" indent="-342891">
              <a:spcBef>
                <a:spcPct val="0"/>
              </a:spcBef>
            </a:pPr>
            <a:r>
              <a:rPr lang="pt-PT" dirty="0"/>
              <a:t>Título do Separador</a:t>
            </a:r>
          </a:p>
        </p:txBody>
      </p:sp>
      <p:sp useBgFill="1">
        <p:nvSpPr>
          <p:cNvPr id="7" name="Marcador de Posição do Texto 2">
            <a:extLst>
              <a:ext uri="{FF2B5EF4-FFF2-40B4-BE49-F238E27FC236}">
                <a16:creationId xmlns:a16="http://schemas.microsoft.com/office/drawing/2014/main" id="{CE0DA020-400A-3031-0988-8CF6C39D229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6835" y="253243"/>
            <a:ext cx="1771431" cy="1876776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pt-PT" sz="15000" b="1" i="0" baseline="0" dirty="0">
                <a:ln w="22225">
                  <a:solidFill>
                    <a:schemeClr val="accent1"/>
                  </a:solidFill>
                </a:ln>
                <a:noFill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pt-PT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55971810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dor 2_preto_com imagem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">
            <a:extLst>
              <a:ext uri="{FF2B5EF4-FFF2-40B4-BE49-F238E27FC236}">
                <a16:creationId xmlns:a16="http://schemas.microsoft.com/office/drawing/2014/main" id="{2FD34BE4-CF27-62C5-97D6-0A4AA5AF2376}"/>
              </a:ext>
            </a:extLst>
          </p:cNvPr>
          <p:cNvSpPr/>
          <p:nvPr userDrawn="1"/>
        </p:nvSpPr>
        <p:spPr>
          <a:xfrm>
            <a:off x="5098701" y="1799074"/>
            <a:ext cx="7117457" cy="5077464"/>
          </a:xfrm>
          <a:custGeom>
            <a:avLst/>
            <a:gdLst>
              <a:gd name="connsiteX0" fmla="*/ 11477 w 21471"/>
              <a:gd name="connsiteY0" fmla="*/ 23 h 21488"/>
              <a:gd name="connsiteX1" fmla="*/ 5715 w 21471"/>
              <a:gd name="connsiteY1" fmla="*/ 1085 h 21488"/>
              <a:gd name="connsiteX2" fmla="*/ 1232 w 21471"/>
              <a:gd name="connsiteY2" fmla="*/ 5155 h 21488"/>
              <a:gd name="connsiteX3" fmla="*/ 48 w 21471"/>
              <a:gd name="connsiteY3" fmla="*/ 9089 h 21488"/>
              <a:gd name="connsiteX4" fmla="*/ 365 w 21471"/>
              <a:gd name="connsiteY4" fmla="*/ 13412 h 21488"/>
              <a:gd name="connsiteX5" fmla="*/ 994 w 21471"/>
              <a:gd name="connsiteY5" fmla="*/ 15572 h 21488"/>
              <a:gd name="connsiteX6" fmla="*/ 6271 w 21471"/>
              <a:gd name="connsiteY6" fmla="*/ 16946 h 21488"/>
              <a:gd name="connsiteX7" fmla="*/ 4709 w 21471"/>
              <a:gd name="connsiteY7" fmla="*/ 20041 h 21488"/>
              <a:gd name="connsiteX8" fmla="*/ 7374 w 21471"/>
              <a:gd name="connsiteY8" fmla="*/ 21174 h 21488"/>
              <a:gd name="connsiteX9" fmla="*/ 10204 w 21471"/>
              <a:gd name="connsiteY9" fmla="*/ 21487 h 21488"/>
              <a:gd name="connsiteX10" fmla="*/ 16120 w 21471"/>
              <a:gd name="connsiteY10" fmla="*/ 19852 h 21488"/>
              <a:gd name="connsiteX11" fmla="*/ 20202 w 21471"/>
              <a:gd name="connsiteY11" fmla="*/ 15632 h 21488"/>
              <a:gd name="connsiteX12" fmla="*/ 21216 w 21471"/>
              <a:gd name="connsiteY12" fmla="*/ 12780 h 21488"/>
              <a:gd name="connsiteX13" fmla="*/ 21449 w 21471"/>
              <a:gd name="connsiteY13" fmla="*/ 9614 h 21488"/>
              <a:gd name="connsiteX14" fmla="*/ 18412 w 21471"/>
              <a:gd name="connsiteY14" fmla="*/ 2817 h 21488"/>
              <a:gd name="connsiteX15" fmla="*/ 15211 w 21471"/>
              <a:gd name="connsiteY15" fmla="*/ 859 h 21488"/>
              <a:gd name="connsiteX16" fmla="*/ 11477 w 21471"/>
              <a:gd name="connsiteY16" fmla="*/ 23 h 21488"/>
              <a:gd name="connsiteX0" fmla="*/ 11477 w 21471"/>
              <a:gd name="connsiteY0" fmla="*/ 23 h 21488"/>
              <a:gd name="connsiteX1" fmla="*/ 5715 w 21471"/>
              <a:gd name="connsiteY1" fmla="*/ 1085 h 21488"/>
              <a:gd name="connsiteX2" fmla="*/ 1232 w 21471"/>
              <a:gd name="connsiteY2" fmla="*/ 5155 h 21488"/>
              <a:gd name="connsiteX3" fmla="*/ 48 w 21471"/>
              <a:gd name="connsiteY3" fmla="*/ 9089 h 21488"/>
              <a:gd name="connsiteX4" fmla="*/ 365 w 21471"/>
              <a:gd name="connsiteY4" fmla="*/ 13412 h 21488"/>
              <a:gd name="connsiteX5" fmla="*/ 994 w 21471"/>
              <a:gd name="connsiteY5" fmla="*/ 15572 h 21488"/>
              <a:gd name="connsiteX6" fmla="*/ 6271 w 21471"/>
              <a:gd name="connsiteY6" fmla="*/ 16946 h 21488"/>
              <a:gd name="connsiteX7" fmla="*/ 4709 w 21471"/>
              <a:gd name="connsiteY7" fmla="*/ 20041 h 21488"/>
              <a:gd name="connsiteX8" fmla="*/ 7374 w 21471"/>
              <a:gd name="connsiteY8" fmla="*/ 21174 h 21488"/>
              <a:gd name="connsiteX9" fmla="*/ 10204 w 21471"/>
              <a:gd name="connsiteY9" fmla="*/ 21487 h 21488"/>
              <a:gd name="connsiteX10" fmla="*/ 16120 w 21471"/>
              <a:gd name="connsiteY10" fmla="*/ 19852 h 21488"/>
              <a:gd name="connsiteX11" fmla="*/ 20202 w 21471"/>
              <a:gd name="connsiteY11" fmla="*/ 15632 h 21488"/>
              <a:gd name="connsiteX12" fmla="*/ 21216 w 21471"/>
              <a:gd name="connsiteY12" fmla="*/ 12780 h 21488"/>
              <a:gd name="connsiteX13" fmla="*/ 21449 w 21471"/>
              <a:gd name="connsiteY13" fmla="*/ 9614 h 21488"/>
              <a:gd name="connsiteX14" fmla="*/ 18412 w 21471"/>
              <a:gd name="connsiteY14" fmla="*/ 2817 h 21488"/>
              <a:gd name="connsiteX15" fmla="*/ 15211 w 21471"/>
              <a:gd name="connsiteY15" fmla="*/ 859 h 21488"/>
              <a:gd name="connsiteX16" fmla="*/ 11477 w 21471"/>
              <a:gd name="connsiteY16" fmla="*/ 23 h 21488"/>
              <a:gd name="connsiteX0" fmla="*/ 11477 w 21471"/>
              <a:gd name="connsiteY0" fmla="*/ 23 h 21488"/>
              <a:gd name="connsiteX1" fmla="*/ 5715 w 21471"/>
              <a:gd name="connsiteY1" fmla="*/ 1085 h 21488"/>
              <a:gd name="connsiteX2" fmla="*/ 1232 w 21471"/>
              <a:gd name="connsiteY2" fmla="*/ 5155 h 21488"/>
              <a:gd name="connsiteX3" fmla="*/ 48 w 21471"/>
              <a:gd name="connsiteY3" fmla="*/ 9089 h 21488"/>
              <a:gd name="connsiteX4" fmla="*/ 365 w 21471"/>
              <a:gd name="connsiteY4" fmla="*/ 13412 h 21488"/>
              <a:gd name="connsiteX5" fmla="*/ 994 w 21471"/>
              <a:gd name="connsiteY5" fmla="*/ 15572 h 21488"/>
              <a:gd name="connsiteX6" fmla="*/ 6194 w 21471"/>
              <a:gd name="connsiteY6" fmla="*/ 17438 h 21488"/>
              <a:gd name="connsiteX7" fmla="*/ 4709 w 21471"/>
              <a:gd name="connsiteY7" fmla="*/ 20041 h 21488"/>
              <a:gd name="connsiteX8" fmla="*/ 7374 w 21471"/>
              <a:gd name="connsiteY8" fmla="*/ 21174 h 21488"/>
              <a:gd name="connsiteX9" fmla="*/ 10204 w 21471"/>
              <a:gd name="connsiteY9" fmla="*/ 21487 h 21488"/>
              <a:gd name="connsiteX10" fmla="*/ 16120 w 21471"/>
              <a:gd name="connsiteY10" fmla="*/ 19852 h 21488"/>
              <a:gd name="connsiteX11" fmla="*/ 20202 w 21471"/>
              <a:gd name="connsiteY11" fmla="*/ 15632 h 21488"/>
              <a:gd name="connsiteX12" fmla="*/ 21216 w 21471"/>
              <a:gd name="connsiteY12" fmla="*/ 12780 h 21488"/>
              <a:gd name="connsiteX13" fmla="*/ 21449 w 21471"/>
              <a:gd name="connsiteY13" fmla="*/ 9614 h 21488"/>
              <a:gd name="connsiteX14" fmla="*/ 18412 w 21471"/>
              <a:gd name="connsiteY14" fmla="*/ 2817 h 21488"/>
              <a:gd name="connsiteX15" fmla="*/ 15211 w 21471"/>
              <a:gd name="connsiteY15" fmla="*/ 859 h 21488"/>
              <a:gd name="connsiteX16" fmla="*/ 11477 w 21471"/>
              <a:gd name="connsiteY16" fmla="*/ 23 h 21488"/>
              <a:gd name="connsiteX0" fmla="*/ 11477 w 21471"/>
              <a:gd name="connsiteY0" fmla="*/ 23 h 21488"/>
              <a:gd name="connsiteX1" fmla="*/ 5715 w 21471"/>
              <a:gd name="connsiteY1" fmla="*/ 1085 h 21488"/>
              <a:gd name="connsiteX2" fmla="*/ 1232 w 21471"/>
              <a:gd name="connsiteY2" fmla="*/ 5155 h 21488"/>
              <a:gd name="connsiteX3" fmla="*/ 48 w 21471"/>
              <a:gd name="connsiteY3" fmla="*/ 9089 h 21488"/>
              <a:gd name="connsiteX4" fmla="*/ 365 w 21471"/>
              <a:gd name="connsiteY4" fmla="*/ 13412 h 21488"/>
              <a:gd name="connsiteX5" fmla="*/ 994 w 21471"/>
              <a:gd name="connsiteY5" fmla="*/ 15572 h 21488"/>
              <a:gd name="connsiteX6" fmla="*/ 6194 w 21471"/>
              <a:gd name="connsiteY6" fmla="*/ 17438 h 21488"/>
              <a:gd name="connsiteX7" fmla="*/ 4709 w 21471"/>
              <a:gd name="connsiteY7" fmla="*/ 20041 h 21488"/>
              <a:gd name="connsiteX8" fmla="*/ 7374 w 21471"/>
              <a:gd name="connsiteY8" fmla="*/ 21174 h 21488"/>
              <a:gd name="connsiteX9" fmla="*/ 10204 w 21471"/>
              <a:gd name="connsiteY9" fmla="*/ 21487 h 21488"/>
              <a:gd name="connsiteX10" fmla="*/ 16120 w 21471"/>
              <a:gd name="connsiteY10" fmla="*/ 19852 h 21488"/>
              <a:gd name="connsiteX11" fmla="*/ 20202 w 21471"/>
              <a:gd name="connsiteY11" fmla="*/ 15632 h 21488"/>
              <a:gd name="connsiteX12" fmla="*/ 21216 w 21471"/>
              <a:gd name="connsiteY12" fmla="*/ 12780 h 21488"/>
              <a:gd name="connsiteX13" fmla="*/ 21449 w 21471"/>
              <a:gd name="connsiteY13" fmla="*/ 9614 h 21488"/>
              <a:gd name="connsiteX14" fmla="*/ 18412 w 21471"/>
              <a:gd name="connsiteY14" fmla="*/ 2817 h 21488"/>
              <a:gd name="connsiteX15" fmla="*/ 15211 w 21471"/>
              <a:gd name="connsiteY15" fmla="*/ 859 h 21488"/>
              <a:gd name="connsiteX16" fmla="*/ 11477 w 21471"/>
              <a:gd name="connsiteY16" fmla="*/ 23 h 21488"/>
              <a:gd name="connsiteX0" fmla="*/ 11470 w 21464"/>
              <a:gd name="connsiteY0" fmla="*/ 23 h 21488"/>
              <a:gd name="connsiteX1" fmla="*/ 5708 w 21464"/>
              <a:gd name="connsiteY1" fmla="*/ 1085 h 21488"/>
              <a:gd name="connsiteX2" fmla="*/ 1225 w 21464"/>
              <a:gd name="connsiteY2" fmla="*/ 5155 h 21488"/>
              <a:gd name="connsiteX3" fmla="*/ 41 w 21464"/>
              <a:gd name="connsiteY3" fmla="*/ 9089 h 21488"/>
              <a:gd name="connsiteX4" fmla="*/ 358 w 21464"/>
              <a:gd name="connsiteY4" fmla="*/ 13412 h 21488"/>
              <a:gd name="connsiteX5" fmla="*/ 1489 w 21464"/>
              <a:gd name="connsiteY5" fmla="*/ 16646 h 21488"/>
              <a:gd name="connsiteX6" fmla="*/ 6187 w 21464"/>
              <a:gd name="connsiteY6" fmla="*/ 17438 h 21488"/>
              <a:gd name="connsiteX7" fmla="*/ 4702 w 21464"/>
              <a:gd name="connsiteY7" fmla="*/ 20041 h 21488"/>
              <a:gd name="connsiteX8" fmla="*/ 7367 w 21464"/>
              <a:gd name="connsiteY8" fmla="*/ 21174 h 21488"/>
              <a:gd name="connsiteX9" fmla="*/ 10197 w 21464"/>
              <a:gd name="connsiteY9" fmla="*/ 21487 h 21488"/>
              <a:gd name="connsiteX10" fmla="*/ 16113 w 21464"/>
              <a:gd name="connsiteY10" fmla="*/ 19852 h 21488"/>
              <a:gd name="connsiteX11" fmla="*/ 20195 w 21464"/>
              <a:gd name="connsiteY11" fmla="*/ 15632 h 21488"/>
              <a:gd name="connsiteX12" fmla="*/ 21209 w 21464"/>
              <a:gd name="connsiteY12" fmla="*/ 12780 h 21488"/>
              <a:gd name="connsiteX13" fmla="*/ 21442 w 21464"/>
              <a:gd name="connsiteY13" fmla="*/ 9614 h 21488"/>
              <a:gd name="connsiteX14" fmla="*/ 18405 w 21464"/>
              <a:gd name="connsiteY14" fmla="*/ 2817 h 21488"/>
              <a:gd name="connsiteX15" fmla="*/ 15204 w 21464"/>
              <a:gd name="connsiteY15" fmla="*/ 859 h 21488"/>
              <a:gd name="connsiteX16" fmla="*/ 11470 w 21464"/>
              <a:gd name="connsiteY16" fmla="*/ 23 h 21488"/>
              <a:gd name="connsiteX0" fmla="*/ 11479 w 21473"/>
              <a:gd name="connsiteY0" fmla="*/ 23 h 21488"/>
              <a:gd name="connsiteX1" fmla="*/ 5717 w 21473"/>
              <a:gd name="connsiteY1" fmla="*/ 1085 h 21488"/>
              <a:gd name="connsiteX2" fmla="*/ 1234 w 21473"/>
              <a:gd name="connsiteY2" fmla="*/ 5155 h 21488"/>
              <a:gd name="connsiteX3" fmla="*/ 50 w 21473"/>
              <a:gd name="connsiteY3" fmla="*/ 9089 h 21488"/>
              <a:gd name="connsiteX4" fmla="*/ 367 w 21473"/>
              <a:gd name="connsiteY4" fmla="*/ 13412 h 21488"/>
              <a:gd name="connsiteX5" fmla="*/ 1961 w 21473"/>
              <a:gd name="connsiteY5" fmla="*/ 16736 h 21488"/>
              <a:gd name="connsiteX6" fmla="*/ 6196 w 21473"/>
              <a:gd name="connsiteY6" fmla="*/ 17438 h 21488"/>
              <a:gd name="connsiteX7" fmla="*/ 4711 w 21473"/>
              <a:gd name="connsiteY7" fmla="*/ 20041 h 21488"/>
              <a:gd name="connsiteX8" fmla="*/ 7376 w 21473"/>
              <a:gd name="connsiteY8" fmla="*/ 21174 h 21488"/>
              <a:gd name="connsiteX9" fmla="*/ 10206 w 21473"/>
              <a:gd name="connsiteY9" fmla="*/ 21487 h 21488"/>
              <a:gd name="connsiteX10" fmla="*/ 16122 w 21473"/>
              <a:gd name="connsiteY10" fmla="*/ 19852 h 21488"/>
              <a:gd name="connsiteX11" fmla="*/ 20204 w 21473"/>
              <a:gd name="connsiteY11" fmla="*/ 15632 h 21488"/>
              <a:gd name="connsiteX12" fmla="*/ 21218 w 21473"/>
              <a:gd name="connsiteY12" fmla="*/ 12780 h 21488"/>
              <a:gd name="connsiteX13" fmla="*/ 21451 w 21473"/>
              <a:gd name="connsiteY13" fmla="*/ 9614 h 21488"/>
              <a:gd name="connsiteX14" fmla="*/ 18414 w 21473"/>
              <a:gd name="connsiteY14" fmla="*/ 2817 h 21488"/>
              <a:gd name="connsiteX15" fmla="*/ 15213 w 21473"/>
              <a:gd name="connsiteY15" fmla="*/ 859 h 21488"/>
              <a:gd name="connsiteX16" fmla="*/ 11479 w 21473"/>
              <a:gd name="connsiteY16" fmla="*/ 23 h 21488"/>
              <a:gd name="connsiteX0" fmla="*/ 11479 w 21473"/>
              <a:gd name="connsiteY0" fmla="*/ 23 h 21488"/>
              <a:gd name="connsiteX1" fmla="*/ 5717 w 21473"/>
              <a:gd name="connsiteY1" fmla="*/ 1085 h 21488"/>
              <a:gd name="connsiteX2" fmla="*/ 1234 w 21473"/>
              <a:gd name="connsiteY2" fmla="*/ 5155 h 21488"/>
              <a:gd name="connsiteX3" fmla="*/ 50 w 21473"/>
              <a:gd name="connsiteY3" fmla="*/ 9089 h 21488"/>
              <a:gd name="connsiteX4" fmla="*/ 367 w 21473"/>
              <a:gd name="connsiteY4" fmla="*/ 13412 h 21488"/>
              <a:gd name="connsiteX5" fmla="*/ 1961 w 21473"/>
              <a:gd name="connsiteY5" fmla="*/ 16736 h 21488"/>
              <a:gd name="connsiteX6" fmla="*/ 6196 w 21473"/>
              <a:gd name="connsiteY6" fmla="*/ 17438 h 21488"/>
              <a:gd name="connsiteX7" fmla="*/ 4711 w 21473"/>
              <a:gd name="connsiteY7" fmla="*/ 20041 h 21488"/>
              <a:gd name="connsiteX8" fmla="*/ 7376 w 21473"/>
              <a:gd name="connsiteY8" fmla="*/ 21174 h 21488"/>
              <a:gd name="connsiteX9" fmla="*/ 10206 w 21473"/>
              <a:gd name="connsiteY9" fmla="*/ 21487 h 21488"/>
              <a:gd name="connsiteX10" fmla="*/ 16122 w 21473"/>
              <a:gd name="connsiteY10" fmla="*/ 19852 h 21488"/>
              <a:gd name="connsiteX11" fmla="*/ 20204 w 21473"/>
              <a:gd name="connsiteY11" fmla="*/ 15632 h 21488"/>
              <a:gd name="connsiteX12" fmla="*/ 21218 w 21473"/>
              <a:gd name="connsiteY12" fmla="*/ 12780 h 21488"/>
              <a:gd name="connsiteX13" fmla="*/ 21451 w 21473"/>
              <a:gd name="connsiteY13" fmla="*/ 9614 h 21488"/>
              <a:gd name="connsiteX14" fmla="*/ 18414 w 21473"/>
              <a:gd name="connsiteY14" fmla="*/ 2817 h 21488"/>
              <a:gd name="connsiteX15" fmla="*/ 15213 w 21473"/>
              <a:gd name="connsiteY15" fmla="*/ 859 h 21488"/>
              <a:gd name="connsiteX16" fmla="*/ 11479 w 21473"/>
              <a:gd name="connsiteY16" fmla="*/ 23 h 21488"/>
              <a:gd name="connsiteX0" fmla="*/ 11479 w 21473"/>
              <a:gd name="connsiteY0" fmla="*/ 23 h 21488"/>
              <a:gd name="connsiteX1" fmla="*/ 5717 w 21473"/>
              <a:gd name="connsiteY1" fmla="*/ 1085 h 21488"/>
              <a:gd name="connsiteX2" fmla="*/ 1234 w 21473"/>
              <a:gd name="connsiteY2" fmla="*/ 5155 h 21488"/>
              <a:gd name="connsiteX3" fmla="*/ 50 w 21473"/>
              <a:gd name="connsiteY3" fmla="*/ 9089 h 21488"/>
              <a:gd name="connsiteX4" fmla="*/ 367 w 21473"/>
              <a:gd name="connsiteY4" fmla="*/ 13412 h 21488"/>
              <a:gd name="connsiteX5" fmla="*/ 1961 w 21473"/>
              <a:gd name="connsiteY5" fmla="*/ 16736 h 21488"/>
              <a:gd name="connsiteX6" fmla="*/ 6196 w 21473"/>
              <a:gd name="connsiteY6" fmla="*/ 17438 h 21488"/>
              <a:gd name="connsiteX7" fmla="*/ 4711 w 21473"/>
              <a:gd name="connsiteY7" fmla="*/ 20041 h 21488"/>
              <a:gd name="connsiteX8" fmla="*/ 7376 w 21473"/>
              <a:gd name="connsiteY8" fmla="*/ 21174 h 21488"/>
              <a:gd name="connsiteX9" fmla="*/ 10206 w 21473"/>
              <a:gd name="connsiteY9" fmla="*/ 21487 h 21488"/>
              <a:gd name="connsiteX10" fmla="*/ 16122 w 21473"/>
              <a:gd name="connsiteY10" fmla="*/ 19852 h 21488"/>
              <a:gd name="connsiteX11" fmla="*/ 20204 w 21473"/>
              <a:gd name="connsiteY11" fmla="*/ 15632 h 21488"/>
              <a:gd name="connsiteX12" fmla="*/ 21218 w 21473"/>
              <a:gd name="connsiteY12" fmla="*/ 12780 h 21488"/>
              <a:gd name="connsiteX13" fmla="*/ 21451 w 21473"/>
              <a:gd name="connsiteY13" fmla="*/ 9614 h 21488"/>
              <a:gd name="connsiteX14" fmla="*/ 18414 w 21473"/>
              <a:gd name="connsiteY14" fmla="*/ 2817 h 21488"/>
              <a:gd name="connsiteX15" fmla="*/ 15213 w 21473"/>
              <a:gd name="connsiteY15" fmla="*/ 859 h 21488"/>
              <a:gd name="connsiteX16" fmla="*/ 11479 w 21473"/>
              <a:gd name="connsiteY16" fmla="*/ 23 h 21488"/>
              <a:gd name="connsiteX0" fmla="*/ 11479 w 21473"/>
              <a:gd name="connsiteY0" fmla="*/ 23 h 21488"/>
              <a:gd name="connsiteX1" fmla="*/ 5717 w 21473"/>
              <a:gd name="connsiteY1" fmla="*/ 1085 h 21488"/>
              <a:gd name="connsiteX2" fmla="*/ 1234 w 21473"/>
              <a:gd name="connsiteY2" fmla="*/ 5155 h 21488"/>
              <a:gd name="connsiteX3" fmla="*/ 50 w 21473"/>
              <a:gd name="connsiteY3" fmla="*/ 9089 h 21488"/>
              <a:gd name="connsiteX4" fmla="*/ 367 w 21473"/>
              <a:gd name="connsiteY4" fmla="*/ 13412 h 21488"/>
              <a:gd name="connsiteX5" fmla="*/ 1961 w 21473"/>
              <a:gd name="connsiteY5" fmla="*/ 16736 h 21488"/>
              <a:gd name="connsiteX6" fmla="*/ 6196 w 21473"/>
              <a:gd name="connsiteY6" fmla="*/ 17438 h 21488"/>
              <a:gd name="connsiteX7" fmla="*/ 4711 w 21473"/>
              <a:gd name="connsiteY7" fmla="*/ 20041 h 21488"/>
              <a:gd name="connsiteX8" fmla="*/ 7376 w 21473"/>
              <a:gd name="connsiteY8" fmla="*/ 21174 h 21488"/>
              <a:gd name="connsiteX9" fmla="*/ 10206 w 21473"/>
              <a:gd name="connsiteY9" fmla="*/ 21487 h 21488"/>
              <a:gd name="connsiteX10" fmla="*/ 16122 w 21473"/>
              <a:gd name="connsiteY10" fmla="*/ 19852 h 21488"/>
              <a:gd name="connsiteX11" fmla="*/ 20204 w 21473"/>
              <a:gd name="connsiteY11" fmla="*/ 15632 h 21488"/>
              <a:gd name="connsiteX12" fmla="*/ 21218 w 21473"/>
              <a:gd name="connsiteY12" fmla="*/ 12780 h 21488"/>
              <a:gd name="connsiteX13" fmla="*/ 21451 w 21473"/>
              <a:gd name="connsiteY13" fmla="*/ 9614 h 21488"/>
              <a:gd name="connsiteX14" fmla="*/ 18414 w 21473"/>
              <a:gd name="connsiteY14" fmla="*/ 2817 h 21488"/>
              <a:gd name="connsiteX15" fmla="*/ 15213 w 21473"/>
              <a:gd name="connsiteY15" fmla="*/ 859 h 21488"/>
              <a:gd name="connsiteX16" fmla="*/ 11479 w 21473"/>
              <a:gd name="connsiteY16" fmla="*/ 23 h 21488"/>
              <a:gd name="connsiteX0" fmla="*/ 11479 w 21473"/>
              <a:gd name="connsiteY0" fmla="*/ 23 h 21568"/>
              <a:gd name="connsiteX1" fmla="*/ 5717 w 21473"/>
              <a:gd name="connsiteY1" fmla="*/ 1085 h 21568"/>
              <a:gd name="connsiteX2" fmla="*/ 1234 w 21473"/>
              <a:gd name="connsiteY2" fmla="*/ 5155 h 21568"/>
              <a:gd name="connsiteX3" fmla="*/ 50 w 21473"/>
              <a:gd name="connsiteY3" fmla="*/ 9089 h 21568"/>
              <a:gd name="connsiteX4" fmla="*/ 367 w 21473"/>
              <a:gd name="connsiteY4" fmla="*/ 13412 h 21568"/>
              <a:gd name="connsiteX5" fmla="*/ 1961 w 21473"/>
              <a:gd name="connsiteY5" fmla="*/ 16736 h 21568"/>
              <a:gd name="connsiteX6" fmla="*/ 6196 w 21473"/>
              <a:gd name="connsiteY6" fmla="*/ 17438 h 21568"/>
              <a:gd name="connsiteX7" fmla="*/ 8646 w 21473"/>
              <a:gd name="connsiteY7" fmla="*/ 17760 h 21568"/>
              <a:gd name="connsiteX8" fmla="*/ 7376 w 21473"/>
              <a:gd name="connsiteY8" fmla="*/ 21174 h 21568"/>
              <a:gd name="connsiteX9" fmla="*/ 10206 w 21473"/>
              <a:gd name="connsiteY9" fmla="*/ 21487 h 21568"/>
              <a:gd name="connsiteX10" fmla="*/ 16122 w 21473"/>
              <a:gd name="connsiteY10" fmla="*/ 19852 h 21568"/>
              <a:gd name="connsiteX11" fmla="*/ 20204 w 21473"/>
              <a:gd name="connsiteY11" fmla="*/ 15632 h 21568"/>
              <a:gd name="connsiteX12" fmla="*/ 21218 w 21473"/>
              <a:gd name="connsiteY12" fmla="*/ 12780 h 21568"/>
              <a:gd name="connsiteX13" fmla="*/ 21451 w 21473"/>
              <a:gd name="connsiteY13" fmla="*/ 9614 h 21568"/>
              <a:gd name="connsiteX14" fmla="*/ 18414 w 21473"/>
              <a:gd name="connsiteY14" fmla="*/ 2817 h 21568"/>
              <a:gd name="connsiteX15" fmla="*/ 15213 w 21473"/>
              <a:gd name="connsiteY15" fmla="*/ 859 h 21568"/>
              <a:gd name="connsiteX16" fmla="*/ 11479 w 21473"/>
              <a:gd name="connsiteY16" fmla="*/ 23 h 21568"/>
              <a:gd name="connsiteX0" fmla="*/ 11479 w 21473"/>
              <a:gd name="connsiteY0" fmla="*/ 23 h 21548"/>
              <a:gd name="connsiteX1" fmla="*/ 5717 w 21473"/>
              <a:gd name="connsiteY1" fmla="*/ 1085 h 21548"/>
              <a:gd name="connsiteX2" fmla="*/ 1234 w 21473"/>
              <a:gd name="connsiteY2" fmla="*/ 5155 h 21548"/>
              <a:gd name="connsiteX3" fmla="*/ 50 w 21473"/>
              <a:gd name="connsiteY3" fmla="*/ 9089 h 21548"/>
              <a:gd name="connsiteX4" fmla="*/ 367 w 21473"/>
              <a:gd name="connsiteY4" fmla="*/ 13412 h 21548"/>
              <a:gd name="connsiteX5" fmla="*/ 1961 w 21473"/>
              <a:gd name="connsiteY5" fmla="*/ 16736 h 21548"/>
              <a:gd name="connsiteX6" fmla="*/ 6196 w 21473"/>
              <a:gd name="connsiteY6" fmla="*/ 17438 h 21548"/>
              <a:gd name="connsiteX7" fmla="*/ 8646 w 21473"/>
              <a:gd name="connsiteY7" fmla="*/ 17760 h 21548"/>
              <a:gd name="connsiteX8" fmla="*/ 11014 w 21473"/>
              <a:gd name="connsiteY8" fmla="*/ 18044 h 21548"/>
              <a:gd name="connsiteX9" fmla="*/ 10206 w 21473"/>
              <a:gd name="connsiteY9" fmla="*/ 21487 h 21548"/>
              <a:gd name="connsiteX10" fmla="*/ 16122 w 21473"/>
              <a:gd name="connsiteY10" fmla="*/ 19852 h 21548"/>
              <a:gd name="connsiteX11" fmla="*/ 20204 w 21473"/>
              <a:gd name="connsiteY11" fmla="*/ 15632 h 21548"/>
              <a:gd name="connsiteX12" fmla="*/ 21218 w 21473"/>
              <a:gd name="connsiteY12" fmla="*/ 12780 h 21548"/>
              <a:gd name="connsiteX13" fmla="*/ 21451 w 21473"/>
              <a:gd name="connsiteY13" fmla="*/ 9614 h 21548"/>
              <a:gd name="connsiteX14" fmla="*/ 18414 w 21473"/>
              <a:gd name="connsiteY14" fmla="*/ 2817 h 21548"/>
              <a:gd name="connsiteX15" fmla="*/ 15213 w 21473"/>
              <a:gd name="connsiteY15" fmla="*/ 859 h 21548"/>
              <a:gd name="connsiteX16" fmla="*/ 11479 w 21473"/>
              <a:gd name="connsiteY16" fmla="*/ 23 h 21548"/>
              <a:gd name="connsiteX0" fmla="*/ 11479 w 21473"/>
              <a:gd name="connsiteY0" fmla="*/ 23 h 19865"/>
              <a:gd name="connsiteX1" fmla="*/ 5717 w 21473"/>
              <a:gd name="connsiteY1" fmla="*/ 1085 h 19865"/>
              <a:gd name="connsiteX2" fmla="*/ 1234 w 21473"/>
              <a:gd name="connsiteY2" fmla="*/ 5155 h 19865"/>
              <a:gd name="connsiteX3" fmla="*/ 50 w 21473"/>
              <a:gd name="connsiteY3" fmla="*/ 9089 h 19865"/>
              <a:gd name="connsiteX4" fmla="*/ 367 w 21473"/>
              <a:gd name="connsiteY4" fmla="*/ 13412 h 19865"/>
              <a:gd name="connsiteX5" fmla="*/ 1961 w 21473"/>
              <a:gd name="connsiteY5" fmla="*/ 16736 h 19865"/>
              <a:gd name="connsiteX6" fmla="*/ 6196 w 21473"/>
              <a:gd name="connsiteY6" fmla="*/ 17438 h 19865"/>
              <a:gd name="connsiteX7" fmla="*/ 8646 w 21473"/>
              <a:gd name="connsiteY7" fmla="*/ 17760 h 19865"/>
              <a:gd name="connsiteX8" fmla="*/ 11014 w 21473"/>
              <a:gd name="connsiteY8" fmla="*/ 18044 h 19865"/>
              <a:gd name="connsiteX9" fmla="*/ 13912 w 21473"/>
              <a:gd name="connsiteY9" fmla="*/ 17031 h 19865"/>
              <a:gd name="connsiteX10" fmla="*/ 16122 w 21473"/>
              <a:gd name="connsiteY10" fmla="*/ 19852 h 19865"/>
              <a:gd name="connsiteX11" fmla="*/ 20204 w 21473"/>
              <a:gd name="connsiteY11" fmla="*/ 15632 h 19865"/>
              <a:gd name="connsiteX12" fmla="*/ 21218 w 21473"/>
              <a:gd name="connsiteY12" fmla="*/ 12780 h 19865"/>
              <a:gd name="connsiteX13" fmla="*/ 21451 w 21473"/>
              <a:gd name="connsiteY13" fmla="*/ 9614 h 19865"/>
              <a:gd name="connsiteX14" fmla="*/ 18414 w 21473"/>
              <a:gd name="connsiteY14" fmla="*/ 2817 h 19865"/>
              <a:gd name="connsiteX15" fmla="*/ 15213 w 21473"/>
              <a:gd name="connsiteY15" fmla="*/ 859 h 19865"/>
              <a:gd name="connsiteX16" fmla="*/ 11479 w 21473"/>
              <a:gd name="connsiteY16" fmla="*/ 23 h 19865"/>
              <a:gd name="connsiteX0" fmla="*/ 11479 w 21473"/>
              <a:gd name="connsiteY0" fmla="*/ 23 h 18072"/>
              <a:gd name="connsiteX1" fmla="*/ 5717 w 21473"/>
              <a:gd name="connsiteY1" fmla="*/ 1085 h 18072"/>
              <a:gd name="connsiteX2" fmla="*/ 1234 w 21473"/>
              <a:gd name="connsiteY2" fmla="*/ 5155 h 18072"/>
              <a:gd name="connsiteX3" fmla="*/ 50 w 21473"/>
              <a:gd name="connsiteY3" fmla="*/ 9089 h 18072"/>
              <a:gd name="connsiteX4" fmla="*/ 367 w 21473"/>
              <a:gd name="connsiteY4" fmla="*/ 13412 h 18072"/>
              <a:gd name="connsiteX5" fmla="*/ 1961 w 21473"/>
              <a:gd name="connsiteY5" fmla="*/ 16736 h 18072"/>
              <a:gd name="connsiteX6" fmla="*/ 6196 w 21473"/>
              <a:gd name="connsiteY6" fmla="*/ 17438 h 18072"/>
              <a:gd name="connsiteX7" fmla="*/ 8646 w 21473"/>
              <a:gd name="connsiteY7" fmla="*/ 17760 h 18072"/>
              <a:gd name="connsiteX8" fmla="*/ 11014 w 21473"/>
              <a:gd name="connsiteY8" fmla="*/ 18044 h 18072"/>
              <a:gd name="connsiteX9" fmla="*/ 13912 w 21473"/>
              <a:gd name="connsiteY9" fmla="*/ 17031 h 18072"/>
              <a:gd name="connsiteX10" fmla="*/ 15619 w 21473"/>
              <a:gd name="connsiteY10" fmla="*/ 16855 h 18072"/>
              <a:gd name="connsiteX11" fmla="*/ 20204 w 21473"/>
              <a:gd name="connsiteY11" fmla="*/ 15632 h 18072"/>
              <a:gd name="connsiteX12" fmla="*/ 21218 w 21473"/>
              <a:gd name="connsiteY12" fmla="*/ 12780 h 18072"/>
              <a:gd name="connsiteX13" fmla="*/ 21451 w 21473"/>
              <a:gd name="connsiteY13" fmla="*/ 9614 h 18072"/>
              <a:gd name="connsiteX14" fmla="*/ 18414 w 21473"/>
              <a:gd name="connsiteY14" fmla="*/ 2817 h 18072"/>
              <a:gd name="connsiteX15" fmla="*/ 15213 w 21473"/>
              <a:gd name="connsiteY15" fmla="*/ 859 h 18072"/>
              <a:gd name="connsiteX16" fmla="*/ 11479 w 21473"/>
              <a:gd name="connsiteY16" fmla="*/ 23 h 18072"/>
              <a:gd name="connsiteX0" fmla="*/ 11479 w 21630"/>
              <a:gd name="connsiteY0" fmla="*/ 23 h 18072"/>
              <a:gd name="connsiteX1" fmla="*/ 5717 w 21630"/>
              <a:gd name="connsiteY1" fmla="*/ 1085 h 18072"/>
              <a:gd name="connsiteX2" fmla="*/ 1234 w 21630"/>
              <a:gd name="connsiteY2" fmla="*/ 5155 h 18072"/>
              <a:gd name="connsiteX3" fmla="*/ 50 w 21630"/>
              <a:gd name="connsiteY3" fmla="*/ 9089 h 18072"/>
              <a:gd name="connsiteX4" fmla="*/ 367 w 21630"/>
              <a:gd name="connsiteY4" fmla="*/ 13412 h 18072"/>
              <a:gd name="connsiteX5" fmla="*/ 1961 w 21630"/>
              <a:gd name="connsiteY5" fmla="*/ 16736 h 18072"/>
              <a:gd name="connsiteX6" fmla="*/ 6196 w 21630"/>
              <a:gd name="connsiteY6" fmla="*/ 17438 h 18072"/>
              <a:gd name="connsiteX7" fmla="*/ 8646 w 21630"/>
              <a:gd name="connsiteY7" fmla="*/ 17760 h 18072"/>
              <a:gd name="connsiteX8" fmla="*/ 11014 w 21630"/>
              <a:gd name="connsiteY8" fmla="*/ 18044 h 18072"/>
              <a:gd name="connsiteX9" fmla="*/ 13912 w 21630"/>
              <a:gd name="connsiteY9" fmla="*/ 17031 h 18072"/>
              <a:gd name="connsiteX10" fmla="*/ 15619 w 21630"/>
              <a:gd name="connsiteY10" fmla="*/ 16855 h 18072"/>
              <a:gd name="connsiteX11" fmla="*/ 17184 w 21630"/>
              <a:gd name="connsiteY11" fmla="*/ 14677 h 18072"/>
              <a:gd name="connsiteX12" fmla="*/ 21218 w 21630"/>
              <a:gd name="connsiteY12" fmla="*/ 12780 h 18072"/>
              <a:gd name="connsiteX13" fmla="*/ 21451 w 21630"/>
              <a:gd name="connsiteY13" fmla="*/ 9614 h 18072"/>
              <a:gd name="connsiteX14" fmla="*/ 18414 w 21630"/>
              <a:gd name="connsiteY14" fmla="*/ 2817 h 18072"/>
              <a:gd name="connsiteX15" fmla="*/ 15213 w 21630"/>
              <a:gd name="connsiteY15" fmla="*/ 859 h 18072"/>
              <a:gd name="connsiteX16" fmla="*/ 11479 w 21630"/>
              <a:gd name="connsiteY16" fmla="*/ 23 h 18072"/>
              <a:gd name="connsiteX0" fmla="*/ 11479 w 21511"/>
              <a:gd name="connsiteY0" fmla="*/ 23 h 18072"/>
              <a:gd name="connsiteX1" fmla="*/ 5717 w 21511"/>
              <a:gd name="connsiteY1" fmla="*/ 1085 h 18072"/>
              <a:gd name="connsiteX2" fmla="*/ 1234 w 21511"/>
              <a:gd name="connsiteY2" fmla="*/ 5155 h 18072"/>
              <a:gd name="connsiteX3" fmla="*/ 50 w 21511"/>
              <a:gd name="connsiteY3" fmla="*/ 9089 h 18072"/>
              <a:gd name="connsiteX4" fmla="*/ 367 w 21511"/>
              <a:gd name="connsiteY4" fmla="*/ 13412 h 18072"/>
              <a:gd name="connsiteX5" fmla="*/ 1961 w 21511"/>
              <a:gd name="connsiteY5" fmla="*/ 16736 h 18072"/>
              <a:gd name="connsiteX6" fmla="*/ 6196 w 21511"/>
              <a:gd name="connsiteY6" fmla="*/ 17438 h 18072"/>
              <a:gd name="connsiteX7" fmla="*/ 8646 w 21511"/>
              <a:gd name="connsiteY7" fmla="*/ 17760 h 18072"/>
              <a:gd name="connsiteX8" fmla="*/ 11014 w 21511"/>
              <a:gd name="connsiteY8" fmla="*/ 18044 h 18072"/>
              <a:gd name="connsiteX9" fmla="*/ 13912 w 21511"/>
              <a:gd name="connsiteY9" fmla="*/ 17031 h 18072"/>
              <a:gd name="connsiteX10" fmla="*/ 15619 w 21511"/>
              <a:gd name="connsiteY10" fmla="*/ 16855 h 18072"/>
              <a:gd name="connsiteX11" fmla="*/ 19106 w 21511"/>
              <a:gd name="connsiteY11" fmla="*/ 15924 h 18072"/>
              <a:gd name="connsiteX12" fmla="*/ 21218 w 21511"/>
              <a:gd name="connsiteY12" fmla="*/ 12780 h 18072"/>
              <a:gd name="connsiteX13" fmla="*/ 21451 w 21511"/>
              <a:gd name="connsiteY13" fmla="*/ 9614 h 18072"/>
              <a:gd name="connsiteX14" fmla="*/ 18414 w 21511"/>
              <a:gd name="connsiteY14" fmla="*/ 2817 h 18072"/>
              <a:gd name="connsiteX15" fmla="*/ 15213 w 21511"/>
              <a:gd name="connsiteY15" fmla="*/ 859 h 18072"/>
              <a:gd name="connsiteX16" fmla="*/ 11479 w 21511"/>
              <a:gd name="connsiteY16" fmla="*/ 23 h 18072"/>
              <a:gd name="connsiteX0" fmla="*/ 11479 w 21511"/>
              <a:gd name="connsiteY0" fmla="*/ 23 h 18072"/>
              <a:gd name="connsiteX1" fmla="*/ 5717 w 21511"/>
              <a:gd name="connsiteY1" fmla="*/ 1085 h 18072"/>
              <a:gd name="connsiteX2" fmla="*/ 1234 w 21511"/>
              <a:gd name="connsiteY2" fmla="*/ 5155 h 18072"/>
              <a:gd name="connsiteX3" fmla="*/ 50 w 21511"/>
              <a:gd name="connsiteY3" fmla="*/ 9089 h 18072"/>
              <a:gd name="connsiteX4" fmla="*/ 367 w 21511"/>
              <a:gd name="connsiteY4" fmla="*/ 13412 h 18072"/>
              <a:gd name="connsiteX5" fmla="*/ 1961 w 21511"/>
              <a:gd name="connsiteY5" fmla="*/ 16736 h 18072"/>
              <a:gd name="connsiteX6" fmla="*/ 6196 w 21511"/>
              <a:gd name="connsiteY6" fmla="*/ 17438 h 18072"/>
              <a:gd name="connsiteX7" fmla="*/ 8646 w 21511"/>
              <a:gd name="connsiteY7" fmla="*/ 17760 h 18072"/>
              <a:gd name="connsiteX8" fmla="*/ 11014 w 21511"/>
              <a:gd name="connsiteY8" fmla="*/ 18044 h 18072"/>
              <a:gd name="connsiteX9" fmla="*/ 13912 w 21511"/>
              <a:gd name="connsiteY9" fmla="*/ 17031 h 18072"/>
              <a:gd name="connsiteX10" fmla="*/ 15619 w 21511"/>
              <a:gd name="connsiteY10" fmla="*/ 16855 h 18072"/>
              <a:gd name="connsiteX11" fmla="*/ 19106 w 21511"/>
              <a:gd name="connsiteY11" fmla="*/ 15924 h 18072"/>
              <a:gd name="connsiteX12" fmla="*/ 21218 w 21511"/>
              <a:gd name="connsiteY12" fmla="*/ 12780 h 18072"/>
              <a:gd name="connsiteX13" fmla="*/ 21451 w 21511"/>
              <a:gd name="connsiteY13" fmla="*/ 9614 h 18072"/>
              <a:gd name="connsiteX14" fmla="*/ 18414 w 21511"/>
              <a:gd name="connsiteY14" fmla="*/ 2817 h 18072"/>
              <a:gd name="connsiteX15" fmla="*/ 15213 w 21511"/>
              <a:gd name="connsiteY15" fmla="*/ 859 h 18072"/>
              <a:gd name="connsiteX16" fmla="*/ 11479 w 21511"/>
              <a:gd name="connsiteY16" fmla="*/ 23 h 18072"/>
              <a:gd name="connsiteX0" fmla="*/ 11479 w 21511"/>
              <a:gd name="connsiteY0" fmla="*/ 23 h 18072"/>
              <a:gd name="connsiteX1" fmla="*/ 5717 w 21511"/>
              <a:gd name="connsiteY1" fmla="*/ 1085 h 18072"/>
              <a:gd name="connsiteX2" fmla="*/ 1234 w 21511"/>
              <a:gd name="connsiteY2" fmla="*/ 5155 h 18072"/>
              <a:gd name="connsiteX3" fmla="*/ 50 w 21511"/>
              <a:gd name="connsiteY3" fmla="*/ 9089 h 18072"/>
              <a:gd name="connsiteX4" fmla="*/ 367 w 21511"/>
              <a:gd name="connsiteY4" fmla="*/ 13412 h 18072"/>
              <a:gd name="connsiteX5" fmla="*/ 1961 w 21511"/>
              <a:gd name="connsiteY5" fmla="*/ 16736 h 18072"/>
              <a:gd name="connsiteX6" fmla="*/ 6196 w 21511"/>
              <a:gd name="connsiteY6" fmla="*/ 17438 h 18072"/>
              <a:gd name="connsiteX7" fmla="*/ 8646 w 21511"/>
              <a:gd name="connsiteY7" fmla="*/ 17760 h 18072"/>
              <a:gd name="connsiteX8" fmla="*/ 11014 w 21511"/>
              <a:gd name="connsiteY8" fmla="*/ 18044 h 18072"/>
              <a:gd name="connsiteX9" fmla="*/ 13912 w 21511"/>
              <a:gd name="connsiteY9" fmla="*/ 17031 h 18072"/>
              <a:gd name="connsiteX10" fmla="*/ 15619 w 21511"/>
              <a:gd name="connsiteY10" fmla="*/ 16855 h 18072"/>
              <a:gd name="connsiteX11" fmla="*/ 19106 w 21511"/>
              <a:gd name="connsiteY11" fmla="*/ 15924 h 18072"/>
              <a:gd name="connsiteX12" fmla="*/ 21218 w 21511"/>
              <a:gd name="connsiteY12" fmla="*/ 12780 h 18072"/>
              <a:gd name="connsiteX13" fmla="*/ 21451 w 21511"/>
              <a:gd name="connsiteY13" fmla="*/ 9614 h 18072"/>
              <a:gd name="connsiteX14" fmla="*/ 18414 w 21511"/>
              <a:gd name="connsiteY14" fmla="*/ 2817 h 18072"/>
              <a:gd name="connsiteX15" fmla="*/ 15213 w 21511"/>
              <a:gd name="connsiteY15" fmla="*/ 859 h 18072"/>
              <a:gd name="connsiteX16" fmla="*/ 11479 w 21511"/>
              <a:gd name="connsiteY16" fmla="*/ 23 h 18072"/>
              <a:gd name="connsiteX0" fmla="*/ 11479 w 21247"/>
              <a:gd name="connsiteY0" fmla="*/ 23 h 18072"/>
              <a:gd name="connsiteX1" fmla="*/ 5717 w 21247"/>
              <a:gd name="connsiteY1" fmla="*/ 1085 h 18072"/>
              <a:gd name="connsiteX2" fmla="*/ 1234 w 21247"/>
              <a:gd name="connsiteY2" fmla="*/ 5155 h 18072"/>
              <a:gd name="connsiteX3" fmla="*/ 50 w 21247"/>
              <a:gd name="connsiteY3" fmla="*/ 9089 h 18072"/>
              <a:gd name="connsiteX4" fmla="*/ 367 w 21247"/>
              <a:gd name="connsiteY4" fmla="*/ 13412 h 18072"/>
              <a:gd name="connsiteX5" fmla="*/ 1961 w 21247"/>
              <a:gd name="connsiteY5" fmla="*/ 16736 h 18072"/>
              <a:gd name="connsiteX6" fmla="*/ 6196 w 21247"/>
              <a:gd name="connsiteY6" fmla="*/ 17438 h 18072"/>
              <a:gd name="connsiteX7" fmla="*/ 8646 w 21247"/>
              <a:gd name="connsiteY7" fmla="*/ 17760 h 18072"/>
              <a:gd name="connsiteX8" fmla="*/ 11014 w 21247"/>
              <a:gd name="connsiteY8" fmla="*/ 18044 h 18072"/>
              <a:gd name="connsiteX9" fmla="*/ 13912 w 21247"/>
              <a:gd name="connsiteY9" fmla="*/ 17031 h 18072"/>
              <a:gd name="connsiteX10" fmla="*/ 15619 w 21247"/>
              <a:gd name="connsiteY10" fmla="*/ 16855 h 18072"/>
              <a:gd name="connsiteX11" fmla="*/ 19106 w 21247"/>
              <a:gd name="connsiteY11" fmla="*/ 15924 h 18072"/>
              <a:gd name="connsiteX12" fmla="*/ 21218 w 21247"/>
              <a:gd name="connsiteY12" fmla="*/ 12780 h 18072"/>
              <a:gd name="connsiteX13" fmla="*/ 20376 w 21247"/>
              <a:gd name="connsiteY13" fmla="*/ 9534 h 18072"/>
              <a:gd name="connsiteX14" fmla="*/ 18414 w 21247"/>
              <a:gd name="connsiteY14" fmla="*/ 2817 h 18072"/>
              <a:gd name="connsiteX15" fmla="*/ 15213 w 21247"/>
              <a:gd name="connsiteY15" fmla="*/ 859 h 18072"/>
              <a:gd name="connsiteX16" fmla="*/ 11479 w 21247"/>
              <a:gd name="connsiteY16" fmla="*/ 23 h 18072"/>
              <a:gd name="connsiteX0" fmla="*/ 11479 w 21247"/>
              <a:gd name="connsiteY0" fmla="*/ 23 h 18072"/>
              <a:gd name="connsiteX1" fmla="*/ 5717 w 21247"/>
              <a:gd name="connsiteY1" fmla="*/ 1085 h 18072"/>
              <a:gd name="connsiteX2" fmla="*/ 1234 w 21247"/>
              <a:gd name="connsiteY2" fmla="*/ 5155 h 18072"/>
              <a:gd name="connsiteX3" fmla="*/ 50 w 21247"/>
              <a:gd name="connsiteY3" fmla="*/ 9089 h 18072"/>
              <a:gd name="connsiteX4" fmla="*/ 367 w 21247"/>
              <a:gd name="connsiteY4" fmla="*/ 13412 h 18072"/>
              <a:gd name="connsiteX5" fmla="*/ 1961 w 21247"/>
              <a:gd name="connsiteY5" fmla="*/ 16736 h 18072"/>
              <a:gd name="connsiteX6" fmla="*/ 6196 w 21247"/>
              <a:gd name="connsiteY6" fmla="*/ 17438 h 18072"/>
              <a:gd name="connsiteX7" fmla="*/ 8646 w 21247"/>
              <a:gd name="connsiteY7" fmla="*/ 17760 h 18072"/>
              <a:gd name="connsiteX8" fmla="*/ 11014 w 21247"/>
              <a:gd name="connsiteY8" fmla="*/ 18044 h 18072"/>
              <a:gd name="connsiteX9" fmla="*/ 13912 w 21247"/>
              <a:gd name="connsiteY9" fmla="*/ 17031 h 18072"/>
              <a:gd name="connsiteX10" fmla="*/ 15619 w 21247"/>
              <a:gd name="connsiteY10" fmla="*/ 16855 h 18072"/>
              <a:gd name="connsiteX11" fmla="*/ 19106 w 21247"/>
              <a:gd name="connsiteY11" fmla="*/ 15924 h 18072"/>
              <a:gd name="connsiteX12" fmla="*/ 21218 w 21247"/>
              <a:gd name="connsiteY12" fmla="*/ 12780 h 18072"/>
              <a:gd name="connsiteX13" fmla="*/ 20376 w 21247"/>
              <a:gd name="connsiteY13" fmla="*/ 9534 h 18072"/>
              <a:gd name="connsiteX14" fmla="*/ 18414 w 21247"/>
              <a:gd name="connsiteY14" fmla="*/ 2817 h 18072"/>
              <a:gd name="connsiteX15" fmla="*/ 15213 w 21247"/>
              <a:gd name="connsiteY15" fmla="*/ 859 h 18072"/>
              <a:gd name="connsiteX16" fmla="*/ 11479 w 21247"/>
              <a:gd name="connsiteY16" fmla="*/ 23 h 18072"/>
              <a:gd name="connsiteX0" fmla="*/ 11479 w 21218"/>
              <a:gd name="connsiteY0" fmla="*/ 23 h 18072"/>
              <a:gd name="connsiteX1" fmla="*/ 5717 w 21218"/>
              <a:gd name="connsiteY1" fmla="*/ 1085 h 18072"/>
              <a:gd name="connsiteX2" fmla="*/ 1234 w 21218"/>
              <a:gd name="connsiteY2" fmla="*/ 5155 h 18072"/>
              <a:gd name="connsiteX3" fmla="*/ 50 w 21218"/>
              <a:gd name="connsiteY3" fmla="*/ 9089 h 18072"/>
              <a:gd name="connsiteX4" fmla="*/ 367 w 21218"/>
              <a:gd name="connsiteY4" fmla="*/ 13412 h 18072"/>
              <a:gd name="connsiteX5" fmla="*/ 1961 w 21218"/>
              <a:gd name="connsiteY5" fmla="*/ 16736 h 18072"/>
              <a:gd name="connsiteX6" fmla="*/ 6196 w 21218"/>
              <a:gd name="connsiteY6" fmla="*/ 17438 h 18072"/>
              <a:gd name="connsiteX7" fmla="*/ 8646 w 21218"/>
              <a:gd name="connsiteY7" fmla="*/ 17760 h 18072"/>
              <a:gd name="connsiteX8" fmla="*/ 11014 w 21218"/>
              <a:gd name="connsiteY8" fmla="*/ 18044 h 18072"/>
              <a:gd name="connsiteX9" fmla="*/ 13912 w 21218"/>
              <a:gd name="connsiteY9" fmla="*/ 17031 h 18072"/>
              <a:gd name="connsiteX10" fmla="*/ 15619 w 21218"/>
              <a:gd name="connsiteY10" fmla="*/ 16855 h 18072"/>
              <a:gd name="connsiteX11" fmla="*/ 19106 w 21218"/>
              <a:gd name="connsiteY11" fmla="*/ 15924 h 18072"/>
              <a:gd name="connsiteX12" fmla="*/ 21218 w 21218"/>
              <a:gd name="connsiteY12" fmla="*/ 12780 h 18072"/>
              <a:gd name="connsiteX13" fmla="*/ 19095 w 21218"/>
              <a:gd name="connsiteY13" fmla="*/ 5582 h 18072"/>
              <a:gd name="connsiteX14" fmla="*/ 18414 w 21218"/>
              <a:gd name="connsiteY14" fmla="*/ 2817 h 18072"/>
              <a:gd name="connsiteX15" fmla="*/ 15213 w 21218"/>
              <a:gd name="connsiteY15" fmla="*/ 859 h 18072"/>
              <a:gd name="connsiteX16" fmla="*/ 11479 w 21218"/>
              <a:gd name="connsiteY16" fmla="*/ 23 h 18072"/>
              <a:gd name="connsiteX0" fmla="*/ 11479 w 21218"/>
              <a:gd name="connsiteY0" fmla="*/ 23 h 18072"/>
              <a:gd name="connsiteX1" fmla="*/ 5717 w 21218"/>
              <a:gd name="connsiteY1" fmla="*/ 1085 h 18072"/>
              <a:gd name="connsiteX2" fmla="*/ 1234 w 21218"/>
              <a:gd name="connsiteY2" fmla="*/ 5155 h 18072"/>
              <a:gd name="connsiteX3" fmla="*/ 50 w 21218"/>
              <a:gd name="connsiteY3" fmla="*/ 9089 h 18072"/>
              <a:gd name="connsiteX4" fmla="*/ 367 w 21218"/>
              <a:gd name="connsiteY4" fmla="*/ 13412 h 18072"/>
              <a:gd name="connsiteX5" fmla="*/ 1961 w 21218"/>
              <a:gd name="connsiteY5" fmla="*/ 16736 h 18072"/>
              <a:gd name="connsiteX6" fmla="*/ 6196 w 21218"/>
              <a:gd name="connsiteY6" fmla="*/ 17438 h 18072"/>
              <a:gd name="connsiteX7" fmla="*/ 8646 w 21218"/>
              <a:gd name="connsiteY7" fmla="*/ 17760 h 18072"/>
              <a:gd name="connsiteX8" fmla="*/ 11014 w 21218"/>
              <a:gd name="connsiteY8" fmla="*/ 18044 h 18072"/>
              <a:gd name="connsiteX9" fmla="*/ 13912 w 21218"/>
              <a:gd name="connsiteY9" fmla="*/ 17031 h 18072"/>
              <a:gd name="connsiteX10" fmla="*/ 15619 w 21218"/>
              <a:gd name="connsiteY10" fmla="*/ 16855 h 18072"/>
              <a:gd name="connsiteX11" fmla="*/ 19106 w 21218"/>
              <a:gd name="connsiteY11" fmla="*/ 15924 h 18072"/>
              <a:gd name="connsiteX12" fmla="*/ 21218 w 21218"/>
              <a:gd name="connsiteY12" fmla="*/ 12780 h 18072"/>
              <a:gd name="connsiteX13" fmla="*/ 19095 w 21218"/>
              <a:gd name="connsiteY13" fmla="*/ 5582 h 18072"/>
              <a:gd name="connsiteX14" fmla="*/ 18414 w 21218"/>
              <a:gd name="connsiteY14" fmla="*/ 2817 h 18072"/>
              <a:gd name="connsiteX15" fmla="*/ 15213 w 21218"/>
              <a:gd name="connsiteY15" fmla="*/ 859 h 18072"/>
              <a:gd name="connsiteX16" fmla="*/ 11479 w 21218"/>
              <a:gd name="connsiteY16" fmla="*/ 23 h 18072"/>
              <a:gd name="connsiteX0" fmla="*/ 11479 w 21218"/>
              <a:gd name="connsiteY0" fmla="*/ 23 h 18072"/>
              <a:gd name="connsiteX1" fmla="*/ 5717 w 21218"/>
              <a:gd name="connsiteY1" fmla="*/ 1085 h 18072"/>
              <a:gd name="connsiteX2" fmla="*/ 1234 w 21218"/>
              <a:gd name="connsiteY2" fmla="*/ 5155 h 18072"/>
              <a:gd name="connsiteX3" fmla="*/ 50 w 21218"/>
              <a:gd name="connsiteY3" fmla="*/ 9089 h 18072"/>
              <a:gd name="connsiteX4" fmla="*/ 367 w 21218"/>
              <a:gd name="connsiteY4" fmla="*/ 13412 h 18072"/>
              <a:gd name="connsiteX5" fmla="*/ 1961 w 21218"/>
              <a:gd name="connsiteY5" fmla="*/ 16736 h 18072"/>
              <a:gd name="connsiteX6" fmla="*/ 6196 w 21218"/>
              <a:gd name="connsiteY6" fmla="*/ 17438 h 18072"/>
              <a:gd name="connsiteX7" fmla="*/ 8646 w 21218"/>
              <a:gd name="connsiteY7" fmla="*/ 17760 h 18072"/>
              <a:gd name="connsiteX8" fmla="*/ 11014 w 21218"/>
              <a:gd name="connsiteY8" fmla="*/ 18044 h 18072"/>
              <a:gd name="connsiteX9" fmla="*/ 13912 w 21218"/>
              <a:gd name="connsiteY9" fmla="*/ 17031 h 18072"/>
              <a:gd name="connsiteX10" fmla="*/ 15619 w 21218"/>
              <a:gd name="connsiteY10" fmla="*/ 16855 h 18072"/>
              <a:gd name="connsiteX11" fmla="*/ 19106 w 21218"/>
              <a:gd name="connsiteY11" fmla="*/ 15924 h 18072"/>
              <a:gd name="connsiteX12" fmla="*/ 21218 w 21218"/>
              <a:gd name="connsiteY12" fmla="*/ 12780 h 18072"/>
              <a:gd name="connsiteX13" fmla="*/ 19095 w 21218"/>
              <a:gd name="connsiteY13" fmla="*/ 5582 h 18072"/>
              <a:gd name="connsiteX14" fmla="*/ 18414 w 21218"/>
              <a:gd name="connsiteY14" fmla="*/ 2817 h 18072"/>
              <a:gd name="connsiteX15" fmla="*/ 15213 w 21218"/>
              <a:gd name="connsiteY15" fmla="*/ 859 h 18072"/>
              <a:gd name="connsiteX16" fmla="*/ 11479 w 21218"/>
              <a:gd name="connsiteY16" fmla="*/ 23 h 18072"/>
              <a:gd name="connsiteX0" fmla="*/ 11479 w 21218"/>
              <a:gd name="connsiteY0" fmla="*/ 23 h 18072"/>
              <a:gd name="connsiteX1" fmla="*/ 5717 w 21218"/>
              <a:gd name="connsiteY1" fmla="*/ 1085 h 18072"/>
              <a:gd name="connsiteX2" fmla="*/ 1234 w 21218"/>
              <a:gd name="connsiteY2" fmla="*/ 5155 h 18072"/>
              <a:gd name="connsiteX3" fmla="*/ 50 w 21218"/>
              <a:gd name="connsiteY3" fmla="*/ 9089 h 18072"/>
              <a:gd name="connsiteX4" fmla="*/ 367 w 21218"/>
              <a:gd name="connsiteY4" fmla="*/ 13412 h 18072"/>
              <a:gd name="connsiteX5" fmla="*/ 1961 w 21218"/>
              <a:gd name="connsiteY5" fmla="*/ 16736 h 18072"/>
              <a:gd name="connsiteX6" fmla="*/ 6196 w 21218"/>
              <a:gd name="connsiteY6" fmla="*/ 17438 h 18072"/>
              <a:gd name="connsiteX7" fmla="*/ 8646 w 21218"/>
              <a:gd name="connsiteY7" fmla="*/ 17760 h 18072"/>
              <a:gd name="connsiteX8" fmla="*/ 11014 w 21218"/>
              <a:gd name="connsiteY8" fmla="*/ 18044 h 18072"/>
              <a:gd name="connsiteX9" fmla="*/ 13912 w 21218"/>
              <a:gd name="connsiteY9" fmla="*/ 17031 h 18072"/>
              <a:gd name="connsiteX10" fmla="*/ 15619 w 21218"/>
              <a:gd name="connsiteY10" fmla="*/ 16855 h 18072"/>
              <a:gd name="connsiteX11" fmla="*/ 19106 w 21218"/>
              <a:gd name="connsiteY11" fmla="*/ 15924 h 18072"/>
              <a:gd name="connsiteX12" fmla="*/ 21218 w 21218"/>
              <a:gd name="connsiteY12" fmla="*/ 12780 h 18072"/>
              <a:gd name="connsiteX13" fmla="*/ 19095 w 21218"/>
              <a:gd name="connsiteY13" fmla="*/ 5582 h 18072"/>
              <a:gd name="connsiteX14" fmla="*/ 18414 w 21218"/>
              <a:gd name="connsiteY14" fmla="*/ 2817 h 18072"/>
              <a:gd name="connsiteX15" fmla="*/ 15213 w 21218"/>
              <a:gd name="connsiteY15" fmla="*/ 859 h 18072"/>
              <a:gd name="connsiteX16" fmla="*/ 11479 w 21218"/>
              <a:gd name="connsiteY16" fmla="*/ 23 h 18072"/>
              <a:gd name="connsiteX0" fmla="*/ 11479 w 21218"/>
              <a:gd name="connsiteY0" fmla="*/ 23 h 18072"/>
              <a:gd name="connsiteX1" fmla="*/ 5717 w 21218"/>
              <a:gd name="connsiteY1" fmla="*/ 1085 h 18072"/>
              <a:gd name="connsiteX2" fmla="*/ 1234 w 21218"/>
              <a:gd name="connsiteY2" fmla="*/ 5155 h 18072"/>
              <a:gd name="connsiteX3" fmla="*/ 50 w 21218"/>
              <a:gd name="connsiteY3" fmla="*/ 9089 h 18072"/>
              <a:gd name="connsiteX4" fmla="*/ 367 w 21218"/>
              <a:gd name="connsiteY4" fmla="*/ 13412 h 18072"/>
              <a:gd name="connsiteX5" fmla="*/ 1961 w 21218"/>
              <a:gd name="connsiteY5" fmla="*/ 16736 h 18072"/>
              <a:gd name="connsiteX6" fmla="*/ 6196 w 21218"/>
              <a:gd name="connsiteY6" fmla="*/ 17438 h 18072"/>
              <a:gd name="connsiteX7" fmla="*/ 8646 w 21218"/>
              <a:gd name="connsiteY7" fmla="*/ 17760 h 18072"/>
              <a:gd name="connsiteX8" fmla="*/ 11014 w 21218"/>
              <a:gd name="connsiteY8" fmla="*/ 18044 h 18072"/>
              <a:gd name="connsiteX9" fmla="*/ 13912 w 21218"/>
              <a:gd name="connsiteY9" fmla="*/ 17031 h 18072"/>
              <a:gd name="connsiteX10" fmla="*/ 15619 w 21218"/>
              <a:gd name="connsiteY10" fmla="*/ 16855 h 18072"/>
              <a:gd name="connsiteX11" fmla="*/ 19106 w 21218"/>
              <a:gd name="connsiteY11" fmla="*/ 15924 h 18072"/>
              <a:gd name="connsiteX12" fmla="*/ 21218 w 21218"/>
              <a:gd name="connsiteY12" fmla="*/ 12780 h 18072"/>
              <a:gd name="connsiteX13" fmla="*/ 19095 w 21218"/>
              <a:gd name="connsiteY13" fmla="*/ 5582 h 18072"/>
              <a:gd name="connsiteX14" fmla="*/ 18414 w 21218"/>
              <a:gd name="connsiteY14" fmla="*/ 2817 h 18072"/>
              <a:gd name="connsiteX15" fmla="*/ 15213 w 21218"/>
              <a:gd name="connsiteY15" fmla="*/ 859 h 18072"/>
              <a:gd name="connsiteX16" fmla="*/ 11479 w 21218"/>
              <a:gd name="connsiteY16" fmla="*/ 23 h 18072"/>
              <a:gd name="connsiteX0" fmla="*/ 11479 w 21218"/>
              <a:gd name="connsiteY0" fmla="*/ 23 h 18072"/>
              <a:gd name="connsiteX1" fmla="*/ 5717 w 21218"/>
              <a:gd name="connsiteY1" fmla="*/ 1085 h 18072"/>
              <a:gd name="connsiteX2" fmla="*/ 1234 w 21218"/>
              <a:gd name="connsiteY2" fmla="*/ 5155 h 18072"/>
              <a:gd name="connsiteX3" fmla="*/ 50 w 21218"/>
              <a:gd name="connsiteY3" fmla="*/ 9089 h 18072"/>
              <a:gd name="connsiteX4" fmla="*/ 367 w 21218"/>
              <a:gd name="connsiteY4" fmla="*/ 13412 h 18072"/>
              <a:gd name="connsiteX5" fmla="*/ 1961 w 21218"/>
              <a:gd name="connsiteY5" fmla="*/ 16736 h 18072"/>
              <a:gd name="connsiteX6" fmla="*/ 6196 w 21218"/>
              <a:gd name="connsiteY6" fmla="*/ 17438 h 18072"/>
              <a:gd name="connsiteX7" fmla="*/ 8646 w 21218"/>
              <a:gd name="connsiteY7" fmla="*/ 17760 h 18072"/>
              <a:gd name="connsiteX8" fmla="*/ 11014 w 21218"/>
              <a:gd name="connsiteY8" fmla="*/ 18044 h 18072"/>
              <a:gd name="connsiteX9" fmla="*/ 13912 w 21218"/>
              <a:gd name="connsiteY9" fmla="*/ 17031 h 18072"/>
              <a:gd name="connsiteX10" fmla="*/ 15619 w 21218"/>
              <a:gd name="connsiteY10" fmla="*/ 16855 h 18072"/>
              <a:gd name="connsiteX11" fmla="*/ 19106 w 21218"/>
              <a:gd name="connsiteY11" fmla="*/ 15924 h 18072"/>
              <a:gd name="connsiteX12" fmla="*/ 21218 w 21218"/>
              <a:gd name="connsiteY12" fmla="*/ 12780 h 18072"/>
              <a:gd name="connsiteX13" fmla="*/ 19095 w 21218"/>
              <a:gd name="connsiteY13" fmla="*/ 5582 h 18072"/>
              <a:gd name="connsiteX14" fmla="*/ 18414 w 21218"/>
              <a:gd name="connsiteY14" fmla="*/ 2817 h 18072"/>
              <a:gd name="connsiteX15" fmla="*/ 15213 w 21218"/>
              <a:gd name="connsiteY15" fmla="*/ 859 h 18072"/>
              <a:gd name="connsiteX16" fmla="*/ 11479 w 21218"/>
              <a:gd name="connsiteY16" fmla="*/ 23 h 18072"/>
              <a:gd name="connsiteX0" fmla="*/ 11479 w 19615"/>
              <a:gd name="connsiteY0" fmla="*/ 23 h 18072"/>
              <a:gd name="connsiteX1" fmla="*/ 5717 w 19615"/>
              <a:gd name="connsiteY1" fmla="*/ 1085 h 18072"/>
              <a:gd name="connsiteX2" fmla="*/ 1234 w 19615"/>
              <a:gd name="connsiteY2" fmla="*/ 5155 h 18072"/>
              <a:gd name="connsiteX3" fmla="*/ 50 w 19615"/>
              <a:gd name="connsiteY3" fmla="*/ 9089 h 18072"/>
              <a:gd name="connsiteX4" fmla="*/ 367 w 19615"/>
              <a:gd name="connsiteY4" fmla="*/ 13412 h 18072"/>
              <a:gd name="connsiteX5" fmla="*/ 1961 w 19615"/>
              <a:gd name="connsiteY5" fmla="*/ 16736 h 18072"/>
              <a:gd name="connsiteX6" fmla="*/ 6196 w 19615"/>
              <a:gd name="connsiteY6" fmla="*/ 17438 h 18072"/>
              <a:gd name="connsiteX7" fmla="*/ 8646 w 19615"/>
              <a:gd name="connsiteY7" fmla="*/ 17760 h 18072"/>
              <a:gd name="connsiteX8" fmla="*/ 11014 w 19615"/>
              <a:gd name="connsiteY8" fmla="*/ 18044 h 18072"/>
              <a:gd name="connsiteX9" fmla="*/ 13912 w 19615"/>
              <a:gd name="connsiteY9" fmla="*/ 17031 h 18072"/>
              <a:gd name="connsiteX10" fmla="*/ 15619 w 19615"/>
              <a:gd name="connsiteY10" fmla="*/ 16855 h 18072"/>
              <a:gd name="connsiteX11" fmla="*/ 19106 w 19615"/>
              <a:gd name="connsiteY11" fmla="*/ 15924 h 18072"/>
              <a:gd name="connsiteX12" fmla="*/ 19594 w 19615"/>
              <a:gd name="connsiteY12" fmla="*/ 10685 h 18072"/>
              <a:gd name="connsiteX13" fmla="*/ 19095 w 19615"/>
              <a:gd name="connsiteY13" fmla="*/ 5582 h 18072"/>
              <a:gd name="connsiteX14" fmla="*/ 18414 w 19615"/>
              <a:gd name="connsiteY14" fmla="*/ 2817 h 18072"/>
              <a:gd name="connsiteX15" fmla="*/ 15213 w 19615"/>
              <a:gd name="connsiteY15" fmla="*/ 859 h 18072"/>
              <a:gd name="connsiteX16" fmla="*/ 11479 w 19615"/>
              <a:gd name="connsiteY16" fmla="*/ 23 h 18072"/>
              <a:gd name="connsiteX0" fmla="*/ 11479 w 19602"/>
              <a:gd name="connsiteY0" fmla="*/ 23 h 18072"/>
              <a:gd name="connsiteX1" fmla="*/ 5717 w 19602"/>
              <a:gd name="connsiteY1" fmla="*/ 1085 h 18072"/>
              <a:gd name="connsiteX2" fmla="*/ 1234 w 19602"/>
              <a:gd name="connsiteY2" fmla="*/ 5155 h 18072"/>
              <a:gd name="connsiteX3" fmla="*/ 50 w 19602"/>
              <a:gd name="connsiteY3" fmla="*/ 9089 h 18072"/>
              <a:gd name="connsiteX4" fmla="*/ 367 w 19602"/>
              <a:gd name="connsiteY4" fmla="*/ 13412 h 18072"/>
              <a:gd name="connsiteX5" fmla="*/ 1961 w 19602"/>
              <a:gd name="connsiteY5" fmla="*/ 16736 h 18072"/>
              <a:gd name="connsiteX6" fmla="*/ 6196 w 19602"/>
              <a:gd name="connsiteY6" fmla="*/ 17438 h 18072"/>
              <a:gd name="connsiteX7" fmla="*/ 8646 w 19602"/>
              <a:gd name="connsiteY7" fmla="*/ 17760 h 18072"/>
              <a:gd name="connsiteX8" fmla="*/ 11014 w 19602"/>
              <a:gd name="connsiteY8" fmla="*/ 18044 h 18072"/>
              <a:gd name="connsiteX9" fmla="*/ 13912 w 19602"/>
              <a:gd name="connsiteY9" fmla="*/ 17031 h 18072"/>
              <a:gd name="connsiteX10" fmla="*/ 15619 w 19602"/>
              <a:gd name="connsiteY10" fmla="*/ 16855 h 18072"/>
              <a:gd name="connsiteX11" fmla="*/ 19106 w 19602"/>
              <a:gd name="connsiteY11" fmla="*/ 15924 h 18072"/>
              <a:gd name="connsiteX12" fmla="*/ 19594 w 19602"/>
              <a:gd name="connsiteY12" fmla="*/ 10685 h 18072"/>
              <a:gd name="connsiteX13" fmla="*/ 19278 w 19602"/>
              <a:gd name="connsiteY13" fmla="*/ 6616 h 18072"/>
              <a:gd name="connsiteX14" fmla="*/ 18414 w 19602"/>
              <a:gd name="connsiteY14" fmla="*/ 2817 h 18072"/>
              <a:gd name="connsiteX15" fmla="*/ 15213 w 19602"/>
              <a:gd name="connsiteY15" fmla="*/ 859 h 18072"/>
              <a:gd name="connsiteX16" fmla="*/ 11479 w 19602"/>
              <a:gd name="connsiteY16" fmla="*/ 23 h 18072"/>
              <a:gd name="connsiteX0" fmla="*/ 11479 w 19603"/>
              <a:gd name="connsiteY0" fmla="*/ 23 h 18072"/>
              <a:gd name="connsiteX1" fmla="*/ 5717 w 19603"/>
              <a:gd name="connsiteY1" fmla="*/ 1085 h 18072"/>
              <a:gd name="connsiteX2" fmla="*/ 1234 w 19603"/>
              <a:gd name="connsiteY2" fmla="*/ 5155 h 18072"/>
              <a:gd name="connsiteX3" fmla="*/ 50 w 19603"/>
              <a:gd name="connsiteY3" fmla="*/ 9089 h 18072"/>
              <a:gd name="connsiteX4" fmla="*/ 367 w 19603"/>
              <a:gd name="connsiteY4" fmla="*/ 13412 h 18072"/>
              <a:gd name="connsiteX5" fmla="*/ 1961 w 19603"/>
              <a:gd name="connsiteY5" fmla="*/ 16736 h 18072"/>
              <a:gd name="connsiteX6" fmla="*/ 6196 w 19603"/>
              <a:gd name="connsiteY6" fmla="*/ 17438 h 18072"/>
              <a:gd name="connsiteX7" fmla="*/ 8646 w 19603"/>
              <a:gd name="connsiteY7" fmla="*/ 17760 h 18072"/>
              <a:gd name="connsiteX8" fmla="*/ 11014 w 19603"/>
              <a:gd name="connsiteY8" fmla="*/ 18044 h 18072"/>
              <a:gd name="connsiteX9" fmla="*/ 13912 w 19603"/>
              <a:gd name="connsiteY9" fmla="*/ 17031 h 18072"/>
              <a:gd name="connsiteX10" fmla="*/ 15619 w 19603"/>
              <a:gd name="connsiteY10" fmla="*/ 16855 h 18072"/>
              <a:gd name="connsiteX11" fmla="*/ 19106 w 19603"/>
              <a:gd name="connsiteY11" fmla="*/ 15924 h 18072"/>
              <a:gd name="connsiteX12" fmla="*/ 19594 w 19603"/>
              <a:gd name="connsiteY12" fmla="*/ 10685 h 18072"/>
              <a:gd name="connsiteX13" fmla="*/ 19347 w 19603"/>
              <a:gd name="connsiteY13" fmla="*/ 8393 h 18072"/>
              <a:gd name="connsiteX14" fmla="*/ 18414 w 19603"/>
              <a:gd name="connsiteY14" fmla="*/ 2817 h 18072"/>
              <a:gd name="connsiteX15" fmla="*/ 15213 w 19603"/>
              <a:gd name="connsiteY15" fmla="*/ 859 h 18072"/>
              <a:gd name="connsiteX16" fmla="*/ 11479 w 19603"/>
              <a:gd name="connsiteY16" fmla="*/ 23 h 18072"/>
              <a:gd name="connsiteX0" fmla="*/ 11479 w 19597"/>
              <a:gd name="connsiteY0" fmla="*/ 23 h 18072"/>
              <a:gd name="connsiteX1" fmla="*/ 5717 w 19597"/>
              <a:gd name="connsiteY1" fmla="*/ 1085 h 18072"/>
              <a:gd name="connsiteX2" fmla="*/ 1234 w 19597"/>
              <a:gd name="connsiteY2" fmla="*/ 5155 h 18072"/>
              <a:gd name="connsiteX3" fmla="*/ 50 w 19597"/>
              <a:gd name="connsiteY3" fmla="*/ 9089 h 18072"/>
              <a:gd name="connsiteX4" fmla="*/ 367 w 19597"/>
              <a:gd name="connsiteY4" fmla="*/ 13412 h 18072"/>
              <a:gd name="connsiteX5" fmla="*/ 1961 w 19597"/>
              <a:gd name="connsiteY5" fmla="*/ 16736 h 18072"/>
              <a:gd name="connsiteX6" fmla="*/ 6196 w 19597"/>
              <a:gd name="connsiteY6" fmla="*/ 17438 h 18072"/>
              <a:gd name="connsiteX7" fmla="*/ 8646 w 19597"/>
              <a:gd name="connsiteY7" fmla="*/ 17760 h 18072"/>
              <a:gd name="connsiteX8" fmla="*/ 11014 w 19597"/>
              <a:gd name="connsiteY8" fmla="*/ 18044 h 18072"/>
              <a:gd name="connsiteX9" fmla="*/ 13912 w 19597"/>
              <a:gd name="connsiteY9" fmla="*/ 17031 h 18072"/>
              <a:gd name="connsiteX10" fmla="*/ 15619 w 19597"/>
              <a:gd name="connsiteY10" fmla="*/ 16855 h 18072"/>
              <a:gd name="connsiteX11" fmla="*/ 19106 w 19597"/>
              <a:gd name="connsiteY11" fmla="*/ 15924 h 18072"/>
              <a:gd name="connsiteX12" fmla="*/ 19594 w 19597"/>
              <a:gd name="connsiteY12" fmla="*/ 10685 h 18072"/>
              <a:gd name="connsiteX13" fmla="*/ 19347 w 19597"/>
              <a:gd name="connsiteY13" fmla="*/ 8393 h 18072"/>
              <a:gd name="connsiteX14" fmla="*/ 18414 w 19597"/>
              <a:gd name="connsiteY14" fmla="*/ 2817 h 18072"/>
              <a:gd name="connsiteX15" fmla="*/ 15213 w 19597"/>
              <a:gd name="connsiteY15" fmla="*/ 859 h 18072"/>
              <a:gd name="connsiteX16" fmla="*/ 11479 w 19597"/>
              <a:gd name="connsiteY16" fmla="*/ 23 h 18072"/>
              <a:gd name="connsiteX0" fmla="*/ 11479 w 19748"/>
              <a:gd name="connsiteY0" fmla="*/ 23 h 18072"/>
              <a:gd name="connsiteX1" fmla="*/ 5717 w 19748"/>
              <a:gd name="connsiteY1" fmla="*/ 1085 h 18072"/>
              <a:gd name="connsiteX2" fmla="*/ 1234 w 19748"/>
              <a:gd name="connsiteY2" fmla="*/ 5155 h 18072"/>
              <a:gd name="connsiteX3" fmla="*/ 50 w 19748"/>
              <a:gd name="connsiteY3" fmla="*/ 9089 h 18072"/>
              <a:gd name="connsiteX4" fmla="*/ 367 w 19748"/>
              <a:gd name="connsiteY4" fmla="*/ 13412 h 18072"/>
              <a:gd name="connsiteX5" fmla="*/ 1961 w 19748"/>
              <a:gd name="connsiteY5" fmla="*/ 16736 h 18072"/>
              <a:gd name="connsiteX6" fmla="*/ 6196 w 19748"/>
              <a:gd name="connsiteY6" fmla="*/ 17438 h 18072"/>
              <a:gd name="connsiteX7" fmla="*/ 8646 w 19748"/>
              <a:gd name="connsiteY7" fmla="*/ 17760 h 18072"/>
              <a:gd name="connsiteX8" fmla="*/ 11014 w 19748"/>
              <a:gd name="connsiteY8" fmla="*/ 18044 h 18072"/>
              <a:gd name="connsiteX9" fmla="*/ 13912 w 19748"/>
              <a:gd name="connsiteY9" fmla="*/ 17031 h 18072"/>
              <a:gd name="connsiteX10" fmla="*/ 15619 w 19748"/>
              <a:gd name="connsiteY10" fmla="*/ 16855 h 18072"/>
              <a:gd name="connsiteX11" fmla="*/ 19106 w 19748"/>
              <a:gd name="connsiteY11" fmla="*/ 15924 h 18072"/>
              <a:gd name="connsiteX12" fmla="*/ 19594 w 19748"/>
              <a:gd name="connsiteY12" fmla="*/ 10685 h 18072"/>
              <a:gd name="connsiteX13" fmla="*/ 19347 w 19748"/>
              <a:gd name="connsiteY13" fmla="*/ 8393 h 18072"/>
              <a:gd name="connsiteX14" fmla="*/ 18986 w 19748"/>
              <a:gd name="connsiteY14" fmla="*/ 3374 h 18072"/>
              <a:gd name="connsiteX15" fmla="*/ 15213 w 19748"/>
              <a:gd name="connsiteY15" fmla="*/ 859 h 18072"/>
              <a:gd name="connsiteX16" fmla="*/ 11479 w 19748"/>
              <a:gd name="connsiteY16" fmla="*/ 23 h 18072"/>
              <a:gd name="connsiteX0" fmla="*/ 11479 w 19638"/>
              <a:gd name="connsiteY0" fmla="*/ 23 h 18072"/>
              <a:gd name="connsiteX1" fmla="*/ 5717 w 19638"/>
              <a:gd name="connsiteY1" fmla="*/ 1085 h 18072"/>
              <a:gd name="connsiteX2" fmla="*/ 1234 w 19638"/>
              <a:gd name="connsiteY2" fmla="*/ 5155 h 18072"/>
              <a:gd name="connsiteX3" fmla="*/ 50 w 19638"/>
              <a:gd name="connsiteY3" fmla="*/ 9089 h 18072"/>
              <a:gd name="connsiteX4" fmla="*/ 367 w 19638"/>
              <a:gd name="connsiteY4" fmla="*/ 13412 h 18072"/>
              <a:gd name="connsiteX5" fmla="*/ 1961 w 19638"/>
              <a:gd name="connsiteY5" fmla="*/ 16736 h 18072"/>
              <a:gd name="connsiteX6" fmla="*/ 6196 w 19638"/>
              <a:gd name="connsiteY6" fmla="*/ 17438 h 18072"/>
              <a:gd name="connsiteX7" fmla="*/ 8646 w 19638"/>
              <a:gd name="connsiteY7" fmla="*/ 17760 h 18072"/>
              <a:gd name="connsiteX8" fmla="*/ 11014 w 19638"/>
              <a:gd name="connsiteY8" fmla="*/ 18044 h 18072"/>
              <a:gd name="connsiteX9" fmla="*/ 13912 w 19638"/>
              <a:gd name="connsiteY9" fmla="*/ 17031 h 18072"/>
              <a:gd name="connsiteX10" fmla="*/ 15619 w 19638"/>
              <a:gd name="connsiteY10" fmla="*/ 16855 h 18072"/>
              <a:gd name="connsiteX11" fmla="*/ 19106 w 19638"/>
              <a:gd name="connsiteY11" fmla="*/ 15924 h 18072"/>
              <a:gd name="connsiteX12" fmla="*/ 19594 w 19638"/>
              <a:gd name="connsiteY12" fmla="*/ 10685 h 18072"/>
              <a:gd name="connsiteX13" fmla="*/ 19347 w 19638"/>
              <a:gd name="connsiteY13" fmla="*/ 8393 h 18072"/>
              <a:gd name="connsiteX14" fmla="*/ 18986 w 19638"/>
              <a:gd name="connsiteY14" fmla="*/ 3374 h 18072"/>
              <a:gd name="connsiteX15" fmla="*/ 15213 w 19638"/>
              <a:gd name="connsiteY15" fmla="*/ 859 h 18072"/>
              <a:gd name="connsiteX16" fmla="*/ 11479 w 19638"/>
              <a:gd name="connsiteY16" fmla="*/ 23 h 18072"/>
              <a:gd name="connsiteX0" fmla="*/ 11479 w 19622"/>
              <a:gd name="connsiteY0" fmla="*/ 23 h 18072"/>
              <a:gd name="connsiteX1" fmla="*/ 5717 w 19622"/>
              <a:gd name="connsiteY1" fmla="*/ 1085 h 18072"/>
              <a:gd name="connsiteX2" fmla="*/ 1234 w 19622"/>
              <a:gd name="connsiteY2" fmla="*/ 5155 h 18072"/>
              <a:gd name="connsiteX3" fmla="*/ 50 w 19622"/>
              <a:gd name="connsiteY3" fmla="*/ 9089 h 18072"/>
              <a:gd name="connsiteX4" fmla="*/ 367 w 19622"/>
              <a:gd name="connsiteY4" fmla="*/ 13412 h 18072"/>
              <a:gd name="connsiteX5" fmla="*/ 1961 w 19622"/>
              <a:gd name="connsiteY5" fmla="*/ 16736 h 18072"/>
              <a:gd name="connsiteX6" fmla="*/ 6196 w 19622"/>
              <a:gd name="connsiteY6" fmla="*/ 17438 h 18072"/>
              <a:gd name="connsiteX7" fmla="*/ 8646 w 19622"/>
              <a:gd name="connsiteY7" fmla="*/ 17760 h 18072"/>
              <a:gd name="connsiteX8" fmla="*/ 11014 w 19622"/>
              <a:gd name="connsiteY8" fmla="*/ 18044 h 18072"/>
              <a:gd name="connsiteX9" fmla="*/ 13912 w 19622"/>
              <a:gd name="connsiteY9" fmla="*/ 17031 h 18072"/>
              <a:gd name="connsiteX10" fmla="*/ 15619 w 19622"/>
              <a:gd name="connsiteY10" fmla="*/ 16855 h 18072"/>
              <a:gd name="connsiteX11" fmla="*/ 19106 w 19622"/>
              <a:gd name="connsiteY11" fmla="*/ 15924 h 18072"/>
              <a:gd name="connsiteX12" fmla="*/ 19594 w 19622"/>
              <a:gd name="connsiteY12" fmla="*/ 10685 h 18072"/>
              <a:gd name="connsiteX13" fmla="*/ 19347 w 19622"/>
              <a:gd name="connsiteY13" fmla="*/ 8393 h 18072"/>
              <a:gd name="connsiteX14" fmla="*/ 18963 w 19622"/>
              <a:gd name="connsiteY14" fmla="*/ 3401 h 18072"/>
              <a:gd name="connsiteX15" fmla="*/ 15213 w 19622"/>
              <a:gd name="connsiteY15" fmla="*/ 859 h 18072"/>
              <a:gd name="connsiteX16" fmla="*/ 11479 w 19622"/>
              <a:gd name="connsiteY16" fmla="*/ 23 h 18072"/>
              <a:gd name="connsiteX0" fmla="*/ 11479 w 19622"/>
              <a:gd name="connsiteY0" fmla="*/ 23 h 18072"/>
              <a:gd name="connsiteX1" fmla="*/ 5717 w 19622"/>
              <a:gd name="connsiteY1" fmla="*/ 1085 h 18072"/>
              <a:gd name="connsiteX2" fmla="*/ 1234 w 19622"/>
              <a:gd name="connsiteY2" fmla="*/ 5155 h 18072"/>
              <a:gd name="connsiteX3" fmla="*/ 50 w 19622"/>
              <a:gd name="connsiteY3" fmla="*/ 9089 h 18072"/>
              <a:gd name="connsiteX4" fmla="*/ 367 w 19622"/>
              <a:gd name="connsiteY4" fmla="*/ 13412 h 18072"/>
              <a:gd name="connsiteX5" fmla="*/ 1961 w 19622"/>
              <a:gd name="connsiteY5" fmla="*/ 16736 h 18072"/>
              <a:gd name="connsiteX6" fmla="*/ 6196 w 19622"/>
              <a:gd name="connsiteY6" fmla="*/ 17438 h 18072"/>
              <a:gd name="connsiteX7" fmla="*/ 8646 w 19622"/>
              <a:gd name="connsiteY7" fmla="*/ 17760 h 18072"/>
              <a:gd name="connsiteX8" fmla="*/ 11014 w 19622"/>
              <a:gd name="connsiteY8" fmla="*/ 18044 h 18072"/>
              <a:gd name="connsiteX9" fmla="*/ 13912 w 19622"/>
              <a:gd name="connsiteY9" fmla="*/ 17031 h 18072"/>
              <a:gd name="connsiteX10" fmla="*/ 15619 w 19622"/>
              <a:gd name="connsiteY10" fmla="*/ 16855 h 18072"/>
              <a:gd name="connsiteX11" fmla="*/ 19106 w 19622"/>
              <a:gd name="connsiteY11" fmla="*/ 15924 h 18072"/>
              <a:gd name="connsiteX12" fmla="*/ 19594 w 19622"/>
              <a:gd name="connsiteY12" fmla="*/ 10685 h 18072"/>
              <a:gd name="connsiteX13" fmla="*/ 19347 w 19622"/>
              <a:gd name="connsiteY13" fmla="*/ 8393 h 18072"/>
              <a:gd name="connsiteX14" fmla="*/ 18963 w 19622"/>
              <a:gd name="connsiteY14" fmla="*/ 3401 h 18072"/>
              <a:gd name="connsiteX15" fmla="*/ 15213 w 19622"/>
              <a:gd name="connsiteY15" fmla="*/ 859 h 18072"/>
              <a:gd name="connsiteX16" fmla="*/ 11479 w 19622"/>
              <a:gd name="connsiteY16" fmla="*/ 23 h 18072"/>
              <a:gd name="connsiteX0" fmla="*/ 11479 w 19599"/>
              <a:gd name="connsiteY0" fmla="*/ 23 h 18072"/>
              <a:gd name="connsiteX1" fmla="*/ 5717 w 19599"/>
              <a:gd name="connsiteY1" fmla="*/ 1085 h 18072"/>
              <a:gd name="connsiteX2" fmla="*/ 1234 w 19599"/>
              <a:gd name="connsiteY2" fmla="*/ 5155 h 18072"/>
              <a:gd name="connsiteX3" fmla="*/ 50 w 19599"/>
              <a:gd name="connsiteY3" fmla="*/ 9089 h 18072"/>
              <a:gd name="connsiteX4" fmla="*/ 367 w 19599"/>
              <a:gd name="connsiteY4" fmla="*/ 13412 h 18072"/>
              <a:gd name="connsiteX5" fmla="*/ 1961 w 19599"/>
              <a:gd name="connsiteY5" fmla="*/ 16736 h 18072"/>
              <a:gd name="connsiteX6" fmla="*/ 6196 w 19599"/>
              <a:gd name="connsiteY6" fmla="*/ 17438 h 18072"/>
              <a:gd name="connsiteX7" fmla="*/ 8646 w 19599"/>
              <a:gd name="connsiteY7" fmla="*/ 17760 h 18072"/>
              <a:gd name="connsiteX8" fmla="*/ 11014 w 19599"/>
              <a:gd name="connsiteY8" fmla="*/ 18044 h 18072"/>
              <a:gd name="connsiteX9" fmla="*/ 13912 w 19599"/>
              <a:gd name="connsiteY9" fmla="*/ 17031 h 18072"/>
              <a:gd name="connsiteX10" fmla="*/ 15619 w 19599"/>
              <a:gd name="connsiteY10" fmla="*/ 16855 h 18072"/>
              <a:gd name="connsiteX11" fmla="*/ 19106 w 19599"/>
              <a:gd name="connsiteY11" fmla="*/ 15924 h 18072"/>
              <a:gd name="connsiteX12" fmla="*/ 19594 w 19599"/>
              <a:gd name="connsiteY12" fmla="*/ 10685 h 18072"/>
              <a:gd name="connsiteX13" fmla="*/ 19347 w 19599"/>
              <a:gd name="connsiteY13" fmla="*/ 8393 h 18072"/>
              <a:gd name="connsiteX14" fmla="*/ 18963 w 19599"/>
              <a:gd name="connsiteY14" fmla="*/ 3401 h 18072"/>
              <a:gd name="connsiteX15" fmla="*/ 15213 w 19599"/>
              <a:gd name="connsiteY15" fmla="*/ 859 h 18072"/>
              <a:gd name="connsiteX16" fmla="*/ 11479 w 19599"/>
              <a:gd name="connsiteY16" fmla="*/ 23 h 18072"/>
              <a:gd name="connsiteX0" fmla="*/ 11479 w 19643"/>
              <a:gd name="connsiteY0" fmla="*/ 23 h 18072"/>
              <a:gd name="connsiteX1" fmla="*/ 5717 w 19643"/>
              <a:gd name="connsiteY1" fmla="*/ 1085 h 18072"/>
              <a:gd name="connsiteX2" fmla="*/ 1234 w 19643"/>
              <a:gd name="connsiteY2" fmla="*/ 5155 h 18072"/>
              <a:gd name="connsiteX3" fmla="*/ 50 w 19643"/>
              <a:gd name="connsiteY3" fmla="*/ 9089 h 18072"/>
              <a:gd name="connsiteX4" fmla="*/ 367 w 19643"/>
              <a:gd name="connsiteY4" fmla="*/ 13412 h 18072"/>
              <a:gd name="connsiteX5" fmla="*/ 1961 w 19643"/>
              <a:gd name="connsiteY5" fmla="*/ 16736 h 18072"/>
              <a:gd name="connsiteX6" fmla="*/ 6196 w 19643"/>
              <a:gd name="connsiteY6" fmla="*/ 17438 h 18072"/>
              <a:gd name="connsiteX7" fmla="*/ 8646 w 19643"/>
              <a:gd name="connsiteY7" fmla="*/ 17760 h 18072"/>
              <a:gd name="connsiteX8" fmla="*/ 11014 w 19643"/>
              <a:gd name="connsiteY8" fmla="*/ 18044 h 18072"/>
              <a:gd name="connsiteX9" fmla="*/ 13912 w 19643"/>
              <a:gd name="connsiteY9" fmla="*/ 17031 h 18072"/>
              <a:gd name="connsiteX10" fmla="*/ 15619 w 19643"/>
              <a:gd name="connsiteY10" fmla="*/ 16855 h 18072"/>
              <a:gd name="connsiteX11" fmla="*/ 18328 w 19643"/>
              <a:gd name="connsiteY11" fmla="*/ 15791 h 18072"/>
              <a:gd name="connsiteX12" fmla="*/ 19594 w 19643"/>
              <a:gd name="connsiteY12" fmla="*/ 10685 h 18072"/>
              <a:gd name="connsiteX13" fmla="*/ 19347 w 19643"/>
              <a:gd name="connsiteY13" fmla="*/ 8393 h 18072"/>
              <a:gd name="connsiteX14" fmla="*/ 18963 w 19643"/>
              <a:gd name="connsiteY14" fmla="*/ 3401 h 18072"/>
              <a:gd name="connsiteX15" fmla="*/ 15213 w 19643"/>
              <a:gd name="connsiteY15" fmla="*/ 859 h 18072"/>
              <a:gd name="connsiteX16" fmla="*/ 11479 w 19643"/>
              <a:gd name="connsiteY16" fmla="*/ 23 h 18072"/>
              <a:gd name="connsiteX0" fmla="*/ 11479 w 19643"/>
              <a:gd name="connsiteY0" fmla="*/ 23 h 18072"/>
              <a:gd name="connsiteX1" fmla="*/ 5717 w 19643"/>
              <a:gd name="connsiteY1" fmla="*/ 1085 h 18072"/>
              <a:gd name="connsiteX2" fmla="*/ 1234 w 19643"/>
              <a:gd name="connsiteY2" fmla="*/ 5155 h 18072"/>
              <a:gd name="connsiteX3" fmla="*/ 50 w 19643"/>
              <a:gd name="connsiteY3" fmla="*/ 9089 h 18072"/>
              <a:gd name="connsiteX4" fmla="*/ 367 w 19643"/>
              <a:gd name="connsiteY4" fmla="*/ 13412 h 18072"/>
              <a:gd name="connsiteX5" fmla="*/ 1961 w 19643"/>
              <a:gd name="connsiteY5" fmla="*/ 16736 h 18072"/>
              <a:gd name="connsiteX6" fmla="*/ 6196 w 19643"/>
              <a:gd name="connsiteY6" fmla="*/ 17438 h 18072"/>
              <a:gd name="connsiteX7" fmla="*/ 8646 w 19643"/>
              <a:gd name="connsiteY7" fmla="*/ 17760 h 18072"/>
              <a:gd name="connsiteX8" fmla="*/ 11014 w 19643"/>
              <a:gd name="connsiteY8" fmla="*/ 18044 h 18072"/>
              <a:gd name="connsiteX9" fmla="*/ 13912 w 19643"/>
              <a:gd name="connsiteY9" fmla="*/ 17031 h 18072"/>
              <a:gd name="connsiteX10" fmla="*/ 15619 w 19643"/>
              <a:gd name="connsiteY10" fmla="*/ 16855 h 18072"/>
              <a:gd name="connsiteX11" fmla="*/ 18328 w 19643"/>
              <a:gd name="connsiteY11" fmla="*/ 15791 h 18072"/>
              <a:gd name="connsiteX12" fmla="*/ 19594 w 19643"/>
              <a:gd name="connsiteY12" fmla="*/ 10685 h 18072"/>
              <a:gd name="connsiteX13" fmla="*/ 19347 w 19643"/>
              <a:gd name="connsiteY13" fmla="*/ 8393 h 18072"/>
              <a:gd name="connsiteX14" fmla="*/ 18963 w 19643"/>
              <a:gd name="connsiteY14" fmla="*/ 3401 h 18072"/>
              <a:gd name="connsiteX15" fmla="*/ 15213 w 19643"/>
              <a:gd name="connsiteY15" fmla="*/ 859 h 18072"/>
              <a:gd name="connsiteX16" fmla="*/ 11479 w 19643"/>
              <a:gd name="connsiteY16" fmla="*/ 23 h 18072"/>
              <a:gd name="connsiteX0" fmla="*/ 11479 w 19597"/>
              <a:gd name="connsiteY0" fmla="*/ 23 h 18072"/>
              <a:gd name="connsiteX1" fmla="*/ 5717 w 19597"/>
              <a:gd name="connsiteY1" fmla="*/ 1085 h 18072"/>
              <a:gd name="connsiteX2" fmla="*/ 1234 w 19597"/>
              <a:gd name="connsiteY2" fmla="*/ 5155 h 18072"/>
              <a:gd name="connsiteX3" fmla="*/ 50 w 19597"/>
              <a:gd name="connsiteY3" fmla="*/ 9089 h 18072"/>
              <a:gd name="connsiteX4" fmla="*/ 367 w 19597"/>
              <a:gd name="connsiteY4" fmla="*/ 13412 h 18072"/>
              <a:gd name="connsiteX5" fmla="*/ 1961 w 19597"/>
              <a:gd name="connsiteY5" fmla="*/ 16736 h 18072"/>
              <a:gd name="connsiteX6" fmla="*/ 6196 w 19597"/>
              <a:gd name="connsiteY6" fmla="*/ 17438 h 18072"/>
              <a:gd name="connsiteX7" fmla="*/ 8646 w 19597"/>
              <a:gd name="connsiteY7" fmla="*/ 17760 h 18072"/>
              <a:gd name="connsiteX8" fmla="*/ 11014 w 19597"/>
              <a:gd name="connsiteY8" fmla="*/ 18044 h 18072"/>
              <a:gd name="connsiteX9" fmla="*/ 13912 w 19597"/>
              <a:gd name="connsiteY9" fmla="*/ 17031 h 18072"/>
              <a:gd name="connsiteX10" fmla="*/ 15619 w 19597"/>
              <a:gd name="connsiteY10" fmla="*/ 16855 h 18072"/>
              <a:gd name="connsiteX11" fmla="*/ 19152 w 19597"/>
              <a:gd name="connsiteY11" fmla="*/ 15924 h 18072"/>
              <a:gd name="connsiteX12" fmla="*/ 19594 w 19597"/>
              <a:gd name="connsiteY12" fmla="*/ 10685 h 18072"/>
              <a:gd name="connsiteX13" fmla="*/ 19347 w 19597"/>
              <a:gd name="connsiteY13" fmla="*/ 8393 h 18072"/>
              <a:gd name="connsiteX14" fmla="*/ 18963 w 19597"/>
              <a:gd name="connsiteY14" fmla="*/ 3401 h 18072"/>
              <a:gd name="connsiteX15" fmla="*/ 15213 w 19597"/>
              <a:gd name="connsiteY15" fmla="*/ 859 h 18072"/>
              <a:gd name="connsiteX16" fmla="*/ 11479 w 19597"/>
              <a:gd name="connsiteY16" fmla="*/ 23 h 18072"/>
              <a:gd name="connsiteX0" fmla="*/ 11479 w 19468"/>
              <a:gd name="connsiteY0" fmla="*/ 23 h 18072"/>
              <a:gd name="connsiteX1" fmla="*/ 5717 w 19468"/>
              <a:gd name="connsiteY1" fmla="*/ 1085 h 18072"/>
              <a:gd name="connsiteX2" fmla="*/ 1234 w 19468"/>
              <a:gd name="connsiteY2" fmla="*/ 5155 h 18072"/>
              <a:gd name="connsiteX3" fmla="*/ 50 w 19468"/>
              <a:gd name="connsiteY3" fmla="*/ 9089 h 18072"/>
              <a:gd name="connsiteX4" fmla="*/ 367 w 19468"/>
              <a:gd name="connsiteY4" fmla="*/ 13412 h 18072"/>
              <a:gd name="connsiteX5" fmla="*/ 1961 w 19468"/>
              <a:gd name="connsiteY5" fmla="*/ 16736 h 18072"/>
              <a:gd name="connsiteX6" fmla="*/ 6196 w 19468"/>
              <a:gd name="connsiteY6" fmla="*/ 17438 h 18072"/>
              <a:gd name="connsiteX7" fmla="*/ 8646 w 19468"/>
              <a:gd name="connsiteY7" fmla="*/ 17760 h 18072"/>
              <a:gd name="connsiteX8" fmla="*/ 11014 w 19468"/>
              <a:gd name="connsiteY8" fmla="*/ 18044 h 18072"/>
              <a:gd name="connsiteX9" fmla="*/ 13912 w 19468"/>
              <a:gd name="connsiteY9" fmla="*/ 17031 h 18072"/>
              <a:gd name="connsiteX10" fmla="*/ 15619 w 19468"/>
              <a:gd name="connsiteY10" fmla="*/ 16855 h 18072"/>
              <a:gd name="connsiteX11" fmla="*/ 19152 w 19468"/>
              <a:gd name="connsiteY11" fmla="*/ 15924 h 18072"/>
              <a:gd name="connsiteX12" fmla="*/ 19319 w 19468"/>
              <a:gd name="connsiteY12" fmla="*/ 12038 h 18072"/>
              <a:gd name="connsiteX13" fmla="*/ 19347 w 19468"/>
              <a:gd name="connsiteY13" fmla="*/ 8393 h 18072"/>
              <a:gd name="connsiteX14" fmla="*/ 18963 w 19468"/>
              <a:gd name="connsiteY14" fmla="*/ 3401 h 18072"/>
              <a:gd name="connsiteX15" fmla="*/ 15213 w 19468"/>
              <a:gd name="connsiteY15" fmla="*/ 859 h 18072"/>
              <a:gd name="connsiteX16" fmla="*/ 11479 w 19468"/>
              <a:gd name="connsiteY16" fmla="*/ 23 h 18072"/>
              <a:gd name="connsiteX0" fmla="*/ 11470 w 19459"/>
              <a:gd name="connsiteY0" fmla="*/ 23 h 18072"/>
              <a:gd name="connsiteX1" fmla="*/ 5708 w 19459"/>
              <a:gd name="connsiteY1" fmla="*/ 1085 h 18072"/>
              <a:gd name="connsiteX2" fmla="*/ 1225 w 19459"/>
              <a:gd name="connsiteY2" fmla="*/ 5155 h 18072"/>
              <a:gd name="connsiteX3" fmla="*/ 41 w 19459"/>
              <a:gd name="connsiteY3" fmla="*/ 9089 h 18072"/>
              <a:gd name="connsiteX4" fmla="*/ 358 w 19459"/>
              <a:gd name="connsiteY4" fmla="*/ 13412 h 18072"/>
              <a:gd name="connsiteX5" fmla="*/ 1494 w 19459"/>
              <a:gd name="connsiteY5" fmla="*/ 15993 h 18072"/>
              <a:gd name="connsiteX6" fmla="*/ 6187 w 19459"/>
              <a:gd name="connsiteY6" fmla="*/ 17438 h 18072"/>
              <a:gd name="connsiteX7" fmla="*/ 8637 w 19459"/>
              <a:gd name="connsiteY7" fmla="*/ 17760 h 18072"/>
              <a:gd name="connsiteX8" fmla="*/ 11005 w 19459"/>
              <a:gd name="connsiteY8" fmla="*/ 18044 h 18072"/>
              <a:gd name="connsiteX9" fmla="*/ 13903 w 19459"/>
              <a:gd name="connsiteY9" fmla="*/ 17031 h 18072"/>
              <a:gd name="connsiteX10" fmla="*/ 15610 w 19459"/>
              <a:gd name="connsiteY10" fmla="*/ 16855 h 18072"/>
              <a:gd name="connsiteX11" fmla="*/ 19143 w 19459"/>
              <a:gd name="connsiteY11" fmla="*/ 15924 h 18072"/>
              <a:gd name="connsiteX12" fmla="*/ 19310 w 19459"/>
              <a:gd name="connsiteY12" fmla="*/ 12038 h 18072"/>
              <a:gd name="connsiteX13" fmla="*/ 19338 w 19459"/>
              <a:gd name="connsiteY13" fmla="*/ 8393 h 18072"/>
              <a:gd name="connsiteX14" fmla="*/ 18954 w 19459"/>
              <a:gd name="connsiteY14" fmla="*/ 3401 h 18072"/>
              <a:gd name="connsiteX15" fmla="*/ 15204 w 19459"/>
              <a:gd name="connsiteY15" fmla="*/ 859 h 18072"/>
              <a:gd name="connsiteX16" fmla="*/ 11470 w 19459"/>
              <a:gd name="connsiteY16" fmla="*/ 23 h 18072"/>
              <a:gd name="connsiteX0" fmla="*/ 11470 w 19459"/>
              <a:gd name="connsiteY0" fmla="*/ 23 h 18072"/>
              <a:gd name="connsiteX1" fmla="*/ 5708 w 19459"/>
              <a:gd name="connsiteY1" fmla="*/ 1085 h 18072"/>
              <a:gd name="connsiteX2" fmla="*/ 1225 w 19459"/>
              <a:gd name="connsiteY2" fmla="*/ 5155 h 18072"/>
              <a:gd name="connsiteX3" fmla="*/ 41 w 19459"/>
              <a:gd name="connsiteY3" fmla="*/ 9089 h 18072"/>
              <a:gd name="connsiteX4" fmla="*/ 358 w 19459"/>
              <a:gd name="connsiteY4" fmla="*/ 13412 h 18072"/>
              <a:gd name="connsiteX5" fmla="*/ 1494 w 19459"/>
              <a:gd name="connsiteY5" fmla="*/ 15993 h 18072"/>
              <a:gd name="connsiteX6" fmla="*/ 6187 w 19459"/>
              <a:gd name="connsiteY6" fmla="*/ 17438 h 18072"/>
              <a:gd name="connsiteX7" fmla="*/ 8637 w 19459"/>
              <a:gd name="connsiteY7" fmla="*/ 17760 h 18072"/>
              <a:gd name="connsiteX8" fmla="*/ 11005 w 19459"/>
              <a:gd name="connsiteY8" fmla="*/ 18044 h 18072"/>
              <a:gd name="connsiteX9" fmla="*/ 13903 w 19459"/>
              <a:gd name="connsiteY9" fmla="*/ 17031 h 18072"/>
              <a:gd name="connsiteX10" fmla="*/ 15610 w 19459"/>
              <a:gd name="connsiteY10" fmla="*/ 16855 h 18072"/>
              <a:gd name="connsiteX11" fmla="*/ 19143 w 19459"/>
              <a:gd name="connsiteY11" fmla="*/ 15924 h 18072"/>
              <a:gd name="connsiteX12" fmla="*/ 19310 w 19459"/>
              <a:gd name="connsiteY12" fmla="*/ 12038 h 18072"/>
              <a:gd name="connsiteX13" fmla="*/ 19338 w 19459"/>
              <a:gd name="connsiteY13" fmla="*/ 8393 h 18072"/>
              <a:gd name="connsiteX14" fmla="*/ 18954 w 19459"/>
              <a:gd name="connsiteY14" fmla="*/ 3401 h 18072"/>
              <a:gd name="connsiteX15" fmla="*/ 15204 w 19459"/>
              <a:gd name="connsiteY15" fmla="*/ 859 h 18072"/>
              <a:gd name="connsiteX16" fmla="*/ 11470 w 19459"/>
              <a:gd name="connsiteY16" fmla="*/ 23 h 18072"/>
              <a:gd name="connsiteX0" fmla="*/ 11465 w 19454"/>
              <a:gd name="connsiteY0" fmla="*/ 23 h 18072"/>
              <a:gd name="connsiteX1" fmla="*/ 5703 w 19454"/>
              <a:gd name="connsiteY1" fmla="*/ 1085 h 18072"/>
              <a:gd name="connsiteX2" fmla="*/ 1220 w 19454"/>
              <a:gd name="connsiteY2" fmla="*/ 5155 h 18072"/>
              <a:gd name="connsiteX3" fmla="*/ 36 w 19454"/>
              <a:gd name="connsiteY3" fmla="*/ 9089 h 18072"/>
              <a:gd name="connsiteX4" fmla="*/ 353 w 19454"/>
              <a:gd name="connsiteY4" fmla="*/ 13412 h 18072"/>
              <a:gd name="connsiteX5" fmla="*/ 1192 w 19454"/>
              <a:gd name="connsiteY5" fmla="*/ 15940 h 18072"/>
              <a:gd name="connsiteX6" fmla="*/ 6182 w 19454"/>
              <a:gd name="connsiteY6" fmla="*/ 17438 h 18072"/>
              <a:gd name="connsiteX7" fmla="*/ 8632 w 19454"/>
              <a:gd name="connsiteY7" fmla="*/ 17760 h 18072"/>
              <a:gd name="connsiteX8" fmla="*/ 11000 w 19454"/>
              <a:gd name="connsiteY8" fmla="*/ 18044 h 18072"/>
              <a:gd name="connsiteX9" fmla="*/ 13898 w 19454"/>
              <a:gd name="connsiteY9" fmla="*/ 17031 h 18072"/>
              <a:gd name="connsiteX10" fmla="*/ 15605 w 19454"/>
              <a:gd name="connsiteY10" fmla="*/ 16855 h 18072"/>
              <a:gd name="connsiteX11" fmla="*/ 19138 w 19454"/>
              <a:gd name="connsiteY11" fmla="*/ 15924 h 18072"/>
              <a:gd name="connsiteX12" fmla="*/ 19305 w 19454"/>
              <a:gd name="connsiteY12" fmla="*/ 12038 h 18072"/>
              <a:gd name="connsiteX13" fmla="*/ 19333 w 19454"/>
              <a:gd name="connsiteY13" fmla="*/ 8393 h 18072"/>
              <a:gd name="connsiteX14" fmla="*/ 18949 w 19454"/>
              <a:gd name="connsiteY14" fmla="*/ 3401 h 18072"/>
              <a:gd name="connsiteX15" fmla="*/ 15199 w 19454"/>
              <a:gd name="connsiteY15" fmla="*/ 859 h 18072"/>
              <a:gd name="connsiteX16" fmla="*/ 11465 w 19454"/>
              <a:gd name="connsiteY16" fmla="*/ 23 h 18072"/>
              <a:gd name="connsiteX0" fmla="*/ 11465 w 19454"/>
              <a:gd name="connsiteY0" fmla="*/ 23 h 18091"/>
              <a:gd name="connsiteX1" fmla="*/ 5703 w 19454"/>
              <a:gd name="connsiteY1" fmla="*/ 1085 h 18091"/>
              <a:gd name="connsiteX2" fmla="*/ 1220 w 19454"/>
              <a:gd name="connsiteY2" fmla="*/ 5155 h 18091"/>
              <a:gd name="connsiteX3" fmla="*/ 36 w 19454"/>
              <a:gd name="connsiteY3" fmla="*/ 9089 h 18091"/>
              <a:gd name="connsiteX4" fmla="*/ 353 w 19454"/>
              <a:gd name="connsiteY4" fmla="*/ 13412 h 18091"/>
              <a:gd name="connsiteX5" fmla="*/ 1192 w 19454"/>
              <a:gd name="connsiteY5" fmla="*/ 15940 h 18091"/>
              <a:gd name="connsiteX6" fmla="*/ 6228 w 19454"/>
              <a:gd name="connsiteY6" fmla="*/ 16324 h 18091"/>
              <a:gd name="connsiteX7" fmla="*/ 8632 w 19454"/>
              <a:gd name="connsiteY7" fmla="*/ 17760 h 18091"/>
              <a:gd name="connsiteX8" fmla="*/ 11000 w 19454"/>
              <a:gd name="connsiteY8" fmla="*/ 18044 h 18091"/>
              <a:gd name="connsiteX9" fmla="*/ 13898 w 19454"/>
              <a:gd name="connsiteY9" fmla="*/ 17031 h 18091"/>
              <a:gd name="connsiteX10" fmla="*/ 15605 w 19454"/>
              <a:gd name="connsiteY10" fmla="*/ 16855 h 18091"/>
              <a:gd name="connsiteX11" fmla="*/ 19138 w 19454"/>
              <a:gd name="connsiteY11" fmla="*/ 15924 h 18091"/>
              <a:gd name="connsiteX12" fmla="*/ 19305 w 19454"/>
              <a:gd name="connsiteY12" fmla="*/ 12038 h 18091"/>
              <a:gd name="connsiteX13" fmla="*/ 19333 w 19454"/>
              <a:gd name="connsiteY13" fmla="*/ 8393 h 18091"/>
              <a:gd name="connsiteX14" fmla="*/ 18949 w 19454"/>
              <a:gd name="connsiteY14" fmla="*/ 3401 h 18091"/>
              <a:gd name="connsiteX15" fmla="*/ 15199 w 19454"/>
              <a:gd name="connsiteY15" fmla="*/ 859 h 18091"/>
              <a:gd name="connsiteX16" fmla="*/ 11465 w 19454"/>
              <a:gd name="connsiteY16" fmla="*/ 23 h 18091"/>
              <a:gd name="connsiteX0" fmla="*/ 11465 w 19454"/>
              <a:gd name="connsiteY0" fmla="*/ 23 h 18091"/>
              <a:gd name="connsiteX1" fmla="*/ 5703 w 19454"/>
              <a:gd name="connsiteY1" fmla="*/ 1085 h 18091"/>
              <a:gd name="connsiteX2" fmla="*/ 1220 w 19454"/>
              <a:gd name="connsiteY2" fmla="*/ 5155 h 18091"/>
              <a:gd name="connsiteX3" fmla="*/ 36 w 19454"/>
              <a:gd name="connsiteY3" fmla="*/ 9089 h 18091"/>
              <a:gd name="connsiteX4" fmla="*/ 353 w 19454"/>
              <a:gd name="connsiteY4" fmla="*/ 13412 h 18091"/>
              <a:gd name="connsiteX5" fmla="*/ 1192 w 19454"/>
              <a:gd name="connsiteY5" fmla="*/ 15940 h 18091"/>
              <a:gd name="connsiteX6" fmla="*/ 6228 w 19454"/>
              <a:gd name="connsiteY6" fmla="*/ 16324 h 18091"/>
              <a:gd name="connsiteX7" fmla="*/ 8632 w 19454"/>
              <a:gd name="connsiteY7" fmla="*/ 17760 h 18091"/>
              <a:gd name="connsiteX8" fmla="*/ 11000 w 19454"/>
              <a:gd name="connsiteY8" fmla="*/ 18044 h 18091"/>
              <a:gd name="connsiteX9" fmla="*/ 13898 w 19454"/>
              <a:gd name="connsiteY9" fmla="*/ 17031 h 18091"/>
              <a:gd name="connsiteX10" fmla="*/ 15605 w 19454"/>
              <a:gd name="connsiteY10" fmla="*/ 16855 h 18091"/>
              <a:gd name="connsiteX11" fmla="*/ 19138 w 19454"/>
              <a:gd name="connsiteY11" fmla="*/ 15924 h 18091"/>
              <a:gd name="connsiteX12" fmla="*/ 19305 w 19454"/>
              <a:gd name="connsiteY12" fmla="*/ 12038 h 18091"/>
              <a:gd name="connsiteX13" fmla="*/ 19333 w 19454"/>
              <a:gd name="connsiteY13" fmla="*/ 8393 h 18091"/>
              <a:gd name="connsiteX14" fmla="*/ 18949 w 19454"/>
              <a:gd name="connsiteY14" fmla="*/ 3401 h 18091"/>
              <a:gd name="connsiteX15" fmla="*/ 15199 w 19454"/>
              <a:gd name="connsiteY15" fmla="*/ 859 h 18091"/>
              <a:gd name="connsiteX16" fmla="*/ 11465 w 19454"/>
              <a:gd name="connsiteY16" fmla="*/ 23 h 18091"/>
              <a:gd name="connsiteX0" fmla="*/ 11465 w 19454"/>
              <a:gd name="connsiteY0" fmla="*/ 23 h 18044"/>
              <a:gd name="connsiteX1" fmla="*/ 5703 w 19454"/>
              <a:gd name="connsiteY1" fmla="*/ 1085 h 18044"/>
              <a:gd name="connsiteX2" fmla="*/ 1220 w 19454"/>
              <a:gd name="connsiteY2" fmla="*/ 5155 h 18044"/>
              <a:gd name="connsiteX3" fmla="*/ 36 w 19454"/>
              <a:gd name="connsiteY3" fmla="*/ 9089 h 18044"/>
              <a:gd name="connsiteX4" fmla="*/ 353 w 19454"/>
              <a:gd name="connsiteY4" fmla="*/ 13412 h 18044"/>
              <a:gd name="connsiteX5" fmla="*/ 1192 w 19454"/>
              <a:gd name="connsiteY5" fmla="*/ 15940 h 18044"/>
              <a:gd name="connsiteX6" fmla="*/ 6228 w 19454"/>
              <a:gd name="connsiteY6" fmla="*/ 16324 h 18044"/>
              <a:gd name="connsiteX7" fmla="*/ 8792 w 19454"/>
              <a:gd name="connsiteY7" fmla="*/ 16911 h 18044"/>
              <a:gd name="connsiteX8" fmla="*/ 11000 w 19454"/>
              <a:gd name="connsiteY8" fmla="*/ 18044 h 18044"/>
              <a:gd name="connsiteX9" fmla="*/ 13898 w 19454"/>
              <a:gd name="connsiteY9" fmla="*/ 17031 h 18044"/>
              <a:gd name="connsiteX10" fmla="*/ 15605 w 19454"/>
              <a:gd name="connsiteY10" fmla="*/ 16855 h 18044"/>
              <a:gd name="connsiteX11" fmla="*/ 19138 w 19454"/>
              <a:gd name="connsiteY11" fmla="*/ 15924 h 18044"/>
              <a:gd name="connsiteX12" fmla="*/ 19305 w 19454"/>
              <a:gd name="connsiteY12" fmla="*/ 12038 h 18044"/>
              <a:gd name="connsiteX13" fmla="*/ 19333 w 19454"/>
              <a:gd name="connsiteY13" fmla="*/ 8393 h 18044"/>
              <a:gd name="connsiteX14" fmla="*/ 18949 w 19454"/>
              <a:gd name="connsiteY14" fmla="*/ 3401 h 18044"/>
              <a:gd name="connsiteX15" fmla="*/ 15199 w 19454"/>
              <a:gd name="connsiteY15" fmla="*/ 859 h 18044"/>
              <a:gd name="connsiteX16" fmla="*/ 11465 w 19454"/>
              <a:gd name="connsiteY16" fmla="*/ 23 h 18044"/>
              <a:gd name="connsiteX0" fmla="*/ 11465 w 19454"/>
              <a:gd name="connsiteY0" fmla="*/ 23 h 17034"/>
              <a:gd name="connsiteX1" fmla="*/ 5703 w 19454"/>
              <a:gd name="connsiteY1" fmla="*/ 1085 h 17034"/>
              <a:gd name="connsiteX2" fmla="*/ 1220 w 19454"/>
              <a:gd name="connsiteY2" fmla="*/ 5155 h 17034"/>
              <a:gd name="connsiteX3" fmla="*/ 36 w 19454"/>
              <a:gd name="connsiteY3" fmla="*/ 9089 h 17034"/>
              <a:gd name="connsiteX4" fmla="*/ 353 w 19454"/>
              <a:gd name="connsiteY4" fmla="*/ 13412 h 17034"/>
              <a:gd name="connsiteX5" fmla="*/ 1192 w 19454"/>
              <a:gd name="connsiteY5" fmla="*/ 15940 h 17034"/>
              <a:gd name="connsiteX6" fmla="*/ 6228 w 19454"/>
              <a:gd name="connsiteY6" fmla="*/ 16324 h 17034"/>
              <a:gd name="connsiteX7" fmla="*/ 8792 w 19454"/>
              <a:gd name="connsiteY7" fmla="*/ 16911 h 17034"/>
              <a:gd name="connsiteX8" fmla="*/ 11183 w 19454"/>
              <a:gd name="connsiteY8" fmla="*/ 16797 h 17034"/>
              <a:gd name="connsiteX9" fmla="*/ 13898 w 19454"/>
              <a:gd name="connsiteY9" fmla="*/ 17031 h 17034"/>
              <a:gd name="connsiteX10" fmla="*/ 15605 w 19454"/>
              <a:gd name="connsiteY10" fmla="*/ 16855 h 17034"/>
              <a:gd name="connsiteX11" fmla="*/ 19138 w 19454"/>
              <a:gd name="connsiteY11" fmla="*/ 15924 h 17034"/>
              <a:gd name="connsiteX12" fmla="*/ 19305 w 19454"/>
              <a:gd name="connsiteY12" fmla="*/ 12038 h 17034"/>
              <a:gd name="connsiteX13" fmla="*/ 19333 w 19454"/>
              <a:gd name="connsiteY13" fmla="*/ 8393 h 17034"/>
              <a:gd name="connsiteX14" fmla="*/ 18949 w 19454"/>
              <a:gd name="connsiteY14" fmla="*/ 3401 h 17034"/>
              <a:gd name="connsiteX15" fmla="*/ 15199 w 19454"/>
              <a:gd name="connsiteY15" fmla="*/ 859 h 17034"/>
              <a:gd name="connsiteX16" fmla="*/ 11465 w 19454"/>
              <a:gd name="connsiteY16" fmla="*/ 23 h 17034"/>
              <a:gd name="connsiteX0" fmla="*/ 11465 w 19454"/>
              <a:gd name="connsiteY0" fmla="*/ 23 h 16937"/>
              <a:gd name="connsiteX1" fmla="*/ 5703 w 19454"/>
              <a:gd name="connsiteY1" fmla="*/ 1085 h 16937"/>
              <a:gd name="connsiteX2" fmla="*/ 1220 w 19454"/>
              <a:gd name="connsiteY2" fmla="*/ 5155 h 16937"/>
              <a:gd name="connsiteX3" fmla="*/ 36 w 19454"/>
              <a:gd name="connsiteY3" fmla="*/ 9089 h 16937"/>
              <a:gd name="connsiteX4" fmla="*/ 353 w 19454"/>
              <a:gd name="connsiteY4" fmla="*/ 13412 h 16937"/>
              <a:gd name="connsiteX5" fmla="*/ 1192 w 19454"/>
              <a:gd name="connsiteY5" fmla="*/ 15940 h 16937"/>
              <a:gd name="connsiteX6" fmla="*/ 6228 w 19454"/>
              <a:gd name="connsiteY6" fmla="*/ 16324 h 16937"/>
              <a:gd name="connsiteX7" fmla="*/ 8792 w 19454"/>
              <a:gd name="connsiteY7" fmla="*/ 16911 h 16937"/>
              <a:gd name="connsiteX8" fmla="*/ 11183 w 19454"/>
              <a:gd name="connsiteY8" fmla="*/ 16797 h 16937"/>
              <a:gd name="connsiteX9" fmla="*/ 13806 w 19454"/>
              <a:gd name="connsiteY9" fmla="*/ 16448 h 16937"/>
              <a:gd name="connsiteX10" fmla="*/ 15605 w 19454"/>
              <a:gd name="connsiteY10" fmla="*/ 16855 h 16937"/>
              <a:gd name="connsiteX11" fmla="*/ 19138 w 19454"/>
              <a:gd name="connsiteY11" fmla="*/ 15924 h 16937"/>
              <a:gd name="connsiteX12" fmla="*/ 19305 w 19454"/>
              <a:gd name="connsiteY12" fmla="*/ 12038 h 16937"/>
              <a:gd name="connsiteX13" fmla="*/ 19333 w 19454"/>
              <a:gd name="connsiteY13" fmla="*/ 8393 h 16937"/>
              <a:gd name="connsiteX14" fmla="*/ 18949 w 19454"/>
              <a:gd name="connsiteY14" fmla="*/ 3401 h 16937"/>
              <a:gd name="connsiteX15" fmla="*/ 15199 w 19454"/>
              <a:gd name="connsiteY15" fmla="*/ 859 h 16937"/>
              <a:gd name="connsiteX16" fmla="*/ 11465 w 19454"/>
              <a:gd name="connsiteY16" fmla="*/ 23 h 16937"/>
              <a:gd name="connsiteX0" fmla="*/ 11465 w 19445"/>
              <a:gd name="connsiteY0" fmla="*/ 23 h 16937"/>
              <a:gd name="connsiteX1" fmla="*/ 5703 w 19445"/>
              <a:gd name="connsiteY1" fmla="*/ 1085 h 16937"/>
              <a:gd name="connsiteX2" fmla="*/ 1220 w 19445"/>
              <a:gd name="connsiteY2" fmla="*/ 5155 h 16937"/>
              <a:gd name="connsiteX3" fmla="*/ 36 w 19445"/>
              <a:gd name="connsiteY3" fmla="*/ 9089 h 16937"/>
              <a:gd name="connsiteX4" fmla="*/ 353 w 19445"/>
              <a:gd name="connsiteY4" fmla="*/ 13412 h 16937"/>
              <a:gd name="connsiteX5" fmla="*/ 1192 w 19445"/>
              <a:gd name="connsiteY5" fmla="*/ 15940 h 16937"/>
              <a:gd name="connsiteX6" fmla="*/ 6228 w 19445"/>
              <a:gd name="connsiteY6" fmla="*/ 16324 h 16937"/>
              <a:gd name="connsiteX7" fmla="*/ 8792 w 19445"/>
              <a:gd name="connsiteY7" fmla="*/ 16911 h 16937"/>
              <a:gd name="connsiteX8" fmla="*/ 11183 w 19445"/>
              <a:gd name="connsiteY8" fmla="*/ 16797 h 16937"/>
              <a:gd name="connsiteX9" fmla="*/ 13806 w 19445"/>
              <a:gd name="connsiteY9" fmla="*/ 16448 h 16937"/>
              <a:gd name="connsiteX10" fmla="*/ 15719 w 19445"/>
              <a:gd name="connsiteY10" fmla="*/ 16033 h 16937"/>
              <a:gd name="connsiteX11" fmla="*/ 19138 w 19445"/>
              <a:gd name="connsiteY11" fmla="*/ 15924 h 16937"/>
              <a:gd name="connsiteX12" fmla="*/ 19305 w 19445"/>
              <a:gd name="connsiteY12" fmla="*/ 12038 h 16937"/>
              <a:gd name="connsiteX13" fmla="*/ 19333 w 19445"/>
              <a:gd name="connsiteY13" fmla="*/ 8393 h 16937"/>
              <a:gd name="connsiteX14" fmla="*/ 18949 w 19445"/>
              <a:gd name="connsiteY14" fmla="*/ 3401 h 16937"/>
              <a:gd name="connsiteX15" fmla="*/ 15199 w 19445"/>
              <a:gd name="connsiteY15" fmla="*/ 859 h 16937"/>
              <a:gd name="connsiteX16" fmla="*/ 11465 w 19445"/>
              <a:gd name="connsiteY16" fmla="*/ 23 h 16937"/>
              <a:gd name="connsiteX0" fmla="*/ 11465 w 19445"/>
              <a:gd name="connsiteY0" fmla="*/ 23 h 16953"/>
              <a:gd name="connsiteX1" fmla="*/ 5703 w 19445"/>
              <a:gd name="connsiteY1" fmla="*/ 1085 h 16953"/>
              <a:gd name="connsiteX2" fmla="*/ 1220 w 19445"/>
              <a:gd name="connsiteY2" fmla="*/ 5155 h 16953"/>
              <a:gd name="connsiteX3" fmla="*/ 36 w 19445"/>
              <a:gd name="connsiteY3" fmla="*/ 9089 h 16953"/>
              <a:gd name="connsiteX4" fmla="*/ 353 w 19445"/>
              <a:gd name="connsiteY4" fmla="*/ 13412 h 16953"/>
              <a:gd name="connsiteX5" fmla="*/ 1192 w 19445"/>
              <a:gd name="connsiteY5" fmla="*/ 15940 h 16953"/>
              <a:gd name="connsiteX6" fmla="*/ 6228 w 19445"/>
              <a:gd name="connsiteY6" fmla="*/ 16324 h 16953"/>
              <a:gd name="connsiteX7" fmla="*/ 8792 w 19445"/>
              <a:gd name="connsiteY7" fmla="*/ 16911 h 16953"/>
              <a:gd name="connsiteX8" fmla="*/ 11183 w 19445"/>
              <a:gd name="connsiteY8" fmla="*/ 16797 h 16953"/>
              <a:gd name="connsiteX9" fmla="*/ 13806 w 19445"/>
              <a:gd name="connsiteY9" fmla="*/ 15918 h 16953"/>
              <a:gd name="connsiteX10" fmla="*/ 15719 w 19445"/>
              <a:gd name="connsiteY10" fmla="*/ 16033 h 16953"/>
              <a:gd name="connsiteX11" fmla="*/ 19138 w 19445"/>
              <a:gd name="connsiteY11" fmla="*/ 15924 h 16953"/>
              <a:gd name="connsiteX12" fmla="*/ 19305 w 19445"/>
              <a:gd name="connsiteY12" fmla="*/ 12038 h 16953"/>
              <a:gd name="connsiteX13" fmla="*/ 19333 w 19445"/>
              <a:gd name="connsiteY13" fmla="*/ 8393 h 16953"/>
              <a:gd name="connsiteX14" fmla="*/ 18949 w 19445"/>
              <a:gd name="connsiteY14" fmla="*/ 3401 h 16953"/>
              <a:gd name="connsiteX15" fmla="*/ 15199 w 19445"/>
              <a:gd name="connsiteY15" fmla="*/ 859 h 16953"/>
              <a:gd name="connsiteX16" fmla="*/ 11465 w 19445"/>
              <a:gd name="connsiteY16" fmla="*/ 23 h 16953"/>
              <a:gd name="connsiteX0" fmla="*/ 11465 w 19445"/>
              <a:gd name="connsiteY0" fmla="*/ 23 h 16917"/>
              <a:gd name="connsiteX1" fmla="*/ 5703 w 19445"/>
              <a:gd name="connsiteY1" fmla="*/ 1085 h 16917"/>
              <a:gd name="connsiteX2" fmla="*/ 1220 w 19445"/>
              <a:gd name="connsiteY2" fmla="*/ 5155 h 16917"/>
              <a:gd name="connsiteX3" fmla="*/ 36 w 19445"/>
              <a:gd name="connsiteY3" fmla="*/ 9089 h 16917"/>
              <a:gd name="connsiteX4" fmla="*/ 353 w 19445"/>
              <a:gd name="connsiteY4" fmla="*/ 13412 h 16917"/>
              <a:gd name="connsiteX5" fmla="*/ 1192 w 19445"/>
              <a:gd name="connsiteY5" fmla="*/ 15940 h 16917"/>
              <a:gd name="connsiteX6" fmla="*/ 6228 w 19445"/>
              <a:gd name="connsiteY6" fmla="*/ 16324 h 16917"/>
              <a:gd name="connsiteX7" fmla="*/ 8792 w 19445"/>
              <a:gd name="connsiteY7" fmla="*/ 16911 h 16917"/>
              <a:gd name="connsiteX8" fmla="*/ 11000 w 19445"/>
              <a:gd name="connsiteY8" fmla="*/ 15895 h 16917"/>
              <a:gd name="connsiteX9" fmla="*/ 13806 w 19445"/>
              <a:gd name="connsiteY9" fmla="*/ 15918 h 16917"/>
              <a:gd name="connsiteX10" fmla="*/ 15719 w 19445"/>
              <a:gd name="connsiteY10" fmla="*/ 16033 h 16917"/>
              <a:gd name="connsiteX11" fmla="*/ 19138 w 19445"/>
              <a:gd name="connsiteY11" fmla="*/ 15924 h 16917"/>
              <a:gd name="connsiteX12" fmla="*/ 19305 w 19445"/>
              <a:gd name="connsiteY12" fmla="*/ 12038 h 16917"/>
              <a:gd name="connsiteX13" fmla="*/ 19333 w 19445"/>
              <a:gd name="connsiteY13" fmla="*/ 8393 h 16917"/>
              <a:gd name="connsiteX14" fmla="*/ 18949 w 19445"/>
              <a:gd name="connsiteY14" fmla="*/ 3401 h 16917"/>
              <a:gd name="connsiteX15" fmla="*/ 15199 w 19445"/>
              <a:gd name="connsiteY15" fmla="*/ 859 h 16917"/>
              <a:gd name="connsiteX16" fmla="*/ 11465 w 19445"/>
              <a:gd name="connsiteY16" fmla="*/ 23 h 16917"/>
              <a:gd name="connsiteX0" fmla="*/ 11465 w 19445"/>
              <a:gd name="connsiteY0" fmla="*/ 23 h 16917"/>
              <a:gd name="connsiteX1" fmla="*/ 5703 w 19445"/>
              <a:gd name="connsiteY1" fmla="*/ 1085 h 16917"/>
              <a:gd name="connsiteX2" fmla="*/ 1220 w 19445"/>
              <a:gd name="connsiteY2" fmla="*/ 5155 h 16917"/>
              <a:gd name="connsiteX3" fmla="*/ 36 w 19445"/>
              <a:gd name="connsiteY3" fmla="*/ 9089 h 16917"/>
              <a:gd name="connsiteX4" fmla="*/ 353 w 19445"/>
              <a:gd name="connsiteY4" fmla="*/ 13412 h 16917"/>
              <a:gd name="connsiteX5" fmla="*/ 1192 w 19445"/>
              <a:gd name="connsiteY5" fmla="*/ 15940 h 16917"/>
              <a:gd name="connsiteX6" fmla="*/ 6228 w 19445"/>
              <a:gd name="connsiteY6" fmla="*/ 16324 h 16917"/>
              <a:gd name="connsiteX7" fmla="*/ 8792 w 19445"/>
              <a:gd name="connsiteY7" fmla="*/ 16911 h 16917"/>
              <a:gd name="connsiteX8" fmla="*/ 11000 w 19445"/>
              <a:gd name="connsiteY8" fmla="*/ 15895 h 16917"/>
              <a:gd name="connsiteX9" fmla="*/ 13829 w 19445"/>
              <a:gd name="connsiteY9" fmla="*/ 15573 h 16917"/>
              <a:gd name="connsiteX10" fmla="*/ 15719 w 19445"/>
              <a:gd name="connsiteY10" fmla="*/ 16033 h 16917"/>
              <a:gd name="connsiteX11" fmla="*/ 19138 w 19445"/>
              <a:gd name="connsiteY11" fmla="*/ 15924 h 16917"/>
              <a:gd name="connsiteX12" fmla="*/ 19305 w 19445"/>
              <a:gd name="connsiteY12" fmla="*/ 12038 h 16917"/>
              <a:gd name="connsiteX13" fmla="*/ 19333 w 19445"/>
              <a:gd name="connsiteY13" fmla="*/ 8393 h 16917"/>
              <a:gd name="connsiteX14" fmla="*/ 18949 w 19445"/>
              <a:gd name="connsiteY14" fmla="*/ 3401 h 16917"/>
              <a:gd name="connsiteX15" fmla="*/ 15199 w 19445"/>
              <a:gd name="connsiteY15" fmla="*/ 859 h 16917"/>
              <a:gd name="connsiteX16" fmla="*/ 11465 w 19445"/>
              <a:gd name="connsiteY16" fmla="*/ 23 h 16917"/>
              <a:gd name="connsiteX0" fmla="*/ 11465 w 19445"/>
              <a:gd name="connsiteY0" fmla="*/ 23 h 16917"/>
              <a:gd name="connsiteX1" fmla="*/ 5703 w 19445"/>
              <a:gd name="connsiteY1" fmla="*/ 1085 h 16917"/>
              <a:gd name="connsiteX2" fmla="*/ 1220 w 19445"/>
              <a:gd name="connsiteY2" fmla="*/ 5155 h 16917"/>
              <a:gd name="connsiteX3" fmla="*/ 36 w 19445"/>
              <a:gd name="connsiteY3" fmla="*/ 9089 h 16917"/>
              <a:gd name="connsiteX4" fmla="*/ 353 w 19445"/>
              <a:gd name="connsiteY4" fmla="*/ 13412 h 16917"/>
              <a:gd name="connsiteX5" fmla="*/ 1192 w 19445"/>
              <a:gd name="connsiteY5" fmla="*/ 15940 h 16917"/>
              <a:gd name="connsiteX6" fmla="*/ 6228 w 19445"/>
              <a:gd name="connsiteY6" fmla="*/ 16324 h 16917"/>
              <a:gd name="connsiteX7" fmla="*/ 8792 w 19445"/>
              <a:gd name="connsiteY7" fmla="*/ 16911 h 16917"/>
              <a:gd name="connsiteX8" fmla="*/ 11000 w 19445"/>
              <a:gd name="connsiteY8" fmla="*/ 15895 h 16917"/>
              <a:gd name="connsiteX9" fmla="*/ 13829 w 19445"/>
              <a:gd name="connsiteY9" fmla="*/ 15573 h 16917"/>
              <a:gd name="connsiteX10" fmla="*/ 15719 w 19445"/>
              <a:gd name="connsiteY10" fmla="*/ 15715 h 16917"/>
              <a:gd name="connsiteX11" fmla="*/ 19138 w 19445"/>
              <a:gd name="connsiteY11" fmla="*/ 15924 h 16917"/>
              <a:gd name="connsiteX12" fmla="*/ 19305 w 19445"/>
              <a:gd name="connsiteY12" fmla="*/ 12038 h 16917"/>
              <a:gd name="connsiteX13" fmla="*/ 19333 w 19445"/>
              <a:gd name="connsiteY13" fmla="*/ 8393 h 16917"/>
              <a:gd name="connsiteX14" fmla="*/ 18949 w 19445"/>
              <a:gd name="connsiteY14" fmla="*/ 3401 h 16917"/>
              <a:gd name="connsiteX15" fmla="*/ 15199 w 19445"/>
              <a:gd name="connsiteY15" fmla="*/ 859 h 16917"/>
              <a:gd name="connsiteX16" fmla="*/ 11465 w 19445"/>
              <a:gd name="connsiteY16" fmla="*/ 23 h 16917"/>
              <a:gd name="connsiteX0" fmla="*/ 11465 w 19390"/>
              <a:gd name="connsiteY0" fmla="*/ 23 h 16917"/>
              <a:gd name="connsiteX1" fmla="*/ 5703 w 19390"/>
              <a:gd name="connsiteY1" fmla="*/ 1085 h 16917"/>
              <a:gd name="connsiteX2" fmla="*/ 1220 w 19390"/>
              <a:gd name="connsiteY2" fmla="*/ 5155 h 16917"/>
              <a:gd name="connsiteX3" fmla="*/ 36 w 19390"/>
              <a:gd name="connsiteY3" fmla="*/ 9089 h 16917"/>
              <a:gd name="connsiteX4" fmla="*/ 353 w 19390"/>
              <a:gd name="connsiteY4" fmla="*/ 13412 h 16917"/>
              <a:gd name="connsiteX5" fmla="*/ 1192 w 19390"/>
              <a:gd name="connsiteY5" fmla="*/ 15940 h 16917"/>
              <a:gd name="connsiteX6" fmla="*/ 6228 w 19390"/>
              <a:gd name="connsiteY6" fmla="*/ 16324 h 16917"/>
              <a:gd name="connsiteX7" fmla="*/ 8792 w 19390"/>
              <a:gd name="connsiteY7" fmla="*/ 16911 h 16917"/>
              <a:gd name="connsiteX8" fmla="*/ 11000 w 19390"/>
              <a:gd name="connsiteY8" fmla="*/ 15895 h 16917"/>
              <a:gd name="connsiteX9" fmla="*/ 13829 w 19390"/>
              <a:gd name="connsiteY9" fmla="*/ 15573 h 16917"/>
              <a:gd name="connsiteX10" fmla="*/ 15719 w 19390"/>
              <a:gd name="connsiteY10" fmla="*/ 15715 h 16917"/>
              <a:gd name="connsiteX11" fmla="*/ 18543 w 19390"/>
              <a:gd name="connsiteY11" fmla="*/ 15924 h 16917"/>
              <a:gd name="connsiteX12" fmla="*/ 19305 w 19390"/>
              <a:gd name="connsiteY12" fmla="*/ 12038 h 16917"/>
              <a:gd name="connsiteX13" fmla="*/ 19333 w 19390"/>
              <a:gd name="connsiteY13" fmla="*/ 8393 h 16917"/>
              <a:gd name="connsiteX14" fmla="*/ 18949 w 19390"/>
              <a:gd name="connsiteY14" fmla="*/ 3401 h 16917"/>
              <a:gd name="connsiteX15" fmla="*/ 15199 w 19390"/>
              <a:gd name="connsiteY15" fmla="*/ 859 h 16917"/>
              <a:gd name="connsiteX16" fmla="*/ 11465 w 19390"/>
              <a:gd name="connsiteY16" fmla="*/ 23 h 16917"/>
              <a:gd name="connsiteX0" fmla="*/ 11465 w 19390"/>
              <a:gd name="connsiteY0" fmla="*/ 23 h 16917"/>
              <a:gd name="connsiteX1" fmla="*/ 5703 w 19390"/>
              <a:gd name="connsiteY1" fmla="*/ 1085 h 16917"/>
              <a:gd name="connsiteX2" fmla="*/ 1220 w 19390"/>
              <a:gd name="connsiteY2" fmla="*/ 5155 h 16917"/>
              <a:gd name="connsiteX3" fmla="*/ 36 w 19390"/>
              <a:gd name="connsiteY3" fmla="*/ 9089 h 16917"/>
              <a:gd name="connsiteX4" fmla="*/ 353 w 19390"/>
              <a:gd name="connsiteY4" fmla="*/ 13412 h 16917"/>
              <a:gd name="connsiteX5" fmla="*/ 1192 w 19390"/>
              <a:gd name="connsiteY5" fmla="*/ 15940 h 16917"/>
              <a:gd name="connsiteX6" fmla="*/ 6228 w 19390"/>
              <a:gd name="connsiteY6" fmla="*/ 16324 h 16917"/>
              <a:gd name="connsiteX7" fmla="*/ 8792 w 19390"/>
              <a:gd name="connsiteY7" fmla="*/ 16911 h 16917"/>
              <a:gd name="connsiteX8" fmla="*/ 11000 w 19390"/>
              <a:gd name="connsiteY8" fmla="*/ 15895 h 16917"/>
              <a:gd name="connsiteX9" fmla="*/ 13829 w 19390"/>
              <a:gd name="connsiteY9" fmla="*/ 15573 h 16917"/>
              <a:gd name="connsiteX10" fmla="*/ 15719 w 19390"/>
              <a:gd name="connsiteY10" fmla="*/ 15715 h 16917"/>
              <a:gd name="connsiteX11" fmla="*/ 18543 w 19390"/>
              <a:gd name="connsiteY11" fmla="*/ 15924 h 16917"/>
              <a:gd name="connsiteX12" fmla="*/ 19305 w 19390"/>
              <a:gd name="connsiteY12" fmla="*/ 12038 h 16917"/>
              <a:gd name="connsiteX13" fmla="*/ 19333 w 19390"/>
              <a:gd name="connsiteY13" fmla="*/ 8393 h 16917"/>
              <a:gd name="connsiteX14" fmla="*/ 18949 w 19390"/>
              <a:gd name="connsiteY14" fmla="*/ 3401 h 16917"/>
              <a:gd name="connsiteX15" fmla="*/ 15199 w 19390"/>
              <a:gd name="connsiteY15" fmla="*/ 859 h 16917"/>
              <a:gd name="connsiteX16" fmla="*/ 11465 w 19390"/>
              <a:gd name="connsiteY16" fmla="*/ 23 h 16917"/>
              <a:gd name="connsiteX0" fmla="*/ 11465 w 19390"/>
              <a:gd name="connsiteY0" fmla="*/ 23 h 16917"/>
              <a:gd name="connsiteX1" fmla="*/ 5703 w 19390"/>
              <a:gd name="connsiteY1" fmla="*/ 1085 h 16917"/>
              <a:gd name="connsiteX2" fmla="*/ 1220 w 19390"/>
              <a:gd name="connsiteY2" fmla="*/ 5155 h 16917"/>
              <a:gd name="connsiteX3" fmla="*/ 36 w 19390"/>
              <a:gd name="connsiteY3" fmla="*/ 9089 h 16917"/>
              <a:gd name="connsiteX4" fmla="*/ 353 w 19390"/>
              <a:gd name="connsiteY4" fmla="*/ 13412 h 16917"/>
              <a:gd name="connsiteX5" fmla="*/ 1192 w 19390"/>
              <a:gd name="connsiteY5" fmla="*/ 15940 h 16917"/>
              <a:gd name="connsiteX6" fmla="*/ 6228 w 19390"/>
              <a:gd name="connsiteY6" fmla="*/ 16324 h 16917"/>
              <a:gd name="connsiteX7" fmla="*/ 8792 w 19390"/>
              <a:gd name="connsiteY7" fmla="*/ 16911 h 16917"/>
              <a:gd name="connsiteX8" fmla="*/ 11000 w 19390"/>
              <a:gd name="connsiteY8" fmla="*/ 15895 h 16917"/>
              <a:gd name="connsiteX9" fmla="*/ 13829 w 19390"/>
              <a:gd name="connsiteY9" fmla="*/ 15573 h 16917"/>
              <a:gd name="connsiteX10" fmla="*/ 15719 w 19390"/>
              <a:gd name="connsiteY10" fmla="*/ 15715 h 16917"/>
              <a:gd name="connsiteX11" fmla="*/ 18543 w 19390"/>
              <a:gd name="connsiteY11" fmla="*/ 15924 h 16917"/>
              <a:gd name="connsiteX12" fmla="*/ 19305 w 19390"/>
              <a:gd name="connsiteY12" fmla="*/ 12038 h 16917"/>
              <a:gd name="connsiteX13" fmla="*/ 19333 w 19390"/>
              <a:gd name="connsiteY13" fmla="*/ 8393 h 16917"/>
              <a:gd name="connsiteX14" fmla="*/ 18949 w 19390"/>
              <a:gd name="connsiteY14" fmla="*/ 3401 h 16917"/>
              <a:gd name="connsiteX15" fmla="*/ 15199 w 19390"/>
              <a:gd name="connsiteY15" fmla="*/ 859 h 16917"/>
              <a:gd name="connsiteX16" fmla="*/ 11465 w 19390"/>
              <a:gd name="connsiteY16" fmla="*/ 23 h 16917"/>
              <a:gd name="connsiteX0" fmla="*/ 11465 w 19379"/>
              <a:gd name="connsiteY0" fmla="*/ 23 h 16917"/>
              <a:gd name="connsiteX1" fmla="*/ 5703 w 19379"/>
              <a:gd name="connsiteY1" fmla="*/ 1085 h 16917"/>
              <a:gd name="connsiteX2" fmla="*/ 1220 w 19379"/>
              <a:gd name="connsiteY2" fmla="*/ 5155 h 16917"/>
              <a:gd name="connsiteX3" fmla="*/ 36 w 19379"/>
              <a:gd name="connsiteY3" fmla="*/ 9089 h 16917"/>
              <a:gd name="connsiteX4" fmla="*/ 353 w 19379"/>
              <a:gd name="connsiteY4" fmla="*/ 13412 h 16917"/>
              <a:gd name="connsiteX5" fmla="*/ 1192 w 19379"/>
              <a:gd name="connsiteY5" fmla="*/ 15940 h 16917"/>
              <a:gd name="connsiteX6" fmla="*/ 6228 w 19379"/>
              <a:gd name="connsiteY6" fmla="*/ 16324 h 16917"/>
              <a:gd name="connsiteX7" fmla="*/ 8792 w 19379"/>
              <a:gd name="connsiteY7" fmla="*/ 16911 h 16917"/>
              <a:gd name="connsiteX8" fmla="*/ 11000 w 19379"/>
              <a:gd name="connsiteY8" fmla="*/ 15895 h 16917"/>
              <a:gd name="connsiteX9" fmla="*/ 13829 w 19379"/>
              <a:gd name="connsiteY9" fmla="*/ 15573 h 16917"/>
              <a:gd name="connsiteX10" fmla="*/ 15719 w 19379"/>
              <a:gd name="connsiteY10" fmla="*/ 15715 h 16917"/>
              <a:gd name="connsiteX11" fmla="*/ 18543 w 19379"/>
              <a:gd name="connsiteY11" fmla="*/ 15924 h 16917"/>
              <a:gd name="connsiteX12" fmla="*/ 19305 w 19379"/>
              <a:gd name="connsiteY12" fmla="*/ 12038 h 16917"/>
              <a:gd name="connsiteX13" fmla="*/ 19310 w 19379"/>
              <a:gd name="connsiteY13" fmla="*/ 8976 h 16917"/>
              <a:gd name="connsiteX14" fmla="*/ 18949 w 19379"/>
              <a:gd name="connsiteY14" fmla="*/ 3401 h 16917"/>
              <a:gd name="connsiteX15" fmla="*/ 15199 w 19379"/>
              <a:gd name="connsiteY15" fmla="*/ 859 h 16917"/>
              <a:gd name="connsiteX16" fmla="*/ 11465 w 19379"/>
              <a:gd name="connsiteY16" fmla="*/ 23 h 16917"/>
              <a:gd name="connsiteX0" fmla="*/ 11465 w 19372"/>
              <a:gd name="connsiteY0" fmla="*/ 23 h 16917"/>
              <a:gd name="connsiteX1" fmla="*/ 5703 w 19372"/>
              <a:gd name="connsiteY1" fmla="*/ 1085 h 16917"/>
              <a:gd name="connsiteX2" fmla="*/ 1220 w 19372"/>
              <a:gd name="connsiteY2" fmla="*/ 5155 h 16917"/>
              <a:gd name="connsiteX3" fmla="*/ 36 w 19372"/>
              <a:gd name="connsiteY3" fmla="*/ 9089 h 16917"/>
              <a:gd name="connsiteX4" fmla="*/ 353 w 19372"/>
              <a:gd name="connsiteY4" fmla="*/ 13412 h 16917"/>
              <a:gd name="connsiteX5" fmla="*/ 1192 w 19372"/>
              <a:gd name="connsiteY5" fmla="*/ 15940 h 16917"/>
              <a:gd name="connsiteX6" fmla="*/ 6228 w 19372"/>
              <a:gd name="connsiteY6" fmla="*/ 16324 h 16917"/>
              <a:gd name="connsiteX7" fmla="*/ 8792 w 19372"/>
              <a:gd name="connsiteY7" fmla="*/ 16911 h 16917"/>
              <a:gd name="connsiteX8" fmla="*/ 11000 w 19372"/>
              <a:gd name="connsiteY8" fmla="*/ 15895 h 16917"/>
              <a:gd name="connsiteX9" fmla="*/ 13829 w 19372"/>
              <a:gd name="connsiteY9" fmla="*/ 15573 h 16917"/>
              <a:gd name="connsiteX10" fmla="*/ 15719 w 19372"/>
              <a:gd name="connsiteY10" fmla="*/ 15715 h 16917"/>
              <a:gd name="connsiteX11" fmla="*/ 18543 w 19372"/>
              <a:gd name="connsiteY11" fmla="*/ 15924 h 16917"/>
              <a:gd name="connsiteX12" fmla="*/ 19305 w 19372"/>
              <a:gd name="connsiteY12" fmla="*/ 12038 h 16917"/>
              <a:gd name="connsiteX13" fmla="*/ 19310 w 19372"/>
              <a:gd name="connsiteY13" fmla="*/ 8976 h 16917"/>
              <a:gd name="connsiteX14" fmla="*/ 18949 w 19372"/>
              <a:gd name="connsiteY14" fmla="*/ 3401 h 16917"/>
              <a:gd name="connsiteX15" fmla="*/ 15199 w 19372"/>
              <a:gd name="connsiteY15" fmla="*/ 859 h 16917"/>
              <a:gd name="connsiteX16" fmla="*/ 11465 w 19372"/>
              <a:gd name="connsiteY16" fmla="*/ 23 h 16917"/>
              <a:gd name="connsiteX0" fmla="*/ 11465 w 19318"/>
              <a:gd name="connsiteY0" fmla="*/ 23 h 16917"/>
              <a:gd name="connsiteX1" fmla="*/ 5703 w 19318"/>
              <a:gd name="connsiteY1" fmla="*/ 1085 h 16917"/>
              <a:gd name="connsiteX2" fmla="*/ 1220 w 19318"/>
              <a:gd name="connsiteY2" fmla="*/ 5155 h 16917"/>
              <a:gd name="connsiteX3" fmla="*/ 36 w 19318"/>
              <a:gd name="connsiteY3" fmla="*/ 9089 h 16917"/>
              <a:gd name="connsiteX4" fmla="*/ 353 w 19318"/>
              <a:gd name="connsiteY4" fmla="*/ 13412 h 16917"/>
              <a:gd name="connsiteX5" fmla="*/ 1192 w 19318"/>
              <a:gd name="connsiteY5" fmla="*/ 15940 h 16917"/>
              <a:gd name="connsiteX6" fmla="*/ 6228 w 19318"/>
              <a:gd name="connsiteY6" fmla="*/ 16324 h 16917"/>
              <a:gd name="connsiteX7" fmla="*/ 8792 w 19318"/>
              <a:gd name="connsiteY7" fmla="*/ 16911 h 16917"/>
              <a:gd name="connsiteX8" fmla="*/ 11000 w 19318"/>
              <a:gd name="connsiteY8" fmla="*/ 15895 h 16917"/>
              <a:gd name="connsiteX9" fmla="*/ 13829 w 19318"/>
              <a:gd name="connsiteY9" fmla="*/ 15573 h 16917"/>
              <a:gd name="connsiteX10" fmla="*/ 15719 w 19318"/>
              <a:gd name="connsiteY10" fmla="*/ 15715 h 16917"/>
              <a:gd name="connsiteX11" fmla="*/ 18543 w 19318"/>
              <a:gd name="connsiteY11" fmla="*/ 15924 h 16917"/>
              <a:gd name="connsiteX12" fmla="*/ 19099 w 19318"/>
              <a:gd name="connsiteY12" fmla="*/ 12224 h 16917"/>
              <a:gd name="connsiteX13" fmla="*/ 19310 w 19318"/>
              <a:gd name="connsiteY13" fmla="*/ 8976 h 16917"/>
              <a:gd name="connsiteX14" fmla="*/ 18949 w 19318"/>
              <a:gd name="connsiteY14" fmla="*/ 3401 h 16917"/>
              <a:gd name="connsiteX15" fmla="*/ 15199 w 19318"/>
              <a:gd name="connsiteY15" fmla="*/ 859 h 16917"/>
              <a:gd name="connsiteX16" fmla="*/ 11465 w 19318"/>
              <a:gd name="connsiteY16" fmla="*/ 23 h 16917"/>
              <a:gd name="connsiteX0" fmla="*/ 11465 w 19167"/>
              <a:gd name="connsiteY0" fmla="*/ 23 h 16917"/>
              <a:gd name="connsiteX1" fmla="*/ 5703 w 19167"/>
              <a:gd name="connsiteY1" fmla="*/ 1085 h 16917"/>
              <a:gd name="connsiteX2" fmla="*/ 1220 w 19167"/>
              <a:gd name="connsiteY2" fmla="*/ 5155 h 16917"/>
              <a:gd name="connsiteX3" fmla="*/ 36 w 19167"/>
              <a:gd name="connsiteY3" fmla="*/ 9089 h 16917"/>
              <a:gd name="connsiteX4" fmla="*/ 353 w 19167"/>
              <a:gd name="connsiteY4" fmla="*/ 13412 h 16917"/>
              <a:gd name="connsiteX5" fmla="*/ 1192 w 19167"/>
              <a:gd name="connsiteY5" fmla="*/ 15940 h 16917"/>
              <a:gd name="connsiteX6" fmla="*/ 6228 w 19167"/>
              <a:gd name="connsiteY6" fmla="*/ 16324 h 16917"/>
              <a:gd name="connsiteX7" fmla="*/ 8792 w 19167"/>
              <a:gd name="connsiteY7" fmla="*/ 16911 h 16917"/>
              <a:gd name="connsiteX8" fmla="*/ 11000 w 19167"/>
              <a:gd name="connsiteY8" fmla="*/ 15895 h 16917"/>
              <a:gd name="connsiteX9" fmla="*/ 13829 w 19167"/>
              <a:gd name="connsiteY9" fmla="*/ 15573 h 16917"/>
              <a:gd name="connsiteX10" fmla="*/ 15719 w 19167"/>
              <a:gd name="connsiteY10" fmla="*/ 15715 h 16917"/>
              <a:gd name="connsiteX11" fmla="*/ 18543 w 19167"/>
              <a:gd name="connsiteY11" fmla="*/ 15924 h 16917"/>
              <a:gd name="connsiteX12" fmla="*/ 19099 w 19167"/>
              <a:gd name="connsiteY12" fmla="*/ 12224 h 16917"/>
              <a:gd name="connsiteX13" fmla="*/ 18944 w 19167"/>
              <a:gd name="connsiteY13" fmla="*/ 9029 h 16917"/>
              <a:gd name="connsiteX14" fmla="*/ 18949 w 19167"/>
              <a:gd name="connsiteY14" fmla="*/ 3401 h 16917"/>
              <a:gd name="connsiteX15" fmla="*/ 15199 w 19167"/>
              <a:gd name="connsiteY15" fmla="*/ 859 h 16917"/>
              <a:gd name="connsiteX16" fmla="*/ 11465 w 19167"/>
              <a:gd name="connsiteY16" fmla="*/ 23 h 16917"/>
              <a:gd name="connsiteX0" fmla="*/ 11465 w 19242"/>
              <a:gd name="connsiteY0" fmla="*/ 23 h 16917"/>
              <a:gd name="connsiteX1" fmla="*/ 5703 w 19242"/>
              <a:gd name="connsiteY1" fmla="*/ 1085 h 16917"/>
              <a:gd name="connsiteX2" fmla="*/ 1220 w 19242"/>
              <a:gd name="connsiteY2" fmla="*/ 5155 h 16917"/>
              <a:gd name="connsiteX3" fmla="*/ 36 w 19242"/>
              <a:gd name="connsiteY3" fmla="*/ 9089 h 16917"/>
              <a:gd name="connsiteX4" fmla="*/ 353 w 19242"/>
              <a:gd name="connsiteY4" fmla="*/ 13412 h 16917"/>
              <a:gd name="connsiteX5" fmla="*/ 1192 w 19242"/>
              <a:gd name="connsiteY5" fmla="*/ 15940 h 16917"/>
              <a:gd name="connsiteX6" fmla="*/ 6228 w 19242"/>
              <a:gd name="connsiteY6" fmla="*/ 16324 h 16917"/>
              <a:gd name="connsiteX7" fmla="*/ 8792 w 19242"/>
              <a:gd name="connsiteY7" fmla="*/ 16911 h 16917"/>
              <a:gd name="connsiteX8" fmla="*/ 11000 w 19242"/>
              <a:gd name="connsiteY8" fmla="*/ 15895 h 16917"/>
              <a:gd name="connsiteX9" fmla="*/ 13829 w 19242"/>
              <a:gd name="connsiteY9" fmla="*/ 15573 h 16917"/>
              <a:gd name="connsiteX10" fmla="*/ 15719 w 19242"/>
              <a:gd name="connsiteY10" fmla="*/ 15715 h 16917"/>
              <a:gd name="connsiteX11" fmla="*/ 18543 w 19242"/>
              <a:gd name="connsiteY11" fmla="*/ 15924 h 16917"/>
              <a:gd name="connsiteX12" fmla="*/ 19099 w 19242"/>
              <a:gd name="connsiteY12" fmla="*/ 12224 h 16917"/>
              <a:gd name="connsiteX13" fmla="*/ 19173 w 19242"/>
              <a:gd name="connsiteY13" fmla="*/ 9029 h 16917"/>
              <a:gd name="connsiteX14" fmla="*/ 18949 w 19242"/>
              <a:gd name="connsiteY14" fmla="*/ 3401 h 16917"/>
              <a:gd name="connsiteX15" fmla="*/ 15199 w 19242"/>
              <a:gd name="connsiteY15" fmla="*/ 859 h 16917"/>
              <a:gd name="connsiteX16" fmla="*/ 11465 w 19242"/>
              <a:gd name="connsiteY16" fmla="*/ 23 h 16917"/>
              <a:gd name="connsiteX0" fmla="*/ 11465 w 19188"/>
              <a:gd name="connsiteY0" fmla="*/ 23 h 16917"/>
              <a:gd name="connsiteX1" fmla="*/ 5703 w 19188"/>
              <a:gd name="connsiteY1" fmla="*/ 1085 h 16917"/>
              <a:gd name="connsiteX2" fmla="*/ 1220 w 19188"/>
              <a:gd name="connsiteY2" fmla="*/ 5155 h 16917"/>
              <a:gd name="connsiteX3" fmla="*/ 36 w 19188"/>
              <a:gd name="connsiteY3" fmla="*/ 9089 h 16917"/>
              <a:gd name="connsiteX4" fmla="*/ 353 w 19188"/>
              <a:gd name="connsiteY4" fmla="*/ 13412 h 16917"/>
              <a:gd name="connsiteX5" fmla="*/ 1192 w 19188"/>
              <a:gd name="connsiteY5" fmla="*/ 15940 h 16917"/>
              <a:gd name="connsiteX6" fmla="*/ 6228 w 19188"/>
              <a:gd name="connsiteY6" fmla="*/ 16324 h 16917"/>
              <a:gd name="connsiteX7" fmla="*/ 8792 w 19188"/>
              <a:gd name="connsiteY7" fmla="*/ 16911 h 16917"/>
              <a:gd name="connsiteX8" fmla="*/ 11000 w 19188"/>
              <a:gd name="connsiteY8" fmla="*/ 15895 h 16917"/>
              <a:gd name="connsiteX9" fmla="*/ 13829 w 19188"/>
              <a:gd name="connsiteY9" fmla="*/ 15573 h 16917"/>
              <a:gd name="connsiteX10" fmla="*/ 15719 w 19188"/>
              <a:gd name="connsiteY10" fmla="*/ 15715 h 16917"/>
              <a:gd name="connsiteX11" fmla="*/ 18543 w 19188"/>
              <a:gd name="connsiteY11" fmla="*/ 15924 h 16917"/>
              <a:gd name="connsiteX12" fmla="*/ 19099 w 19188"/>
              <a:gd name="connsiteY12" fmla="*/ 12224 h 16917"/>
              <a:gd name="connsiteX13" fmla="*/ 19173 w 19188"/>
              <a:gd name="connsiteY13" fmla="*/ 9029 h 16917"/>
              <a:gd name="connsiteX14" fmla="*/ 18949 w 19188"/>
              <a:gd name="connsiteY14" fmla="*/ 3401 h 16917"/>
              <a:gd name="connsiteX15" fmla="*/ 15199 w 19188"/>
              <a:gd name="connsiteY15" fmla="*/ 859 h 16917"/>
              <a:gd name="connsiteX16" fmla="*/ 11465 w 19188"/>
              <a:gd name="connsiteY16" fmla="*/ 23 h 16917"/>
              <a:gd name="connsiteX0" fmla="*/ 11465 w 19188"/>
              <a:gd name="connsiteY0" fmla="*/ 23 h 16917"/>
              <a:gd name="connsiteX1" fmla="*/ 5703 w 19188"/>
              <a:gd name="connsiteY1" fmla="*/ 1085 h 16917"/>
              <a:gd name="connsiteX2" fmla="*/ 1220 w 19188"/>
              <a:gd name="connsiteY2" fmla="*/ 5155 h 16917"/>
              <a:gd name="connsiteX3" fmla="*/ 36 w 19188"/>
              <a:gd name="connsiteY3" fmla="*/ 9089 h 16917"/>
              <a:gd name="connsiteX4" fmla="*/ 353 w 19188"/>
              <a:gd name="connsiteY4" fmla="*/ 13412 h 16917"/>
              <a:gd name="connsiteX5" fmla="*/ 1192 w 19188"/>
              <a:gd name="connsiteY5" fmla="*/ 15940 h 16917"/>
              <a:gd name="connsiteX6" fmla="*/ 6228 w 19188"/>
              <a:gd name="connsiteY6" fmla="*/ 16324 h 16917"/>
              <a:gd name="connsiteX7" fmla="*/ 8792 w 19188"/>
              <a:gd name="connsiteY7" fmla="*/ 16911 h 16917"/>
              <a:gd name="connsiteX8" fmla="*/ 11000 w 19188"/>
              <a:gd name="connsiteY8" fmla="*/ 15895 h 16917"/>
              <a:gd name="connsiteX9" fmla="*/ 13829 w 19188"/>
              <a:gd name="connsiteY9" fmla="*/ 15573 h 16917"/>
              <a:gd name="connsiteX10" fmla="*/ 15719 w 19188"/>
              <a:gd name="connsiteY10" fmla="*/ 15715 h 16917"/>
              <a:gd name="connsiteX11" fmla="*/ 18543 w 19188"/>
              <a:gd name="connsiteY11" fmla="*/ 15924 h 16917"/>
              <a:gd name="connsiteX12" fmla="*/ 19099 w 19188"/>
              <a:gd name="connsiteY12" fmla="*/ 12224 h 16917"/>
              <a:gd name="connsiteX13" fmla="*/ 19173 w 19188"/>
              <a:gd name="connsiteY13" fmla="*/ 9029 h 16917"/>
              <a:gd name="connsiteX14" fmla="*/ 19145 w 19188"/>
              <a:gd name="connsiteY14" fmla="*/ 3629 h 16917"/>
              <a:gd name="connsiteX15" fmla="*/ 15199 w 19188"/>
              <a:gd name="connsiteY15" fmla="*/ 859 h 16917"/>
              <a:gd name="connsiteX16" fmla="*/ 11465 w 19188"/>
              <a:gd name="connsiteY16" fmla="*/ 23 h 16917"/>
              <a:gd name="connsiteX0" fmla="*/ 11465 w 19188"/>
              <a:gd name="connsiteY0" fmla="*/ 23 h 16917"/>
              <a:gd name="connsiteX1" fmla="*/ 5703 w 19188"/>
              <a:gd name="connsiteY1" fmla="*/ 1085 h 16917"/>
              <a:gd name="connsiteX2" fmla="*/ 1220 w 19188"/>
              <a:gd name="connsiteY2" fmla="*/ 5155 h 16917"/>
              <a:gd name="connsiteX3" fmla="*/ 36 w 19188"/>
              <a:gd name="connsiteY3" fmla="*/ 9089 h 16917"/>
              <a:gd name="connsiteX4" fmla="*/ 353 w 19188"/>
              <a:gd name="connsiteY4" fmla="*/ 13412 h 16917"/>
              <a:gd name="connsiteX5" fmla="*/ 1192 w 19188"/>
              <a:gd name="connsiteY5" fmla="*/ 15940 h 16917"/>
              <a:gd name="connsiteX6" fmla="*/ 6228 w 19188"/>
              <a:gd name="connsiteY6" fmla="*/ 16324 h 16917"/>
              <a:gd name="connsiteX7" fmla="*/ 8792 w 19188"/>
              <a:gd name="connsiteY7" fmla="*/ 16911 h 16917"/>
              <a:gd name="connsiteX8" fmla="*/ 11000 w 19188"/>
              <a:gd name="connsiteY8" fmla="*/ 15895 h 16917"/>
              <a:gd name="connsiteX9" fmla="*/ 13829 w 19188"/>
              <a:gd name="connsiteY9" fmla="*/ 15573 h 16917"/>
              <a:gd name="connsiteX10" fmla="*/ 15719 w 19188"/>
              <a:gd name="connsiteY10" fmla="*/ 15715 h 16917"/>
              <a:gd name="connsiteX11" fmla="*/ 18543 w 19188"/>
              <a:gd name="connsiteY11" fmla="*/ 15924 h 16917"/>
              <a:gd name="connsiteX12" fmla="*/ 19099 w 19188"/>
              <a:gd name="connsiteY12" fmla="*/ 12224 h 16917"/>
              <a:gd name="connsiteX13" fmla="*/ 19173 w 19188"/>
              <a:gd name="connsiteY13" fmla="*/ 9029 h 16917"/>
              <a:gd name="connsiteX14" fmla="*/ 19145 w 19188"/>
              <a:gd name="connsiteY14" fmla="*/ 3629 h 16917"/>
              <a:gd name="connsiteX15" fmla="*/ 15199 w 19188"/>
              <a:gd name="connsiteY15" fmla="*/ 859 h 16917"/>
              <a:gd name="connsiteX16" fmla="*/ 11465 w 19188"/>
              <a:gd name="connsiteY16" fmla="*/ 23 h 16917"/>
              <a:gd name="connsiteX0" fmla="*/ 11465 w 19198"/>
              <a:gd name="connsiteY0" fmla="*/ 23 h 16917"/>
              <a:gd name="connsiteX1" fmla="*/ 5703 w 19198"/>
              <a:gd name="connsiteY1" fmla="*/ 1085 h 16917"/>
              <a:gd name="connsiteX2" fmla="*/ 1220 w 19198"/>
              <a:gd name="connsiteY2" fmla="*/ 5155 h 16917"/>
              <a:gd name="connsiteX3" fmla="*/ 36 w 19198"/>
              <a:gd name="connsiteY3" fmla="*/ 9089 h 16917"/>
              <a:gd name="connsiteX4" fmla="*/ 353 w 19198"/>
              <a:gd name="connsiteY4" fmla="*/ 13412 h 16917"/>
              <a:gd name="connsiteX5" fmla="*/ 1192 w 19198"/>
              <a:gd name="connsiteY5" fmla="*/ 15940 h 16917"/>
              <a:gd name="connsiteX6" fmla="*/ 6228 w 19198"/>
              <a:gd name="connsiteY6" fmla="*/ 16324 h 16917"/>
              <a:gd name="connsiteX7" fmla="*/ 8792 w 19198"/>
              <a:gd name="connsiteY7" fmla="*/ 16911 h 16917"/>
              <a:gd name="connsiteX8" fmla="*/ 11000 w 19198"/>
              <a:gd name="connsiteY8" fmla="*/ 15895 h 16917"/>
              <a:gd name="connsiteX9" fmla="*/ 13829 w 19198"/>
              <a:gd name="connsiteY9" fmla="*/ 15573 h 16917"/>
              <a:gd name="connsiteX10" fmla="*/ 15719 w 19198"/>
              <a:gd name="connsiteY10" fmla="*/ 15715 h 16917"/>
              <a:gd name="connsiteX11" fmla="*/ 18543 w 19198"/>
              <a:gd name="connsiteY11" fmla="*/ 15924 h 16917"/>
              <a:gd name="connsiteX12" fmla="*/ 19099 w 19198"/>
              <a:gd name="connsiteY12" fmla="*/ 12224 h 16917"/>
              <a:gd name="connsiteX13" fmla="*/ 19173 w 19198"/>
              <a:gd name="connsiteY13" fmla="*/ 9029 h 16917"/>
              <a:gd name="connsiteX14" fmla="*/ 19161 w 19198"/>
              <a:gd name="connsiteY14" fmla="*/ 3610 h 16917"/>
              <a:gd name="connsiteX15" fmla="*/ 15199 w 19198"/>
              <a:gd name="connsiteY15" fmla="*/ 859 h 16917"/>
              <a:gd name="connsiteX16" fmla="*/ 11465 w 19198"/>
              <a:gd name="connsiteY16" fmla="*/ 23 h 16917"/>
              <a:gd name="connsiteX0" fmla="*/ 11465 w 19359"/>
              <a:gd name="connsiteY0" fmla="*/ 23 h 16917"/>
              <a:gd name="connsiteX1" fmla="*/ 5703 w 19359"/>
              <a:gd name="connsiteY1" fmla="*/ 1085 h 16917"/>
              <a:gd name="connsiteX2" fmla="*/ 1220 w 19359"/>
              <a:gd name="connsiteY2" fmla="*/ 5155 h 16917"/>
              <a:gd name="connsiteX3" fmla="*/ 36 w 19359"/>
              <a:gd name="connsiteY3" fmla="*/ 9089 h 16917"/>
              <a:gd name="connsiteX4" fmla="*/ 353 w 19359"/>
              <a:gd name="connsiteY4" fmla="*/ 13412 h 16917"/>
              <a:gd name="connsiteX5" fmla="*/ 1192 w 19359"/>
              <a:gd name="connsiteY5" fmla="*/ 15940 h 16917"/>
              <a:gd name="connsiteX6" fmla="*/ 6228 w 19359"/>
              <a:gd name="connsiteY6" fmla="*/ 16324 h 16917"/>
              <a:gd name="connsiteX7" fmla="*/ 8792 w 19359"/>
              <a:gd name="connsiteY7" fmla="*/ 16911 h 16917"/>
              <a:gd name="connsiteX8" fmla="*/ 11000 w 19359"/>
              <a:gd name="connsiteY8" fmla="*/ 15895 h 16917"/>
              <a:gd name="connsiteX9" fmla="*/ 13829 w 19359"/>
              <a:gd name="connsiteY9" fmla="*/ 15573 h 16917"/>
              <a:gd name="connsiteX10" fmla="*/ 15719 w 19359"/>
              <a:gd name="connsiteY10" fmla="*/ 15715 h 16917"/>
              <a:gd name="connsiteX11" fmla="*/ 19116 w 19359"/>
              <a:gd name="connsiteY11" fmla="*/ 15943 h 16917"/>
              <a:gd name="connsiteX12" fmla="*/ 19099 w 19359"/>
              <a:gd name="connsiteY12" fmla="*/ 12224 h 16917"/>
              <a:gd name="connsiteX13" fmla="*/ 19173 w 19359"/>
              <a:gd name="connsiteY13" fmla="*/ 9029 h 16917"/>
              <a:gd name="connsiteX14" fmla="*/ 19161 w 19359"/>
              <a:gd name="connsiteY14" fmla="*/ 3610 h 16917"/>
              <a:gd name="connsiteX15" fmla="*/ 15199 w 19359"/>
              <a:gd name="connsiteY15" fmla="*/ 859 h 16917"/>
              <a:gd name="connsiteX16" fmla="*/ 11465 w 19359"/>
              <a:gd name="connsiteY16" fmla="*/ 23 h 16917"/>
              <a:gd name="connsiteX0" fmla="*/ 11465 w 19198"/>
              <a:gd name="connsiteY0" fmla="*/ 23 h 16917"/>
              <a:gd name="connsiteX1" fmla="*/ 5703 w 19198"/>
              <a:gd name="connsiteY1" fmla="*/ 1085 h 16917"/>
              <a:gd name="connsiteX2" fmla="*/ 1220 w 19198"/>
              <a:gd name="connsiteY2" fmla="*/ 5155 h 16917"/>
              <a:gd name="connsiteX3" fmla="*/ 36 w 19198"/>
              <a:gd name="connsiteY3" fmla="*/ 9089 h 16917"/>
              <a:gd name="connsiteX4" fmla="*/ 353 w 19198"/>
              <a:gd name="connsiteY4" fmla="*/ 13412 h 16917"/>
              <a:gd name="connsiteX5" fmla="*/ 1192 w 19198"/>
              <a:gd name="connsiteY5" fmla="*/ 15940 h 16917"/>
              <a:gd name="connsiteX6" fmla="*/ 6228 w 19198"/>
              <a:gd name="connsiteY6" fmla="*/ 16324 h 16917"/>
              <a:gd name="connsiteX7" fmla="*/ 8792 w 19198"/>
              <a:gd name="connsiteY7" fmla="*/ 16911 h 16917"/>
              <a:gd name="connsiteX8" fmla="*/ 11000 w 19198"/>
              <a:gd name="connsiteY8" fmla="*/ 15895 h 16917"/>
              <a:gd name="connsiteX9" fmla="*/ 13829 w 19198"/>
              <a:gd name="connsiteY9" fmla="*/ 15573 h 16917"/>
              <a:gd name="connsiteX10" fmla="*/ 15719 w 19198"/>
              <a:gd name="connsiteY10" fmla="*/ 15715 h 16917"/>
              <a:gd name="connsiteX11" fmla="*/ 19116 w 19198"/>
              <a:gd name="connsiteY11" fmla="*/ 15943 h 16917"/>
              <a:gd name="connsiteX12" fmla="*/ 19099 w 19198"/>
              <a:gd name="connsiteY12" fmla="*/ 12224 h 16917"/>
              <a:gd name="connsiteX13" fmla="*/ 19173 w 19198"/>
              <a:gd name="connsiteY13" fmla="*/ 9029 h 16917"/>
              <a:gd name="connsiteX14" fmla="*/ 19161 w 19198"/>
              <a:gd name="connsiteY14" fmla="*/ 3610 h 16917"/>
              <a:gd name="connsiteX15" fmla="*/ 15199 w 19198"/>
              <a:gd name="connsiteY15" fmla="*/ 859 h 16917"/>
              <a:gd name="connsiteX16" fmla="*/ 11465 w 19198"/>
              <a:gd name="connsiteY16" fmla="*/ 23 h 16917"/>
              <a:gd name="connsiteX0" fmla="*/ 11465 w 19198"/>
              <a:gd name="connsiteY0" fmla="*/ 23 h 16917"/>
              <a:gd name="connsiteX1" fmla="*/ 5703 w 19198"/>
              <a:gd name="connsiteY1" fmla="*/ 1085 h 16917"/>
              <a:gd name="connsiteX2" fmla="*/ 1220 w 19198"/>
              <a:gd name="connsiteY2" fmla="*/ 5155 h 16917"/>
              <a:gd name="connsiteX3" fmla="*/ 36 w 19198"/>
              <a:gd name="connsiteY3" fmla="*/ 9089 h 16917"/>
              <a:gd name="connsiteX4" fmla="*/ 353 w 19198"/>
              <a:gd name="connsiteY4" fmla="*/ 13412 h 16917"/>
              <a:gd name="connsiteX5" fmla="*/ 1192 w 19198"/>
              <a:gd name="connsiteY5" fmla="*/ 15940 h 16917"/>
              <a:gd name="connsiteX6" fmla="*/ 6228 w 19198"/>
              <a:gd name="connsiteY6" fmla="*/ 16324 h 16917"/>
              <a:gd name="connsiteX7" fmla="*/ 8792 w 19198"/>
              <a:gd name="connsiteY7" fmla="*/ 16911 h 16917"/>
              <a:gd name="connsiteX8" fmla="*/ 11000 w 19198"/>
              <a:gd name="connsiteY8" fmla="*/ 15895 h 16917"/>
              <a:gd name="connsiteX9" fmla="*/ 13829 w 19198"/>
              <a:gd name="connsiteY9" fmla="*/ 15573 h 16917"/>
              <a:gd name="connsiteX10" fmla="*/ 15719 w 19198"/>
              <a:gd name="connsiteY10" fmla="*/ 15715 h 16917"/>
              <a:gd name="connsiteX11" fmla="*/ 19177 w 19198"/>
              <a:gd name="connsiteY11" fmla="*/ 15966 h 16917"/>
              <a:gd name="connsiteX12" fmla="*/ 19099 w 19198"/>
              <a:gd name="connsiteY12" fmla="*/ 12224 h 16917"/>
              <a:gd name="connsiteX13" fmla="*/ 19173 w 19198"/>
              <a:gd name="connsiteY13" fmla="*/ 9029 h 16917"/>
              <a:gd name="connsiteX14" fmla="*/ 19161 w 19198"/>
              <a:gd name="connsiteY14" fmla="*/ 3610 h 16917"/>
              <a:gd name="connsiteX15" fmla="*/ 15199 w 19198"/>
              <a:gd name="connsiteY15" fmla="*/ 859 h 16917"/>
              <a:gd name="connsiteX16" fmla="*/ 11465 w 19198"/>
              <a:gd name="connsiteY16" fmla="*/ 23 h 16917"/>
              <a:gd name="connsiteX0" fmla="*/ 11465 w 19434"/>
              <a:gd name="connsiteY0" fmla="*/ 23 h 16917"/>
              <a:gd name="connsiteX1" fmla="*/ 5703 w 19434"/>
              <a:gd name="connsiteY1" fmla="*/ 1085 h 16917"/>
              <a:gd name="connsiteX2" fmla="*/ 1220 w 19434"/>
              <a:gd name="connsiteY2" fmla="*/ 5155 h 16917"/>
              <a:gd name="connsiteX3" fmla="*/ 36 w 19434"/>
              <a:gd name="connsiteY3" fmla="*/ 9089 h 16917"/>
              <a:gd name="connsiteX4" fmla="*/ 353 w 19434"/>
              <a:gd name="connsiteY4" fmla="*/ 13412 h 16917"/>
              <a:gd name="connsiteX5" fmla="*/ 1192 w 19434"/>
              <a:gd name="connsiteY5" fmla="*/ 15940 h 16917"/>
              <a:gd name="connsiteX6" fmla="*/ 6228 w 19434"/>
              <a:gd name="connsiteY6" fmla="*/ 16324 h 16917"/>
              <a:gd name="connsiteX7" fmla="*/ 8792 w 19434"/>
              <a:gd name="connsiteY7" fmla="*/ 16911 h 16917"/>
              <a:gd name="connsiteX8" fmla="*/ 11000 w 19434"/>
              <a:gd name="connsiteY8" fmla="*/ 15895 h 16917"/>
              <a:gd name="connsiteX9" fmla="*/ 13829 w 19434"/>
              <a:gd name="connsiteY9" fmla="*/ 15573 h 16917"/>
              <a:gd name="connsiteX10" fmla="*/ 15719 w 19434"/>
              <a:gd name="connsiteY10" fmla="*/ 15715 h 16917"/>
              <a:gd name="connsiteX11" fmla="*/ 19177 w 19434"/>
              <a:gd name="connsiteY11" fmla="*/ 15966 h 16917"/>
              <a:gd name="connsiteX12" fmla="*/ 19180 w 19434"/>
              <a:gd name="connsiteY12" fmla="*/ 12271 h 16917"/>
              <a:gd name="connsiteX13" fmla="*/ 19173 w 19434"/>
              <a:gd name="connsiteY13" fmla="*/ 9029 h 16917"/>
              <a:gd name="connsiteX14" fmla="*/ 19161 w 19434"/>
              <a:gd name="connsiteY14" fmla="*/ 3610 h 16917"/>
              <a:gd name="connsiteX15" fmla="*/ 15199 w 19434"/>
              <a:gd name="connsiteY15" fmla="*/ 859 h 16917"/>
              <a:gd name="connsiteX16" fmla="*/ 11465 w 19434"/>
              <a:gd name="connsiteY16" fmla="*/ 23 h 16917"/>
              <a:gd name="connsiteX0" fmla="*/ 11465 w 19195"/>
              <a:gd name="connsiteY0" fmla="*/ 23 h 16917"/>
              <a:gd name="connsiteX1" fmla="*/ 5703 w 19195"/>
              <a:gd name="connsiteY1" fmla="*/ 1085 h 16917"/>
              <a:gd name="connsiteX2" fmla="*/ 1220 w 19195"/>
              <a:gd name="connsiteY2" fmla="*/ 5155 h 16917"/>
              <a:gd name="connsiteX3" fmla="*/ 36 w 19195"/>
              <a:gd name="connsiteY3" fmla="*/ 9089 h 16917"/>
              <a:gd name="connsiteX4" fmla="*/ 353 w 19195"/>
              <a:gd name="connsiteY4" fmla="*/ 13412 h 16917"/>
              <a:gd name="connsiteX5" fmla="*/ 1192 w 19195"/>
              <a:gd name="connsiteY5" fmla="*/ 15940 h 16917"/>
              <a:gd name="connsiteX6" fmla="*/ 6228 w 19195"/>
              <a:gd name="connsiteY6" fmla="*/ 16324 h 16917"/>
              <a:gd name="connsiteX7" fmla="*/ 8792 w 19195"/>
              <a:gd name="connsiteY7" fmla="*/ 16911 h 16917"/>
              <a:gd name="connsiteX8" fmla="*/ 11000 w 19195"/>
              <a:gd name="connsiteY8" fmla="*/ 15895 h 16917"/>
              <a:gd name="connsiteX9" fmla="*/ 13829 w 19195"/>
              <a:gd name="connsiteY9" fmla="*/ 15573 h 16917"/>
              <a:gd name="connsiteX10" fmla="*/ 15719 w 19195"/>
              <a:gd name="connsiteY10" fmla="*/ 15715 h 16917"/>
              <a:gd name="connsiteX11" fmla="*/ 19177 w 19195"/>
              <a:gd name="connsiteY11" fmla="*/ 15966 h 16917"/>
              <a:gd name="connsiteX12" fmla="*/ 19180 w 19195"/>
              <a:gd name="connsiteY12" fmla="*/ 12271 h 16917"/>
              <a:gd name="connsiteX13" fmla="*/ 19173 w 19195"/>
              <a:gd name="connsiteY13" fmla="*/ 9029 h 16917"/>
              <a:gd name="connsiteX14" fmla="*/ 19161 w 19195"/>
              <a:gd name="connsiteY14" fmla="*/ 3610 h 16917"/>
              <a:gd name="connsiteX15" fmla="*/ 15199 w 19195"/>
              <a:gd name="connsiteY15" fmla="*/ 859 h 16917"/>
              <a:gd name="connsiteX16" fmla="*/ 11465 w 19195"/>
              <a:gd name="connsiteY16" fmla="*/ 23 h 16917"/>
              <a:gd name="connsiteX0" fmla="*/ 11465 w 19259"/>
              <a:gd name="connsiteY0" fmla="*/ 23 h 16917"/>
              <a:gd name="connsiteX1" fmla="*/ 5703 w 19259"/>
              <a:gd name="connsiteY1" fmla="*/ 1085 h 16917"/>
              <a:gd name="connsiteX2" fmla="*/ 1220 w 19259"/>
              <a:gd name="connsiteY2" fmla="*/ 5155 h 16917"/>
              <a:gd name="connsiteX3" fmla="*/ 36 w 19259"/>
              <a:gd name="connsiteY3" fmla="*/ 9089 h 16917"/>
              <a:gd name="connsiteX4" fmla="*/ 353 w 19259"/>
              <a:gd name="connsiteY4" fmla="*/ 13412 h 16917"/>
              <a:gd name="connsiteX5" fmla="*/ 1192 w 19259"/>
              <a:gd name="connsiteY5" fmla="*/ 15940 h 16917"/>
              <a:gd name="connsiteX6" fmla="*/ 6228 w 19259"/>
              <a:gd name="connsiteY6" fmla="*/ 16324 h 16917"/>
              <a:gd name="connsiteX7" fmla="*/ 8792 w 19259"/>
              <a:gd name="connsiteY7" fmla="*/ 16911 h 16917"/>
              <a:gd name="connsiteX8" fmla="*/ 11000 w 19259"/>
              <a:gd name="connsiteY8" fmla="*/ 15895 h 16917"/>
              <a:gd name="connsiteX9" fmla="*/ 13829 w 19259"/>
              <a:gd name="connsiteY9" fmla="*/ 15573 h 16917"/>
              <a:gd name="connsiteX10" fmla="*/ 15719 w 19259"/>
              <a:gd name="connsiteY10" fmla="*/ 15715 h 16917"/>
              <a:gd name="connsiteX11" fmla="*/ 19177 w 19259"/>
              <a:gd name="connsiteY11" fmla="*/ 15966 h 16917"/>
              <a:gd name="connsiteX12" fmla="*/ 19180 w 19259"/>
              <a:gd name="connsiteY12" fmla="*/ 12271 h 16917"/>
              <a:gd name="connsiteX13" fmla="*/ 19259 w 19259"/>
              <a:gd name="connsiteY13" fmla="*/ 9054 h 16917"/>
              <a:gd name="connsiteX14" fmla="*/ 19161 w 19259"/>
              <a:gd name="connsiteY14" fmla="*/ 3610 h 16917"/>
              <a:gd name="connsiteX15" fmla="*/ 15199 w 19259"/>
              <a:gd name="connsiteY15" fmla="*/ 859 h 16917"/>
              <a:gd name="connsiteX16" fmla="*/ 11465 w 19259"/>
              <a:gd name="connsiteY16" fmla="*/ 23 h 16917"/>
              <a:gd name="connsiteX0" fmla="*/ 11465 w 19263"/>
              <a:gd name="connsiteY0" fmla="*/ 23 h 16917"/>
              <a:gd name="connsiteX1" fmla="*/ 5703 w 19263"/>
              <a:gd name="connsiteY1" fmla="*/ 1085 h 16917"/>
              <a:gd name="connsiteX2" fmla="*/ 1220 w 19263"/>
              <a:gd name="connsiteY2" fmla="*/ 5155 h 16917"/>
              <a:gd name="connsiteX3" fmla="*/ 36 w 19263"/>
              <a:gd name="connsiteY3" fmla="*/ 9089 h 16917"/>
              <a:gd name="connsiteX4" fmla="*/ 353 w 19263"/>
              <a:gd name="connsiteY4" fmla="*/ 13412 h 16917"/>
              <a:gd name="connsiteX5" fmla="*/ 1192 w 19263"/>
              <a:gd name="connsiteY5" fmla="*/ 15940 h 16917"/>
              <a:gd name="connsiteX6" fmla="*/ 6228 w 19263"/>
              <a:gd name="connsiteY6" fmla="*/ 16324 h 16917"/>
              <a:gd name="connsiteX7" fmla="*/ 8792 w 19263"/>
              <a:gd name="connsiteY7" fmla="*/ 16911 h 16917"/>
              <a:gd name="connsiteX8" fmla="*/ 11000 w 19263"/>
              <a:gd name="connsiteY8" fmla="*/ 15895 h 16917"/>
              <a:gd name="connsiteX9" fmla="*/ 13829 w 19263"/>
              <a:gd name="connsiteY9" fmla="*/ 15573 h 16917"/>
              <a:gd name="connsiteX10" fmla="*/ 15719 w 19263"/>
              <a:gd name="connsiteY10" fmla="*/ 15715 h 16917"/>
              <a:gd name="connsiteX11" fmla="*/ 19177 w 19263"/>
              <a:gd name="connsiteY11" fmla="*/ 15966 h 16917"/>
              <a:gd name="connsiteX12" fmla="*/ 19180 w 19263"/>
              <a:gd name="connsiteY12" fmla="*/ 12271 h 16917"/>
              <a:gd name="connsiteX13" fmla="*/ 19259 w 19263"/>
              <a:gd name="connsiteY13" fmla="*/ 9054 h 16917"/>
              <a:gd name="connsiteX14" fmla="*/ 19161 w 19263"/>
              <a:gd name="connsiteY14" fmla="*/ 3610 h 16917"/>
              <a:gd name="connsiteX15" fmla="*/ 15199 w 19263"/>
              <a:gd name="connsiteY15" fmla="*/ 859 h 16917"/>
              <a:gd name="connsiteX16" fmla="*/ 11465 w 19263"/>
              <a:gd name="connsiteY16" fmla="*/ 23 h 16917"/>
              <a:gd name="connsiteX0" fmla="*/ 11465 w 19263"/>
              <a:gd name="connsiteY0" fmla="*/ 23 h 16917"/>
              <a:gd name="connsiteX1" fmla="*/ 5703 w 19263"/>
              <a:gd name="connsiteY1" fmla="*/ 1085 h 16917"/>
              <a:gd name="connsiteX2" fmla="*/ 1220 w 19263"/>
              <a:gd name="connsiteY2" fmla="*/ 5155 h 16917"/>
              <a:gd name="connsiteX3" fmla="*/ 36 w 19263"/>
              <a:gd name="connsiteY3" fmla="*/ 9089 h 16917"/>
              <a:gd name="connsiteX4" fmla="*/ 353 w 19263"/>
              <a:gd name="connsiteY4" fmla="*/ 13412 h 16917"/>
              <a:gd name="connsiteX5" fmla="*/ 1192 w 19263"/>
              <a:gd name="connsiteY5" fmla="*/ 15940 h 16917"/>
              <a:gd name="connsiteX6" fmla="*/ 6228 w 19263"/>
              <a:gd name="connsiteY6" fmla="*/ 16324 h 16917"/>
              <a:gd name="connsiteX7" fmla="*/ 8792 w 19263"/>
              <a:gd name="connsiteY7" fmla="*/ 16911 h 16917"/>
              <a:gd name="connsiteX8" fmla="*/ 11000 w 19263"/>
              <a:gd name="connsiteY8" fmla="*/ 15895 h 16917"/>
              <a:gd name="connsiteX9" fmla="*/ 13829 w 19263"/>
              <a:gd name="connsiteY9" fmla="*/ 15573 h 16917"/>
              <a:gd name="connsiteX10" fmla="*/ 15719 w 19263"/>
              <a:gd name="connsiteY10" fmla="*/ 15715 h 16917"/>
              <a:gd name="connsiteX11" fmla="*/ 19177 w 19263"/>
              <a:gd name="connsiteY11" fmla="*/ 15966 h 16917"/>
              <a:gd name="connsiteX12" fmla="*/ 19180 w 19263"/>
              <a:gd name="connsiteY12" fmla="*/ 12271 h 16917"/>
              <a:gd name="connsiteX13" fmla="*/ 19259 w 19263"/>
              <a:gd name="connsiteY13" fmla="*/ 9054 h 16917"/>
              <a:gd name="connsiteX14" fmla="*/ 19161 w 19263"/>
              <a:gd name="connsiteY14" fmla="*/ 3610 h 16917"/>
              <a:gd name="connsiteX15" fmla="*/ 15199 w 19263"/>
              <a:gd name="connsiteY15" fmla="*/ 859 h 16917"/>
              <a:gd name="connsiteX16" fmla="*/ 11465 w 19263"/>
              <a:gd name="connsiteY16" fmla="*/ 23 h 16917"/>
              <a:gd name="connsiteX0" fmla="*/ 11465 w 19202"/>
              <a:gd name="connsiteY0" fmla="*/ 23 h 16917"/>
              <a:gd name="connsiteX1" fmla="*/ 5703 w 19202"/>
              <a:gd name="connsiteY1" fmla="*/ 1085 h 16917"/>
              <a:gd name="connsiteX2" fmla="*/ 1220 w 19202"/>
              <a:gd name="connsiteY2" fmla="*/ 5155 h 16917"/>
              <a:gd name="connsiteX3" fmla="*/ 36 w 19202"/>
              <a:gd name="connsiteY3" fmla="*/ 9089 h 16917"/>
              <a:gd name="connsiteX4" fmla="*/ 353 w 19202"/>
              <a:gd name="connsiteY4" fmla="*/ 13412 h 16917"/>
              <a:gd name="connsiteX5" fmla="*/ 1192 w 19202"/>
              <a:gd name="connsiteY5" fmla="*/ 15940 h 16917"/>
              <a:gd name="connsiteX6" fmla="*/ 6228 w 19202"/>
              <a:gd name="connsiteY6" fmla="*/ 16324 h 16917"/>
              <a:gd name="connsiteX7" fmla="*/ 8792 w 19202"/>
              <a:gd name="connsiteY7" fmla="*/ 16911 h 16917"/>
              <a:gd name="connsiteX8" fmla="*/ 11000 w 19202"/>
              <a:gd name="connsiteY8" fmla="*/ 15895 h 16917"/>
              <a:gd name="connsiteX9" fmla="*/ 13829 w 19202"/>
              <a:gd name="connsiteY9" fmla="*/ 15573 h 16917"/>
              <a:gd name="connsiteX10" fmla="*/ 15719 w 19202"/>
              <a:gd name="connsiteY10" fmla="*/ 15715 h 16917"/>
              <a:gd name="connsiteX11" fmla="*/ 19177 w 19202"/>
              <a:gd name="connsiteY11" fmla="*/ 15966 h 16917"/>
              <a:gd name="connsiteX12" fmla="*/ 19180 w 19202"/>
              <a:gd name="connsiteY12" fmla="*/ 12271 h 16917"/>
              <a:gd name="connsiteX13" fmla="*/ 18851 w 19202"/>
              <a:gd name="connsiteY13" fmla="*/ 9079 h 16917"/>
              <a:gd name="connsiteX14" fmla="*/ 19161 w 19202"/>
              <a:gd name="connsiteY14" fmla="*/ 3610 h 16917"/>
              <a:gd name="connsiteX15" fmla="*/ 15199 w 19202"/>
              <a:gd name="connsiteY15" fmla="*/ 859 h 16917"/>
              <a:gd name="connsiteX16" fmla="*/ 11465 w 19202"/>
              <a:gd name="connsiteY16" fmla="*/ 23 h 16917"/>
              <a:gd name="connsiteX0" fmla="*/ 11465 w 19186"/>
              <a:gd name="connsiteY0" fmla="*/ 23 h 16917"/>
              <a:gd name="connsiteX1" fmla="*/ 5703 w 19186"/>
              <a:gd name="connsiteY1" fmla="*/ 1085 h 16917"/>
              <a:gd name="connsiteX2" fmla="*/ 1220 w 19186"/>
              <a:gd name="connsiteY2" fmla="*/ 5155 h 16917"/>
              <a:gd name="connsiteX3" fmla="*/ 36 w 19186"/>
              <a:gd name="connsiteY3" fmla="*/ 9089 h 16917"/>
              <a:gd name="connsiteX4" fmla="*/ 353 w 19186"/>
              <a:gd name="connsiteY4" fmla="*/ 13412 h 16917"/>
              <a:gd name="connsiteX5" fmla="*/ 1192 w 19186"/>
              <a:gd name="connsiteY5" fmla="*/ 15940 h 16917"/>
              <a:gd name="connsiteX6" fmla="*/ 6228 w 19186"/>
              <a:gd name="connsiteY6" fmla="*/ 16324 h 16917"/>
              <a:gd name="connsiteX7" fmla="*/ 8792 w 19186"/>
              <a:gd name="connsiteY7" fmla="*/ 16911 h 16917"/>
              <a:gd name="connsiteX8" fmla="*/ 11000 w 19186"/>
              <a:gd name="connsiteY8" fmla="*/ 15895 h 16917"/>
              <a:gd name="connsiteX9" fmla="*/ 13829 w 19186"/>
              <a:gd name="connsiteY9" fmla="*/ 15573 h 16917"/>
              <a:gd name="connsiteX10" fmla="*/ 15719 w 19186"/>
              <a:gd name="connsiteY10" fmla="*/ 15715 h 16917"/>
              <a:gd name="connsiteX11" fmla="*/ 19177 w 19186"/>
              <a:gd name="connsiteY11" fmla="*/ 15966 h 16917"/>
              <a:gd name="connsiteX12" fmla="*/ 19180 w 19186"/>
              <a:gd name="connsiteY12" fmla="*/ 12271 h 16917"/>
              <a:gd name="connsiteX13" fmla="*/ 19152 w 19186"/>
              <a:gd name="connsiteY13" fmla="*/ 9129 h 16917"/>
              <a:gd name="connsiteX14" fmla="*/ 19161 w 19186"/>
              <a:gd name="connsiteY14" fmla="*/ 3610 h 16917"/>
              <a:gd name="connsiteX15" fmla="*/ 15199 w 19186"/>
              <a:gd name="connsiteY15" fmla="*/ 859 h 16917"/>
              <a:gd name="connsiteX16" fmla="*/ 11465 w 19186"/>
              <a:gd name="connsiteY16" fmla="*/ 23 h 16917"/>
              <a:gd name="connsiteX0" fmla="*/ 11465 w 19203"/>
              <a:gd name="connsiteY0" fmla="*/ 23 h 16917"/>
              <a:gd name="connsiteX1" fmla="*/ 5703 w 19203"/>
              <a:gd name="connsiteY1" fmla="*/ 1085 h 16917"/>
              <a:gd name="connsiteX2" fmla="*/ 1220 w 19203"/>
              <a:gd name="connsiteY2" fmla="*/ 5155 h 16917"/>
              <a:gd name="connsiteX3" fmla="*/ 36 w 19203"/>
              <a:gd name="connsiteY3" fmla="*/ 9089 h 16917"/>
              <a:gd name="connsiteX4" fmla="*/ 353 w 19203"/>
              <a:gd name="connsiteY4" fmla="*/ 13412 h 16917"/>
              <a:gd name="connsiteX5" fmla="*/ 1192 w 19203"/>
              <a:gd name="connsiteY5" fmla="*/ 15940 h 16917"/>
              <a:gd name="connsiteX6" fmla="*/ 6228 w 19203"/>
              <a:gd name="connsiteY6" fmla="*/ 16324 h 16917"/>
              <a:gd name="connsiteX7" fmla="*/ 8792 w 19203"/>
              <a:gd name="connsiteY7" fmla="*/ 16911 h 16917"/>
              <a:gd name="connsiteX8" fmla="*/ 11000 w 19203"/>
              <a:gd name="connsiteY8" fmla="*/ 15895 h 16917"/>
              <a:gd name="connsiteX9" fmla="*/ 13829 w 19203"/>
              <a:gd name="connsiteY9" fmla="*/ 15573 h 16917"/>
              <a:gd name="connsiteX10" fmla="*/ 15719 w 19203"/>
              <a:gd name="connsiteY10" fmla="*/ 15715 h 16917"/>
              <a:gd name="connsiteX11" fmla="*/ 19177 w 19203"/>
              <a:gd name="connsiteY11" fmla="*/ 15966 h 16917"/>
              <a:gd name="connsiteX12" fmla="*/ 19180 w 19203"/>
              <a:gd name="connsiteY12" fmla="*/ 12271 h 16917"/>
              <a:gd name="connsiteX13" fmla="*/ 19195 w 19203"/>
              <a:gd name="connsiteY13" fmla="*/ 9129 h 16917"/>
              <a:gd name="connsiteX14" fmla="*/ 19161 w 19203"/>
              <a:gd name="connsiteY14" fmla="*/ 3610 h 16917"/>
              <a:gd name="connsiteX15" fmla="*/ 15199 w 19203"/>
              <a:gd name="connsiteY15" fmla="*/ 859 h 16917"/>
              <a:gd name="connsiteX16" fmla="*/ 11465 w 19203"/>
              <a:gd name="connsiteY16" fmla="*/ 23 h 16917"/>
              <a:gd name="connsiteX0" fmla="*/ 11465 w 19203"/>
              <a:gd name="connsiteY0" fmla="*/ 23 h 16917"/>
              <a:gd name="connsiteX1" fmla="*/ 5703 w 19203"/>
              <a:gd name="connsiteY1" fmla="*/ 1085 h 16917"/>
              <a:gd name="connsiteX2" fmla="*/ 1220 w 19203"/>
              <a:gd name="connsiteY2" fmla="*/ 5155 h 16917"/>
              <a:gd name="connsiteX3" fmla="*/ 36 w 19203"/>
              <a:gd name="connsiteY3" fmla="*/ 9089 h 16917"/>
              <a:gd name="connsiteX4" fmla="*/ 353 w 19203"/>
              <a:gd name="connsiteY4" fmla="*/ 13412 h 16917"/>
              <a:gd name="connsiteX5" fmla="*/ 1192 w 19203"/>
              <a:gd name="connsiteY5" fmla="*/ 15940 h 16917"/>
              <a:gd name="connsiteX6" fmla="*/ 6228 w 19203"/>
              <a:gd name="connsiteY6" fmla="*/ 16324 h 16917"/>
              <a:gd name="connsiteX7" fmla="*/ 8792 w 19203"/>
              <a:gd name="connsiteY7" fmla="*/ 16911 h 16917"/>
              <a:gd name="connsiteX8" fmla="*/ 11000 w 19203"/>
              <a:gd name="connsiteY8" fmla="*/ 15895 h 16917"/>
              <a:gd name="connsiteX9" fmla="*/ 13829 w 19203"/>
              <a:gd name="connsiteY9" fmla="*/ 15573 h 16917"/>
              <a:gd name="connsiteX10" fmla="*/ 15719 w 19203"/>
              <a:gd name="connsiteY10" fmla="*/ 15715 h 16917"/>
              <a:gd name="connsiteX11" fmla="*/ 19177 w 19203"/>
              <a:gd name="connsiteY11" fmla="*/ 15966 h 16917"/>
              <a:gd name="connsiteX12" fmla="*/ 19180 w 19203"/>
              <a:gd name="connsiteY12" fmla="*/ 12271 h 16917"/>
              <a:gd name="connsiteX13" fmla="*/ 19195 w 19203"/>
              <a:gd name="connsiteY13" fmla="*/ 9129 h 16917"/>
              <a:gd name="connsiteX14" fmla="*/ 19161 w 19203"/>
              <a:gd name="connsiteY14" fmla="*/ 3610 h 16917"/>
              <a:gd name="connsiteX15" fmla="*/ 15199 w 19203"/>
              <a:gd name="connsiteY15" fmla="*/ 859 h 16917"/>
              <a:gd name="connsiteX16" fmla="*/ 11465 w 19203"/>
              <a:gd name="connsiteY16" fmla="*/ 23 h 16917"/>
              <a:gd name="connsiteX0" fmla="*/ 11465 w 19203"/>
              <a:gd name="connsiteY0" fmla="*/ 23 h 16917"/>
              <a:gd name="connsiteX1" fmla="*/ 5703 w 19203"/>
              <a:gd name="connsiteY1" fmla="*/ 1085 h 16917"/>
              <a:gd name="connsiteX2" fmla="*/ 1220 w 19203"/>
              <a:gd name="connsiteY2" fmla="*/ 5155 h 16917"/>
              <a:gd name="connsiteX3" fmla="*/ 36 w 19203"/>
              <a:gd name="connsiteY3" fmla="*/ 9089 h 16917"/>
              <a:gd name="connsiteX4" fmla="*/ 353 w 19203"/>
              <a:gd name="connsiteY4" fmla="*/ 13412 h 16917"/>
              <a:gd name="connsiteX5" fmla="*/ 1192 w 19203"/>
              <a:gd name="connsiteY5" fmla="*/ 15940 h 16917"/>
              <a:gd name="connsiteX6" fmla="*/ 6228 w 19203"/>
              <a:gd name="connsiteY6" fmla="*/ 16324 h 16917"/>
              <a:gd name="connsiteX7" fmla="*/ 8792 w 19203"/>
              <a:gd name="connsiteY7" fmla="*/ 16911 h 16917"/>
              <a:gd name="connsiteX8" fmla="*/ 11000 w 19203"/>
              <a:gd name="connsiteY8" fmla="*/ 15895 h 16917"/>
              <a:gd name="connsiteX9" fmla="*/ 13829 w 19203"/>
              <a:gd name="connsiteY9" fmla="*/ 15573 h 16917"/>
              <a:gd name="connsiteX10" fmla="*/ 15719 w 19203"/>
              <a:gd name="connsiteY10" fmla="*/ 15715 h 16917"/>
              <a:gd name="connsiteX11" fmla="*/ 19177 w 19203"/>
              <a:gd name="connsiteY11" fmla="*/ 15966 h 16917"/>
              <a:gd name="connsiteX12" fmla="*/ 19180 w 19203"/>
              <a:gd name="connsiteY12" fmla="*/ 12271 h 16917"/>
              <a:gd name="connsiteX13" fmla="*/ 19195 w 19203"/>
              <a:gd name="connsiteY13" fmla="*/ 9129 h 16917"/>
              <a:gd name="connsiteX14" fmla="*/ 19161 w 19203"/>
              <a:gd name="connsiteY14" fmla="*/ 3610 h 16917"/>
              <a:gd name="connsiteX15" fmla="*/ 15199 w 19203"/>
              <a:gd name="connsiteY15" fmla="*/ 859 h 16917"/>
              <a:gd name="connsiteX16" fmla="*/ 11465 w 19203"/>
              <a:gd name="connsiteY16" fmla="*/ 23 h 16917"/>
              <a:gd name="connsiteX0" fmla="*/ 11465 w 19203"/>
              <a:gd name="connsiteY0" fmla="*/ 23 h 16917"/>
              <a:gd name="connsiteX1" fmla="*/ 5703 w 19203"/>
              <a:gd name="connsiteY1" fmla="*/ 1085 h 16917"/>
              <a:gd name="connsiteX2" fmla="*/ 1220 w 19203"/>
              <a:gd name="connsiteY2" fmla="*/ 5155 h 16917"/>
              <a:gd name="connsiteX3" fmla="*/ 36 w 19203"/>
              <a:gd name="connsiteY3" fmla="*/ 9089 h 16917"/>
              <a:gd name="connsiteX4" fmla="*/ 353 w 19203"/>
              <a:gd name="connsiteY4" fmla="*/ 13412 h 16917"/>
              <a:gd name="connsiteX5" fmla="*/ 1192 w 19203"/>
              <a:gd name="connsiteY5" fmla="*/ 15940 h 16917"/>
              <a:gd name="connsiteX6" fmla="*/ 6228 w 19203"/>
              <a:gd name="connsiteY6" fmla="*/ 16324 h 16917"/>
              <a:gd name="connsiteX7" fmla="*/ 8792 w 19203"/>
              <a:gd name="connsiteY7" fmla="*/ 16911 h 16917"/>
              <a:gd name="connsiteX8" fmla="*/ 11000 w 19203"/>
              <a:gd name="connsiteY8" fmla="*/ 15895 h 16917"/>
              <a:gd name="connsiteX9" fmla="*/ 13786 w 19203"/>
              <a:gd name="connsiteY9" fmla="*/ 15872 h 16917"/>
              <a:gd name="connsiteX10" fmla="*/ 15719 w 19203"/>
              <a:gd name="connsiteY10" fmla="*/ 15715 h 16917"/>
              <a:gd name="connsiteX11" fmla="*/ 19177 w 19203"/>
              <a:gd name="connsiteY11" fmla="*/ 15966 h 16917"/>
              <a:gd name="connsiteX12" fmla="*/ 19180 w 19203"/>
              <a:gd name="connsiteY12" fmla="*/ 12271 h 16917"/>
              <a:gd name="connsiteX13" fmla="*/ 19195 w 19203"/>
              <a:gd name="connsiteY13" fmla="*/ 9129 h 16917"/>
              <a:gd name="connsiteX14" fmla="*/ 19161 w 19203"/>
              <a:gd name="connsiteY14" fmla="*/ 3610 h 16917"/>
              <a:gd name="connsiteX15" fmla="*/ 15199 w 19203"/>
              <a:gd name="connsiteY15" fmla="*/ 859 h 16917"/>
              <a:gd name="connsiteX16" fmla="*/ 11465 w 19203"/>
              <a:gd name="connsiteY16" fmla="*/ 23 h 16917"/>
              <a:gd name="connsiteX0" fmla="*/ 11465 w 19439"/>
              <a:gd name="connsiteY0" fmla="*/ 23 h 16917"/>
              <a:gd name="connsiteX1" fmla="*/ 5703 w 19439"/>
              <a:gd name="connsiteY1" fmla="*/ 1085 h 16917"/>
              <a:gd name="connsiteX2" fmla="*/ 1220 w 19439"/>
              <a:gd name="connsiteY2" fmla="*/ 5155 h 16917"/>
              <a:gd name="connsiteX3" fmla="*/ 36 w 19439"/>
              <a:gd name="connsiteY3" fmla="*/ 9089 h 16917"/>
              <a:gd name="connsiteX4" fmla="*/ 353 w 19439"/>
              <a:gd name="connsiteY4" fmla="*/ 13412 h 16917"/>
              <a:gd name="connsiteX5" fmla="*/ 1192 w 19439"/>
              <a:gd name="connsiteY5" fmla="*/ 15940 h 16917"/>
              <a:gd name="connsiteX6" fmla="*/ 6228 w 19439"/>
              <a:gd name="connsiteY6" fmla="*/ 16324 h 16917"/>
              <a:gd name="connsiteX7" fmla="*/ 8792 w 19439"/>
              <a:gd name="connsiteY7" fmla="*/ 16911 h 16917"/>
              <a:gd name="connsiteX8" fmla="*/ 11000 w 19439"/>
              <a:gd name="connsiteY8" fmla="*/ 15895 h 16917"/>
              <a:gd name="connsiteX9" fmla="*/ 13786 w 19439"/>
              <a:gd name="connsiteY9" fmla="*/ 15872 h 16917"/>
              <a:gd name="connsiteX10" fmla="*/ 15633 w 19439"/>
              <a:gd name="connsiteY10" fmla="*/ 15840 h 16917"/>
              <a:gd name="connsiteX11" fmla="*/ 19177 w 19439"/>
              <a:gd name="connsiteY11" fmla="*/ 15966 h 16917"/>
              <a:gd name="connsiteX12" fmla="*/ 19180 w 19439"/>
              <a:gd name="connsiteY12" fmla="*/ 12271 h 16917"/>
              <a:gd name="connsiteX13" fmla="*/ 19195 w 19439"/>
              <a:gd name="connsiteY13" fmla="*/ 9129 h 16917"/>
              <a:gd name="connsiteX14" fmla="*/ 19161 w 19439"/>
              <a:gd name="connsiteY14" fmla="*/ 3610 h 16917"/>
              <a:gd name="connsiteX15" fmla="*/ 15199 w 19439"/>
              <a:gd name="connsiteY15" fmla="*/ 859 h 16917"/>
              <a:gd name="connsiteX16" fmla="*/ 11465 w 19439"/>
              <a:gd name="connsiteY16" fmla="*/ 23 h 16917"/>
              <a:gd name="connsiteX0" fmla="*/ 11465 w 19203"/>
              <a:gd name="connsiteY0" fmla="*/ 23 h 16917"/>
              <a:gd name="connsiteX1" fmla="*/ 5703 w 19203"/>
              <a:gd name="connsiteY1" fmla="*/ 1085 h 16917"/>
              <a:gd name="connsiteX2" fmla="*/ 1220 w 19203"/>
              <a:gd name="connsiteY2" fmla="*/ 5155 h 16917"/>
              <a:gd name="connsiteX3" fmla="*/ 36 w 19203"/>
              <a:gd name="connsiteY3" fmla="*/ 9089 h 16917"/>
              <a:gd name="connsiteX4" fmla="*/ 353 w 19203"/>
              <a:gd name="connsiteY4" fmla="*/ 13412 h 16917"/>
              <a:gd name="connsiteX5" fmla="*/ 1192 w 19203"/>
              <a:gd name="connsiteY5" fmla="*/ 15940 h 16917"/>
              <a:gd name="connsiteX6" fmla="*/ 6228 w 19203"/>
              <a:gd name="connsiteY6" fmla="*/ 16324 h 16917"/>
              <a:gd name="connsiteX7" fmla="*/ 8792 w 19203"/>
              <a:gd name="connsiteY7" fmla="*/ 16911 h 16917"/>
              <a:gd name="connsiteX8" fmla="*/ 11000 w 19203"/>
              <a:gd name="connsiteY8" fmla="*/ 15895 h 16917"/>
              <a:gd name="connsiteX9" fmla="*/ 13786 w 19203"/>
              <a:gd name="connsiteY9" fmla="*/ 15872 h 16917"/>
              <a:gd name="connsiteX10" fmla="*/ 15633 w 19203"/>
              <a:gd name="connsiteY10" fmla="*/ 15840 h 16917"/>
              <a:gd name="connsiteX11" fmla="*/ 19177 w 19203"/>
              <a:gd name="connsiteY11" fmla="*/ 15966 h 16917"/>
              <a:gd name="connsiteX12" fmla="*/ 19180 w 19203"/>
              <a:gd name="connsiteY12" fmla="*/ 12271 h 16917"/>
              <a:gd name="connsiteX13" fmla="*/ 19195 w 19203"/>
              <a:gd name="connsiteY13" fmla="*/ 9129 h 16917"/>
              <a:gd name="connsiteX14" fmla="*/ 19161 w 19203"/>
              <a:gd name="connsiteY14" fmla="*/ 3610 h 16917"/>
              <a:gd name="connsiteX15" fmla="*/ 15199 w 19203"/>
              <a:gd name="connsiteY15" fmla="*/ 859 h 16917"/>
              <a:gd name="connsiteX16" fmla="*/ 11465 w 19203"/>
              <a:gd name="connsiteY16" fmla="*/ 23 h 16917"/>
              <a:gd name="connsiteX0" fmla="*/ 11465 w 19203"/>
              <a:gd name="connsiteY0" fmla="*/ 23 h 16335"/>
              <a:gd name="connsiteX1" fmla="*/ 5703 w 19203"/>
              <a:gd name="connsiteY1" fmla="*/ 1085 h 16335"/>
              <a:gd name="connsiteX2" fmla="*/ 1220 w 19203"/>
              <a:gd name="connsiteY2" fmla="*/ 5155 h 16335"/>
              <a:gd name="connsiteX3" fmla="*/ 36 w 19203"/>
              <a:gd name="connsiteY3" fmla="*/ 9089 h 16335"/>
              <a:gd name="connsiteX4" fmla="*/ 353 w 19203"/>
              <a:gd name="connsiteY4" fmla="*/ 13412 h 16335"/>
              <a:gd name="connsiteX5" fmla="*/ 1192 w 19203"/>
              <a:gd name="connsiteY5" fmla="*/ 15940 h 16335"/>
              <a:gd name="connsiteX6" fmla="*/ 6228 w 19203"/>
              <a:gd name="connsiteY6" fmla="*/ 16324 h 16335"/>
              <a:gd name="connsiteX7" fmla="*/ 8678 w 19203"/>
              <a:gd name="connsiteY7" fmla="*/ 15903 h 16335"/>
              <a:gd name="connsiteX8" fmla="*/ 11000 w 19203"/>
              <a:gd name="connsiteY8" fmla="*/ 15895 h 16335"/>
              <a:gd name="connsiteX9" fmla="*/ 13786 w 19203"/>
              <a:gd name="connsiteY9" fmla="*/ 15872 h 16335"/>
              <a:gd name="connsiteX10" fmla="*/ 15633 w 19203"/>
              <a:gd name="connsiteY10" fmla="*/ 15840 h 16335"/>
              <a:gd name="connsiteX11" fmla="*/ 19177 w 19203"/>
              <a:gd name="connsiteY11" fmla="*/ 15966 h 16335"/>
              <a:gd name="connsiteX12" fmla="*/ 19180 w 19203"/>
              <a:gd name="connsiteY12" fmla="*/ 12271 h 16335"/>
              <a:gd name="connsiteX13" fmla="*/ 19195 w 19203"/>
              <a:gd name="connsiteY13" fmla="*/ 9129 h 16335"/>
              <a:gd name="connsiteX14" fmla="*/ 19161 w 19203"/>
              <a:gd name="connsiteY14" fmla="*/ 3610 h 16335"/>
              <a:gd name="connsiteX15" fmla="*/ 15199 w 19203"/>
              <a:gd name="connsiteY15" fmla="*/ 859 h 16335"/>
              <a:gd name="connsiteX16" fmla="*/ 11465 w 19203"/>
              <a:gd name="connsiteY16" fmla="*/ 23 h 16335"/>
              <a:gd name="connsiteX0" fmla="*/ 11465 w 19203"/>
              <a:gd name="connsiteY0" fmla="*/ 23 h 16330"/>
              <a:gd name="connsiteX1" fmla="*/ 5703 w 19203"/>
              <a:gd name="connsiteY1" fmla="*/ 1085 h 16330"/>
              <a:gd name="connsiteX2" fmla="*/ 1220 w 19203"/>
              <a:gd name="connsiteY2" fmla="*/ 5155 h 16330"/>
              <a:gd name="connsiteX3" fmla="*/ 36 w 19203"/>
              <a:gd name="connsiteY3" fmla="*/ 9089 h 16330"/>
              <a:gd name="connsiteX4" fmla="*/ 353 w 19203"/>
              <a:gd name="connsiteY4" fmla="*/ 13412 h 16330"/>
              <a:gd name="connsiteX5" fmla="*/ 1192 w 19203"/>
              <a:gd name="connsiteY5" fmla="*/ 15940 h 16330"/>
              <a:gd name="connsiteX6" fmla="*/ 6228 w 19203"/>
              <a:gd name="connsiteY6" fmla="*/ 16324 h 16330"/>
              <a:gd name="connsiteX7" fmla="*/ 8678 w 19203"/>
              <a:gd name="connsiteY7" fmla="*/ 15903 h 16330"/>
              <a:gd name="connsiteX8" fmla="*/ 11000 w 19203"/>
              <a:gd name="connsiteY8" fmla="*/ 15895 h 16330"/>
              <a:gd name="connsiteX9" fmla="*/ 13786 w 19203"/>
              <a:gd name="connsiteY9" fmla="*/ 15872 h 16330"/>
              <a:gd name="connsiteX10" fmla="*/ 15633 w 19203"/>
              <a:gd name="connsiteY10" fmla="*/ 15840 h 16330"/>
              <a:gd name="connsiteX11" fmla="*/ 19177 w 19203"/>
              <a:gd name="connsiteY11" fmla="*/ 15966 h 16330"/>
              <a:gd name="connsiteX12" fmla="*/ 19180 w 19203"/>
              <a:gd name="connsiteY12" fmla="*/ 12271 h 16330"/>
              <a:gd name="connsiteX13" fmla="*/ 19195 w 19203"/>
              <a:gd name="connsiteY13" fmla="*/ 9129 h 16330"/>
              <a:gd name="connsiteX14" fmla="*/ 19161 w 19203"/>
              <a:gd name="connsiteY14" fmla="*/ 3610 h 16330"/>
              <a:gd name="connsiteX15" fmla="*/ 15199 w 19203"/>
              <a:gd name="connsiteY15" fmla="*/ 859 h 16330"/>
              <a:gd name="connsiteX16" fmla="*/ 11465 w 19203"/>
              <a:gd name="connsiteY16" fmla="*/ 23 h 16330"/>
              <a:gd name="connsiteX0" fmla="*/ 11465 w 19203"/>
              <a:gd name="connsiteY0" fmla="*/ 23 h 16142"/>
              <a:gd name="connsiteX1" fmla="*/ 5703 w 19203"/>
              <a:gd name="connsiteY1" fmla="*/ 1085 h 16142"/>
              <a:gd name="connsiteX2" fmla="*/ 1220 w 19203"/>
              <a:gd name="connsiteY2" fmla="*/ 5155 h 16142"/>
              <a:gd name="connsiteX3" fmla="*/ 36 w 19203"/>
              <a:gd name="connsiteY3" fmla="*/ 9089 h 16142"/>
              <a:gd name="connsiteX4" fmla="*/ 353 w 19203"/>
              <a:gd name="connsiteY4" fmla="*/ 13412 h 16142"/>
              <a:gd name="connsiteX5" fmla="*/ 1192 w 19203"/>
              <a:gd name="connsiteY5" fmla="*/ 15940 h 16142"/>
              <a:gd name="connsiteX6" fmla="*/ 5793 w 19203"/>
              <a:gd name="connsiteY6" fmla="*/ 15979 h 16142"/>
              <a:gd name="connsiteX7" fmla="*/ 8678 w 19203"/>
              <a:gd name="connsiteY7" fmla="*/ 15903 h 16142"/>
              <a:gd name="connsiteX8" fmla="*/ 11000 w 19203"/>
              <a:gd name="connsiteY8" fmla="*/ 15895 h 16142"/>
              <a:gd name="connsiteX9" fmla="*/ 13786 w 19203"/>
              <a:gd name="connsiteY9" fmla="*/ 15872 h 16142"/>
              <a:gd name="connsiteX10" fmla="*/ 15633 w 19203"/>
              <a:gd name="connsiteY10" fmla="*/ 15840 h 16142"/>
              <a:gd name="connsiteX11" fmla="*/ 19177 w 19203"/>
              <a:gd name="connsiteY11" fmla="*/ 15966 h 16142"/>
              <a:gd name="connsiteX12" fmla="*/ 19180 w 19203"/>
              <a:gd name="connsiteY12" fmla="*/ 12271 h 16142"/>
              <a:gd name="connsiteX13" fmla="*/ 19195 w 19203"/>
              <a:gd name="connsiteY13" fmla="*/ 9129 h 16142"/>
              <a:gd name="connsiteX14" fmla="*/ 19161 w 19203"/>
              <a:gd name="connsiteY14" fmla="*/ 3610 h 16142"/>
              <a:gd name="connsiteX15" fmla="*/ 15199 w 19203"/>
              <a:gd name="connsiteY15" fmla="*/ 859 h 16142"/>
              <a:gd name="connsiteX16" fmla="*/ 11465 w 19203"/>
              <a:gd name="connsiteY16" fmla="*/ 23 h 16142"/>
              <a:gd name="connsiteX0" fmla="*/ 11465 w 19203"/>
              <a:gd name="connsiteY0" fmla="*/ 23 h 16118"/>
              <a:gd name="connsiteX1" fmla="*/ 5703 w 19203"/>
              <a:gd name="connsiteY1" fmla="*/ 1085 h 16118"/>
              <a:gd name="connsiteX2" fmla="*/ 1220 w 19203"/>
              <a:gd name="connsiteY2" fmla="*/ 5155 h 16118"/>
              <a:gd name="connsiteX3" fmla="*/ 36 w 19203"/>
              <a:gd name="connsiteY3" fmla="*/ 9089 h 16118"/>
              <a:gd name="connsiteX4" fmla="*/ 353 w 19203"/>
              <a:gd name="connsiteY4" fmla="*/ 13412 h 16118"/>
              <a:gd name="connsiteX5" fmla="*/ 1192 w 19203"/>
              <a:gd name="connsiteY5" fmla="*/ 15940 h 16118"/>
              <a:gd name="connsiteX6" fmla="*/ 5793 w 19203"/>
              <a:gd name="connsiteY6" fmla="*/ 15979 h 16118"/>
              <a:gd name="connsiteX7" fmla="*/ 8678 w 19203"/>
              <a:gd name="connsiteY7" fmla="*/ 15903 h 16118"/>
              <a:gd name="connsiteX8" fmla="*/ 11000 w 19203"/>
              <a:gd name="connsiteY8" fmla="*/ 15895 h 16118"/>
              <a:gd name="connsiteX9" fmla="*/ 13786 w 19203"/>
              <a:gd name="connsiteY9" fmla="*/ 15872 h 16118"/>
              <a:gd name="connsiteX10" fmla="*/ 15633 w 19203"/>
              <a:gd name="connsiteY10" fmla="*/ 15840 h 16118"/>
              <a:gd name="connsiteX11" fmla="*/ 19177 w 19203"/>
              <a:gd name="connsiteY11" fmla="*/ 15966 h 16118"/>
              <a:gd name="connsiteX12" fmla="*/ 19180 w 19203"/>
              <a:gd name="connsiteY12" fmla="*/ 12271 h 16118"/>
              <a:gd name="connsiteX13" fmla="*/ 19195 w 19203"/>
              <a:gd name="connsiteY13" fmla="*/ 9129 h 16118"/>
              <a:gd name="connsiteX14" fmla="*/ 19161 w 19203"/>
              <a:gd name="connsiteY14" fmla="*/ 3610 h 16118"/>
              <a:gd name="connsiteX15" fmla="*/ 15199 w 19203"/>
              <a:gd name="connsiteY15" fmla="*/ 859 h 16118"/>
              <a:gd name="connsiteX16" fmla="*/ 11465 w 19203"/>
              <a:gd name="connsiteY16" fmla="*/ 23 h 16118"/>
              <a:gd name="connsiteX0" fmla="*/ 11465 w 19203"/>
              <a:gd name="connsiteY0" fmla="*/ 23 h 16130"/>
              <a:gd name="connsiteX1" fmla="*/ 5703 w 19203"/>
              <a:gd name="connsiteY1" fmla="*/ 1085 h 16130"/>
              <a:gd name="connsiteX2" fmla="*/ 1220 w 19203"/>
              <a:gd name="connsiteY2" fmla="*/ 5155 h 16130"/>
              <a:gd name="connsiteX3" fmla="*/ 36 w 19203"/>
              <a:gd name="connsiteY3" fmla="*/ 9089 h 16130"/>
              <a:gd name="connsiteX4" fmla="*/ 353 w 19203"/>
              <a:gd name="connsiteY4" fmla="*/ 13412 h 16130"/>
              <a:gd name="connsiteX5" fmla="*/ 1192 w 19203"/>
              <a:gd name="connsiteY5" fmla="*/ 15940 h 16130"/>
              <a:gd name="connsiteX6" fmla="*/ 5793 w 19203"/>
              <a:gd name="connsiteY6" fmla="*/ 15979 h 16130"/>
              <a:gd name="connsiteX7" fmla="*/ 8678 w 19203"/>
              <a:gd name="connsiteY7" fmla="*/ 15903 h 16130"/>
              <a:gd name="connsiteX8" fmla="*/ 11000 w 19203"/>
              <a:gd name="connsiteY8" fmla="*/ 15895 h 16130"/>
              <a:gd name="connsiteX9" fmla="*/ 13786 w 19203"/>
              <a:gd name="connsiteY9" fmla="*/ 15872 h 16130"/>
              <a:gd name="connsiteX10" fmla="*/ 15633 w 19203"/>
              <a:gd name="connsiteY10" fmla="*/ 15840 h 16130"/>
              <a:gd name="connsiteX11" fmla="*/ 19177 w 19203"/>
              <a:gd name="connsiteY11" fmla="*/ 15966 h 16130"/>
              <a:gd name="connsiteX12" fmla="*/ 19180 w 19203"/>
              <a:gd name="connsiteY12" fmla="*/ 12271 h 16130"/>
              <a:gd name="connsiteX13" fmla="*/ 19195 w 19203"/>
              <a:gd name="connsiteY13" fmla="*/ 9129 h 16130"/>
              <a:gd name="connsiteX14" fmla="*/ 19161 w 19203"/>
              <a:gd name="connsiteY14" fmla="*/ 3610 h 16130"/>
              <a:gd name="connsiteX15" fmla="*/ 15199 w 19203"/>
              <a:gd name="connsiteY15" fmla="*/ 859 h 16130"/>
              <a:gd name="connsiteX16" fmla="*/ 11465 w 19203"/>
              <a:gd name="connsiteY16" fmla="*/ 23 h 16130"/>
              <a:gd name="connsiteX0" fmla="*/ 11465 w 19203"/>
              <a:gd name="connsiteY0" fmla="*/ 23 h 16014"/>
              <a:gd name="connsiteX1" fmla="*/ 5703 w 19203"/>
              <a:gd name="connsiteY1" fmla="*/ 1085 h 16014"/>
              <a:gd name="connsiteX2" fmla="*/ 1220 w 19203"/>
              <a:gd name="connsiteY2" fmla="*/ 5155 h 16014"/>
              <a:gd name="connsiteX3" fmla="*/ 36 w 19203"/>
              <a:gd name="connsiteY3" fmla="*/ 9089 h 16014"/>
              <a:gd name="connsiteX4" fmla="*/ 353 w 19203"/>
              <a:gd name="connsiteY4" fmla="*/ 13412 h 16014"/>
              <a:gd name="connsiteX5" fmla="*/ 1192 w 19203"/>
              <a:gd name="connsiteY5" fmla="*/ 15940 h 16014"/>
              <a:gd name="connsiteX6" fmla="*/ 5793 w 19203"/>
              <a:gd name="connsiteY6" fmla="*/ 15979 h 16014"/>
              <a:gd name="connsiteX7" fmla="*/ 8678 w 19203"/>
              <a:gd name="connsiteY7" fmla="*/ 15903 h 16014"/>
              <a:gd name="connsiteX8" fmla="*/ 11000 w 19203"/>
              <a:gd name="connsiteY8" fmla="*/ 15895 h 16014"/>
              <a:gd name="connsiteX9" fmla="*/ 13786 w 19203"/>
              <a:gd name="connsiteY9" fmla="*/ 15872 h 16014"/>
              <a:gd name="connsiteX10" fmla="*/ 15633 w 19203"/>
              <a:gd name="connsiteY10" fmla="*/ 15840 h 16014"/>
              <a:gd name="connsiteX11" fmla="*/ 19177 w 19203"/>
              <a:gd name="connsiteY11" fmla="*/ 15966 h 16014"/>
              <a:gd name="connsiteX12" fmla="*/ 19180 w 19203"/>
              <a:gd name="connsiteY12" fmla="*/ 12271 h 16014"/>
              <a:gd name="connsiteX13" fmla="*/ 19195 w 19203"/>
              <a:gd name="connsiteY13" fmla="*/ 9129 h 16014"/>
              <a:gd name="connsiteX14" fmla="*/ 19161 w 19203"/>
              <a:gd name="connsiteY14" fmla="*/ 3610 h 16014"/>
              <a:gd name="connsiteX15" fmla="*/ 15199 w 19203"/>
              <a:gd name="connsiteY15" fmla="*/ 859 h 16014"/>
              <a:gd name="connsiteX16" fmla="*/ 11465 w 19203"/>
              <a:gd name="connsiteY16" fmla="*/ 23 h 16014"/>
              <a:gd name="connsiteX0" fmla="*/ 11465 w 19203"/>
              <a:gd name="connsiteY0" fmla="*/ 23 h 16061"/>
              <a:gd name="connsiteX1" fmla="*/ 5703 w 19203"/>
              <a:gd name="connsiteY1" fmla="*/ 1085 h 16061"/>
              <a:gd name="connsiteX2" fmla="*/ 1220 w 19203"/>
              <a:gd name="connsiteY2" fmla="*/ 5155 h 16061"/>
              <a:gd name="connsiteX3" fmla="*/ 36 w 19203"/>
              <a:gd name="connsiteY3" fmla="*/ 9089 h 16061"/>
              <a:gd name="connsiteX4" fmla="*/ 353 w 19203"/>
              <a:gd name="connsiteY4" fmla="*/ 13412 h 16061"/>
              <a:gd name="connsiteX5" fmla="*/ 1192 w 19203"/>
              <a:gd name="connsiteY5" fmla="*/ 15940 h 16061"/>
              <a:gd name="connsiteX6" fmla="*/ 5793 w 19203"/>
              <a:gd name="connsiteY6" fmla="*/ 15687 h 16061"/>
              <a:gd name="connsiteX7" fmla="*/ 8678 w 19203"/>
              <a:gd name="connsiteY7" fmla="*/ 15903 h 16061"/>
              <a:gd name="connsiteX8" fmla="*/ 11000 w 19203"/>
              <a:gd name="connsiteY8" fmla="*/ 15895 h 16061"/>
              <a:gd name="connsiteX9" fmla="*/ 13786 w 19203"/>
              <a:gd name="connsiteY9" fmla="*/ 15872 h 16061"/>
              <a:gd name="connsiteX10" fmla="*/ 15633 w 19203"/>
              <a:gd name="connsiteY10" fmla="*/ 15840 h 16061"/>
              <a:gd name="connsiteX11" fmla="*/ 19177 w 19203"/>
              <a:gd name="connsiteY11" fmla="*/ 15966 h 16061"/>
              <a:gd name="connsiteX12" fmla="*/ 19180 w 19203"/>
              <a:gd name="connsiteY12" fmla="*/ 12271 h 16061"/>
              <a:gd name="connsiteX13" fmla="*/ 19195 w 19203"/>
              <a:gd name="connsiteY13" fmla="*/ 9129 h 16061"/>
              <a:gd name="connsiteX14" fmla="*/ 19161 w 19203"/>
              <a:gd name="connsiteY14" fmla="*/ 3610 h 16061"/>
              <a:gd name="connsiteX15" fmla="*/ 15199 w 19203"/>
              <a:gd name="connsiteY15" fmla="*/ 859 h 16061"/>
              <a:gd name="connsiteX16" fmla="*/ 11465 w 19203"/>
              <a:gd name="connsiteY16" fmla="*/ 23 h 16061"/>
              <a:gd name="connsiteX0" fmla="*/ 11465 w 19203"/>
              <a:gd name="connsiteY0" fmla="*/ 23 h 16107"/>
              <a:gd name="connsiteX1" fmla="*/ 5703 w 19203"/>
              <a:gd name="connsiteY1" fmla="*/ 1085 h 16107"/>
              <a:gd name="connsiteX2" fmla="*/ 1220 w 19203"/>
              <a:gd name="connsiteY2" fmla="*/ 5155 h 16107"/>
              <a:gd name="connsiteX3" fmla="*/ 36 w 19203"/>
              <a:gd name="connsiteY3" fmla="*/ 9089 h 16107"/>
              <a:gd name="connsiteX4" fmla="*/ 353 w 19203"/>
              <a:gd name="connsiteY4" fmla="*/ 13412 h 16107"/>
              <a:gd name="connsiteX5" fmla="*/ 1192 w 19203"/>
              <a:gd name="connsiteY5" fmla="*/ 15940 h 16107"/>
              <a:gd name="connsiteX6" fmla="*/ 5793 w 19203"/>
              <a:gd name="connsiteY6" fmla="*/ 15873 h 16107"/>
              <a:gd name="connsiteX7" fmla="*/ 8678 w 19203"/>
              <a:gd name="connsiteY7" fmla="*/ 15903 h 16107"/>
              <a:gd name="connsiteX8" fmla="*/ 11000 w 19203"/>
              <a:gd name="connsiteY8" fmla="*/ 15895 h 16107"/>
              <a:gd name="connsiteX9" fmla="*/ 13786 w 19203"/>
              <a:gd name="connsiteY9" fmla="*/ 15872 h 16107"/>
              <a:gd name="connsiteX10" fmla="*/ 15633 w 19203"/>
              <a:gd name="connsiteY10" fmla="*/ 15840 h 16107"/>
              <a:gd name="connsiteX11" fmla="*/ 19177 w 19203"/>
              <a:gd name="connsiteY11" fmla="*/ 15966 h 16107"/>
              <a:gd name="connsiteX12" fmla="*/ 19180 w 19203"/>
              <a:gd name="connsiteY12" fmla="*/ 12271 h 16107"/>
              <a:gd name="connsiteX13" fmla="*/ 19195 w 19203"/>
              <a:gd name="connsiteY13" fmla="*/ 9129 h 16107"/>
              <a:gd name="connsiteX14" fmla="*/ 19161 w 19203"/>
              <a:gd name="connsiteY14" fmla="*/ 3610 h 16107"/>
              <a:gd name="connsiteX15" fmla="*/ 15199 w 19203"/>
              <a:gd name="connsiteY15" fmla="*/ 859 h 16107"/>
              <a:gd name="connsiteX16" fmla="*/ 11465 w 19203"/>
              <a:gd name="connsiteY16" fmla="*/ 23 h 16107"/>
              <a:gd name="connsiteX0" fmla="*/ 11469 w 19207"/>
              <a:gd name="connsiteY0" fmla="*/ 23 h 15966"/>
              <a:gd name="connsiteX1" fmla="*/ 5707 w 19207"/>
              <a:gd name="connsiteY1" fmla="*/ 1085 h 15966"/>
              <a:gd name="connsiteX2" fmla="*/ 1224 w 19207"/>
              <a:gd name="connsiteY2" fmla="*/ 5155 h 15966"/>
              <a:gd name="connsiteX3" fmla="*/ 40 w 19207"/>
              <a:gd name="connsiteY3" fmla="*/ 9089 h 15966"/>
              <a:gd name="connsiteX4" fmla="*/ 357 w 19207"/>
              <a:gd name="connsiteY4" fmla="*/ 13412 h 15966"/>
              <a:gd name="connsiteX5" fmla="*/ 1448 w 19207"/>
              <a:gd name="connsiteY5" fmla="*/ 15463 h 15966"/>
              <a:gd name="connsiteX6" fmla="*/ 5797 w 19207"/>
              <a:gd name="connsiteY6" fmla="*/ 15873 h 15966"/>
              <a:gd name="connsiteX7" fmla="*/ 8682 w 19207"/>
              <a:gd name="connsiteY7" fmla="*/ 15903 h 15966"/>
              <a:gd name="connsiteX8" fmla="*/ 11004 w 19207"/>
              <a:gd name="connsiteY8" fmla="*/ 15895 h 15966"/>
              <a:gd name="connsiteX9" fmla="*/ 13790 w 19207"/>
              <a:gd name="connsiteY9" fmla="*/ 15872 h 15966"/>
              <a:gd name="connsiteX10" fmla="*/ 15637 w 19207"/>
              <a:gd name="connsiteY10" fmla="*/ 15840 h 15966"/>
              <a:gd name="connsiteX11" fmla="*/ 19181 w 19207"/>
              <a:gd name="connsiteY11" fmla="*/ 15966 h 15966"/>
              <a:gd name="connsiteX12" fmla="*/ 19184 w 19207"/>
              <a:gd name="connsiteY12" fmla="*/ 12271 h 15966"/>
              <a:gd name="connsiteX13" fmla="*/ 19199 w 19207"/>
              <a:gd name="connsiteY13" fmla="*/ 9129 h 15966"/>
              <a:gd name="connsiteX14" fmla="*/ 19165 w 19207"/>
              <a:gd name="connsiteY14" fmla="*/ 3610 h 15966"/>
              <a:gd name="connsiteX15" fmla="*/ 15203 w 19207"/>
              <a:gd name="connsiteY15" fmla="*/ 859 h 15966"/>
              <a:gd name="connsiteX16" fmla="*/ 11469 w 19207"/>
              <a:gd name="connsiteY16" fmla="*/ 23 h 15966"/>
              <a:gd name="connsiteX0" fmla="*/ 11469 w 19207"/>
              <a:gd name="connsiteY0" fmla="*/ 23 h 15966"/>
              <a:gd name="connsiteX1" fmla="*/ 5707 w 19207"/>
              <a:gd name="connsiteY1" fmla="*/ 1085 h 15966"/>
              <a:gd name="connsiteX2" fmla="*/ 1224 w 19207"/>
              <a:gd name="connsiteY2" fmla="*/ 5155 h 15966"/>
              <a:gd name="connsiteX3" fmla="*/ 40 w 19207"/>
              <a:gd name="connsiteY3" fmla="*/ 9089 h 15966"/>
              <a:gd name="connsiteX4" fmla="*/ 357 w 19207"/>
              <a:gd name="connsiteY4" fmla="*/ 13412 h 15966"/>
              <a:gd name="connsiteX5" fmla="*/ 1448 w 19207"/>
              <a:gd name="connsiteY5" fmla="*/ 15463 h 15966"/>
              <a:gd name="connsiteX6" fmla="*/ 5797 w 19207"/>
              <a:gd name="connsiteY6" fmla="*/ 15873 h 15966"/>
              <a:gd name="connsiteX7" fmla="*/ 8682 w 19207"/>
              <a:gd name="connsiteY7" fmla="*/ 15903 h 15966"/>
              <a:gd name="connsiteX8" fmla="*/ 11004 w 19207"/>
              <a:gd name="connsiteY8" fmla="*/ 15895 h 15966"/>
              <a:gd name="connsiteX9" fmla="*/ 13790 w 19207"/>
              <a:gd name="connsiteY9" fmla="*/ 15872 h 15966"/>
              <a:gd name="connsiteX10" fmla="*/ 15637 w 19207"/>
              <a:gd name="connsiteY10" fmla="*/ 15840 h 15966"/>
              <a:gd name="connsiteX11" fmla="*/ 19181 w 19207"/>
              <a:gd name="connsiteY11" fmla="*/ 15966 h 15966"/>
              <a:gd name="connsiteX12" fmla="*/ 19184 w 19207"/>
              <a:gd name="connsiteY12" fmla="*/ 12271 h 15966"/>
              <a:gd name="connsiteX13" fmla="*/ 19199 w 19207"/>
              <a:gd name="connsiteY13" fmla="*/ 9129 h 15966"/>
              <a:gd name="connsiteX14" fmla="*/ 19165 w 19207"/>
              <a:gd name="connsiteY14" fmla="*/ 3610 h 15966"/>
              <a:gd name="connsiteX15" fmla="*/ 15203 w 19207"/>
              <a:gd name="connsiteY15" fmla="*/ 859 h 15966"/>
              <a:gd name="connsiteX16" fmla="*/ 11469 w 19207"/>
              <a:gd name="connsiteY16" fmla="*/ 23 h 15966"/>
              <a:gd name="connsiteX0" fmla="*/ 11468 w 19206"/>
              <a:gd name="connsiteY0" fmla="*/ 23 h 15966"/>
              <a:gd name="connsiteX1" fmla="*/ 5706 w 19206"/>
              <a:gd name="connsiteY1" fmla="*/ 1085 h 15966"/>
              <a:gd name="connsiteX2" fmla="*/ 1223 w 19206"/>
              <a:gd name="connsiteY2" fmla="*/ 5155 h 15966"/>
              <a:gd name="connsiteX3" fmla="*/ 39 w 19206"/>
              <a:gd name="connsiteY3" fmla="*/ 9089 h 15966"/>
              <a:gd name="connsiteX4" fmla="*/ 356 w 19206"/>
              <a:gd name="connsiteY4" fmla="*/ 13412 h 15966"/>
              <a:gd name="connsiteX5" fmla="*/ 1378 w 19206"/>
              <a:gd name="connsiteY5" fmla="*/ 15755 h 15966"/>
              <a:gd name="connsiteX6" fmla="*/ 5796 w 19206"/>
              <a:gd name="connsiteY6" fmla="*/ 15873 h 15966"/>
              <a:gd name="connsiteX7" fmla="*/ 8681 w 19206"/>
              <a:gd name="connsiteY7" fmla="*/ 15903 h 15966"/>
              <a:gd name="connsiteX8" fmla="*/ 11003 w 19206"/>
              <a:gd name="connsiteY8" fmla="*/ 15895 h 15966"/>
              <a:gd name="connsiteX9" fmla="*/ 13789 w 19206"/>
              <a:gd name="connsiteY9" fmla="*/ 15872 h 15966"/>
              <a:gd name="connsiteX10" fmla="*/ 15636 w 19206"/>
              <a:gd name="connsiteY10" fmla="*/ 15840 h 15966"/>
              <a:gd name="connsiteX11" fmla="*/ 19180 w 19206"/>
              <a:gd name="connsiteY11" fmla="*/ 15966 h 15966"/>
              <a:gd name="connsiteX12" fmla="*/ 19183 w 19206"/>
              <a:gd name="connsiteY12" fmla="*/ 12271 h 15966"/>
              <a:gd name="connsiteX13" fmla="*/ 19198 w 19206"/>
              <a:gd name="connsiteY13" fmla="*/ 9129 h 15966"/>
              <a:gd name="connsiteX14" fmla="*/ 19164 w 19206"/>
              <a:gd name="connsiteY14" fmla="*/ 3610 h 15966"/>
              <a:gd name="connsiteX15" fmla="*/ 15202 w 19206"/>
              <a:gd name="connsiteY15" fmla="*/ 859 h 15966"/>
              <a:gd name="connsiteX16" fmla="*/ 11468 w 19206"/>
              <a:gd name="connsiteY16" fmla="*/ 23 h 15966"/>
              <a:gd name="connsiteX0" fmla="*/ 11468 w 19206"/>
              <a:gd name="connsiteY0" fmla="*/ 23 h 15966"/>
              <a:gd name="connsiteX1" fmla="*/ 5706 w 19206"/>
              <a:gd name="connsiteY1" fmla="*/ 1085 h 15966"/>
              <a:gd name="connsiteX2" fmla="*/ 1223 w 19206"/>
              <a:gd name="connsiteY2" fmla="*/ 5155 h 15966"/>
              <a:gd name="connsiteX3" fmla="*/ 39 w 19206"/>
              <a:gd name="connsiteY3" fmla="*/ 9089 h 15966"/>
              <a:gd name="connsiteX4" fmla="*/ 356 w 19206"/>
              <a:gd name="connsiteY4" fmla="*/ 13412 h 15966"/>
              <a:gd name="connsiteX5" fmla="*/ 1378 w 19206"/>
              <a:gd name="connsiteY5" fmla="*/ 15755 h 15966"/>
              <a:gd name="connsiteX6" fmla="*/ 5796 w 19206"/>
              <a:gd name="connsiteY6" fmla="*/ 15873 h 15966"/>
              <a:gd name="connsiteX7" fmla="*/ 8681 w 19206"/>
              <a:gd name="connsiteY7" fmla="*/ 15903 h 15966"/>
              <a:gd name="connsiteX8" fmla="*/ 11003 w 19206"/>
              <a:gd name="connsiteY8" fmla="*/ 15895 h 15966"/>
              <a:gd name="connsiteX9" fmla="*/ 13789 w 19206"/>
              <a:gd name="connsiteY9" fmla="*/ 15872 h 15966"/>
              <a:gd name="connsiteX10" fmla="*/ 15636 w 19206"/>
              <a:gd name="connsiteY10" fmla="*/ 15840 h 15966"/>
              <a:gd name="connsiteX11" fmla="*/ 19180 w 19206"/>
              <a:gd name="connsiteY11" fmla="*/ 15966 h 15966"/>
              <a:gd name="connsiteX12" fmla="*/ 19183 w 19206"/>
              <a:gd name="connsiteY12" fmla="*/ 12271 h 15966"/>
              <a:gd name="connsiteX13" fmla="*/ 19198 w 19206"/>
              <a:gd name="connsiteY13" fmla="*/ 9129 h 15966"/>
              <a:gd name="connsiteX14" fmla="*/ 19164 w 19206"/>
              <a:gd name="connsiteY14" fmla="*/ 3610 h 15966"/>
              <a:gd name="connsiteX15" fmla="*/ 15202 w 19206"/>
              <a:gd name="connsiteY15" fmla="*/ 859 h 15966"/>
              <a:gd name="connsiteX16" fmla="*/ 11468 w 19206"/>
              <a:gd name="connsiteY16" fmla="*/ 23 h 15966"/>
              <a:gd name="connsiteX0" fmla="*/ 11465 w 19203"/>
              <a:gd name="connsiteY0" fmla="*/ 23 h 15966"/>
              <a:gd name="connsiteX1" fmla="*/ 5703 w 19203"/>
              <a:gd name="connsiteY1" fmla="*/ 1085 h 15966"/>
              <a:gd name="connsiteX2" fmla="*/ 1220 w 19203"/>
              <a:gd name="connsiteY2" fmla="*/ 5155 h 15966"/>
              <a:gd name="connsiteX3" fmla="*/ 36 w 19203"/>
              <a:gd name="connsiteY3" fmla="*/ 9089 h 15966"/>
              <a:gd name="connsiteX4" fmla="*/ 353 w 19203"/>
              <a:gd name="connsiteY4" fmla="*/ 13412 h 15966"/>
              <a:gd name="connsiteX5" fmla="*/ 1146 w 19203"/>
              <a:gd name="connsiteY5" fmla="*/ 15835 h 15966"/>
              <a:gd name="connsiteX6" fmla="*/ 5793 w 19203"/>
              <a:gd name="connsiteY6" fmla="*/ 15873 h 15966"/>
              <a:gd name="connsiteX7" fmla="*/ 8678 w 19203"/>
              <a:gd name="connsiteY7" fmla="*/ 15903 h 15966"/>
              <a:gd name="connsiteX8" fmla="*/ 11000 w 19203"/>
              <a:gd name="connsiteY8" fmla="*/ 15895 h 15966"/>
              <a:gd name="connsiteX9" fmla="*/ 13786 w 19203"/>
              <a:gd name="connsiteY9" fmla="*/ 15872 h 15966"/>
              <a:gd name="connsiteX10" fmla="*/ 15633 w 19203"/>
              <a:gd name="connsiteY10" fmla="*/ 15840 h 15966"/>
              <a:gd name="connsiteX11" fmla="*/ 19177 w 19203"/>
              <a:gd name="connsiteY11" fmla="*/ 15966 h 15966"/>
              <a:gd name="connsiteX12" fmla="*/ 19180 w 19203"/>
              <a:gd name="connsiteY12" fmla="*/ 12271 h 15966"/>
              <a:gd name="connsiteX13" fmla="*/ 19195 w 19203"/>
              <a:gd name="connsiteY13" fmla="*/ 9129 h 15966"/>
              <a:gd name="connsiteX14" fmla="*/ 19161 w 19203"/>
              <a:gd name="connsiteY14" fmla="*/ 3610 h 15966"/>
              <a:gd name="connsiteX15" fmla="*/ 15199 w 19203"/>
              <a:gd name="connsiteY15" fmla="*/ 859 h 15966"/>
              <a:gd name="connsiteX16" fmla="*/ 11465 w 19203"/>
              <a:gd name="connsiteY16" fmla="*/ 23 h 15966"/>
              <a:gd name="connsiteX0" fmla="*/ 11465 w 19203"/>
              <a:gd name="connsiteY0" fmla="*/ 23 h 15903"/>
              <a:gd name="connsiteX1" fmla="*/ 5703 w 19203"/>
              <a:gd name="connsiteY1" fmla="*/ 1085 h 15903"/>
              <a:gd name="connsiteX2" fmla="*/ 1220 w 19203"/>
              <a:gd name="connsiteY2" fmla="*/ 5155 h 15903"/>
              <a:gd name="connsiteX3" fmla="*/ 36 w 19203"/>
              <a:gd name="connsiteY3" fmla="*/ 9089 h 15903"/>
              <a:gd name="connsiteX4" fmla="*/ 353 w 19203"/>
              <a:gd name="connsiteY4" fmla="*/ 13412 h 15903"/>
              <a:gd name="connsiteX5" fmla="*/ 1146 w 19203"/>
              <a:gd name="connsiteY5" fmla="*/ 15835 h 15903"/>
              <a:gd name="connsiteX6" fmla="*/ 5793 w 19203"/>
              <a:gd name="connsiteY6" fmla="*/ 15873 h 15903"/>
              <a:gd name="connsiteX7" fmla="*/ 8678 w 19203"/>
              <a:gd name="connsiteY7" fmla="*/ 15903 h 15903"/>
              <a:gd name="connsiteX8" fmla="*/ 11000 w 19203"/>
              <a:gd name="connsiteY8" fmla="*/ 15895 h 15903"/>
              <a:gd name="connsiteX9" fmla="*/ 13786 w 19203"/>
              <a:gd name="connsiteY9" fmla="*/ 15872 h 15903"/>
              <a:gd name="connsiteX10" fmla="*/ 15633 w 19203"/>
              <a:gd name="connsiteY10" fmla="*/ 15840 h 15903"/>
              <a:gd name="connsiteX11" fmla="*/ 19154 w 19203"/>
              <a:gd name="connsiteY11" fmla="*/ 15515 h 15903"/>
              <a:gd name="connsiteX12" fmla="*/ 19180 w 19203"/>
              <a:gd name="connsiteY12" fmla="*/ 12271 h 15903"/>
              <a:gd name="connsiteX13" fmla="*/ 19195 w 19203"/>
              <a:gd name="connsiteY13" fmla="*/ 9129 h 15903"/>
              <a:gd name="connsiteX14" fmla="*/ 19161 w 19203"/>
              <a:gd name="connsiteY14" fmla="*/ 3610 h 15903"/>
              <a:gd name="connsiteX15" fmla="*/ 15199 w 19203"/>
              <a:gd name="connsiteY15" fmla="*/ 859 h 15903"/>
              <a:gd name="connsiteX16" fmla="*/ 11465 w 19203"/>
              <a:gd name="connsiteY16" fmla="*/ 23 h 15903"/>
              <a:gd name="connsiteX0" fmla="*/ 11465 w 19203"/>
              <a:gd name="connsiteY0" fmla="*/ 23 h 15913"/>
              <a:gd name="connsiteX1" fmla="*/ 5703 w 19203"/>
              <a:gd name="connsiteY1" fmla="*/ 1085 h 15913"/>
              <a:gd name="connsiteX2" fmla="*/ 1220 w 19203"/>
              <a:gd name="connsiteY2" fmla="*/ 5155 h 15913"/>
              <a:gd name="connsiteX3" fmla="*/ 36 w 19203"/>
              <a:gd name="connsiteY3" fmla="*/ 9089 h 15913"/>
              <a:gd name="connsiteX4" fmla="*/ 353 w 19203"/>
              <a:gd name="connsiteY4" fmla="*/ 13412 h 15913"/>
              <a:gd name="connsiteX5" fmla="*/ 1146 w 19203"/>
              <a:gd name="connsiteY5" fmla="*/ 15835 h 15913"/>
              <a:gd name="connsiteX6" fmla="*/ 5793 w 19203"/>
              <a:gd name="connsiteY6" fmla="*/ 15873 h 15913"/>
              <a:gd name="connsiteX7" fmla="*/ 8678 w 19203"/>
              <a:gd name="connsiteY7" fmla="*/ 15903 h 15913"/>
              <a:gd name="connsiteX8" fmla="*/ 11000 w 19203"/>
              <a:gd name="connsiteY8" fmla="*/ 15895 h 15913"/>
              <a:gd name="connsiteX9" fmla="*/ 13786 w 19203"/>
              <a:gd name="connsiteY9" fmla="*/ 15872 h 15913"/>
              <a:gd name="connsiteX10" fmla="*/ 15633 w 19203"/>
              <a:gd name="connsiteY10" fmla="*/ 15840 h 15913"/>
              <a:gd name="connsiteX11" fmla="*/ 19154 w 19203"/>
              <a:gd name="connsiteY11" fmla="*/ 15913 h 15913"/>
              <a:gd name="connsiteX12" fmla="*/ 19180 w 19203"/>
              <a:gd name="connsiteY12" fmla="*/ 12271 h 15913"/>
              <a:gd name="connsiteX13" fmla="*/ 19195 w 19203"/>
              <a:gd name="connsiteY13" fmla="*/ 9129 h 15913"/>
              <a:gd name="connsiteX14" fmla="*/ 19161 w 19203"/>
              <a:gd name="connsiteY14" fmla="*/ 3610 h 15913"/>
              <a:gd name="connsiteX15" fmla="*/ 15199 w 19203"/>
              <a:gd name="connsiteY15" fmla="*/ 859 h 15913"/>
              <a:gd name="connsiteX16" fmla="*/ 11465 w 19203"/>
              <a:gd name="connsiteY16" fmla="*/ 23 h 15913"/>
              <a:gd name="connsiteX0" fmla="*/ 11465 w 19203"/>
              <a:gd name="connsiteY0" fmla="*/ 23 h 15913"/>
              <a:gd name="connsiteX1" fmla="*/ 5703 w 19203"/>
              <a:gd name="connsiteY1" fmla="*/ 1085 h 15913"/>
              <a:gd name="connsiteX2" fmla="*/ 1220 w 19203"/>
              <a:gd name="connsiteY2" fmla="*/ 5155 h 15913"/>
              <a:gd name="connsiteX3" fmla="*/ 36 w 19203"/>
              <a:gd name="connsiteY3" fmla="*/ 9089 h 15913"/>
              <a:gd name="connsiteX4" fmla="*/ 353 w 19203"/>
              <a:gd name="connsiteY4" fmla="*/ 13412 h 15913"/>
              <a:gd name="connsiteX5" fmla="*/ 1146 w 19203"/>
              <a:gd name="connsiteY5" fmla="*/ 15835 h 15913"/>
              <a:gd name="connsiteX6" fmla="*/ 5793 w 19203"/>
              <a:gd name="connsiteY6" fmla="*/ 15873 h 15913"/>
              <a:gd name="connsiteX7" fmla="*/ 8678 w 19203"/>
              <a:gd name="connsiteY7" fmla="*/ 15744 h 15913"/>
              <a:gd name="connsiteX8" fmla="*/ 11000 w 19203"/>
              <a:gd name="connsiteY8" fmla="*/ 15895 h 15913"/>
              <a:gd name="connsiteX9" fmla="*/ 13786 w 19203"/>
              <a:gd name="connsiteY9" fmla="*/ 15872 h 15913"/>
              <a:gd name="connsiteX10" fmla="*/ 15633 w 19203"/>
              <a:gd name="connsiteY10" fmla="*/ 15840 h 15913"/>
              <a:gd name="connsiteX11" fmla="*/ 19154 w 19203"/>
              <a:gd name="connsiteY11" fmla="*/ 15913 h 15913"/>
              <a:gd name="connsiteX12" fmla="*/ 19180 w 19203"/>
              <a:gd name="connsiteY12" fmla="*/ 12271 h 15913"/>
              <a:gd name="connsiteX13" fmla="*/ 19195 w 19203"/>
              <a:gd name="connsiteY13" fmla="*/ 9129 h 15913"/>
              <a:gd name="connsiteX14" fmla="*/ 19161 w 19203"/>
              <a:gd name="connsiteY14" fmla="*/ 3610 h 15913"/>
              <a:gd name="connsiteX15" fmla="*/ 15199 w 19203"/>
              <a:gd name="connsiteY15" fmla="*/ 859 h 15913"/>
              <a:gd name="connsiteX16" fmla="*/ 11465 w 19203"/>
              <a:gd name="connsiteY16" fmla="*/ 23 h 15913"/>
              <a:gd name="connsiteX0" fmla="*/ 11465 w 19203"/>
              <a:gd name="connsiteY0" fmla="*/ 23 h 15913"/>
              <a:gd name="connsiteX1" fmla="*/ 5703 w 19203"/>
              <a:gd name="connsiteY1" fmla="*/ 1085 h 15913"/>
              <a:gd name="connsiteX2" fmla="*/ 1220 w 19203"/>
              <a:gd name="connsiteY2" fmla="*/ 5155 h 15913"/>
              <a:gd name="connsiteX3" fmla="*/ 36 w 19203"/>
              <a:gd name="connsiteY3" fmla="*/ 9089 h 15913"/>
              <a:gd name="connsiteX4" fmla="*/ 353 w 19203"/>
              <a:gd name="connsiteY4" fmla="*/ 13412 h 15913"/>
              <a:gd name="connsiteX5" fmla="*/ 1146 w 19203"/>
              <a:gd name="connsiteY5" fmla="*/ 15835 h 15913"/>
              <a:gd name="connsiteX6" fmla="*/ 5793 w 19203"/>
              <a:gd name="connsiteY6" fmla="*/ 15873 h 15913"/>
              <a:gd name="connsiteX7" fmla="*/ 8678 w 19203"/>
              <a:gd name="connsiteY7" fmla="*/ 15877 h 15913"/>
              <a:gd name="connsiteX8" fmla="*/ 11000 w 19203"/>
              <a:gd name="connsiteY8" fmla="*/ 15895 h 15913"/>
              <a:gd name="connsiteX9" fmla="*/ 13786 w 19203"/>
              <a:gd name="connsiteY9" fmla="*/ 15872 h 15913"/>
              <a:gd name="connsiteX10" fmla="*/ 15633 w 19203"/>
              <a:gd name="connsiteY10" fmla="*/ 15840 h 15913"/>
              <a:gd name="connsiteX11" fmla="*/ 19154 w 19203"/>
              <a:gd name="connsiteY11" fmla="*/ 15913 h 15913"/>
              <a:gd name="connsiteX12" fmla="*/ 19180 w 19203"/>
              <a:gd name="connsiteY12" fmla="*/ 12271 h 15913"/>
              <a:gd name="connsiteX13" fmla="*/ 19195 w 19203"/>
              <a:gd name="connsiteY13" fmla="*/ 9129 h 15913"/>
              <a:gd name="connsiteX14" fmla="*/ 19161 w 19203"/>
              <a:gd name="connsiteY14" fmla="*/ 3610 h 15913"/>
              <a:gd name="connsiteX15" fmla="*/ 15199 w 19203"/>
              <a:gd name="connsiteY15" fmla="*/ 859 h 15913"/>
              <a:gd name="connsiteX16" fmla="*/ 11465 w 19203"/>
              <a:gd name="connsiteY16" fmla="*/ 23 h 15913"/>
              <a:gd name="connsiteX0" fmla="*/ 11465 w 19198"/>
              <a:gd name="connsiteY0" fmla="*/ 23 h 15913"/>
              <a:gd name="connsiteX1" fmla="*/ 5703 w 19198"/>
              <a:gd name="connsiteY1" fmla="*/ 1085 h 15913"/>
              <a:gd name="connsiteX2" fmla="*/ 1220 w 19198"/>
              <a:gd name="connsiteY2" fmla="*/ 5155 h 15913"/>
              <a:gd name="connsiteX3" fmla="*/ 36 w 19198"/>
              <a:gd name="connsiteY3" fmla="*/ 9089 h 15913"/>
              <a:gd name="connsiteX4" fmla="*/ 353 w 19198"/>
              <a:gd name="connsiteY4" fmla="*/ 13412 h 15913"/>
              <a:gd name="connsiteX5" fmla="*/ 1146 w 19198"/>
              <a:gd name="connsiteY5" fmla="*/ 15835 h 15913"/>
              <a:gd name="connsiteX6" fmla="*/ 5793 w 19198"/>
              <a:gd name="connsiteY6" fmla="*/ 15873 h 15913"/>
              <a:gd name="connsiteX7" fmla="*/ 8678 w 19198"/>
              <a:gd name="connsiteY7" fmla="*/ 15877 h 15913"/>
              <a:gd name="connsiteX8" fmla="*/ 11000 w 19198"/>
              <a:gd name="connsiteY8" fmla="*/ 15895 h 15913"/>
              <a:gd name="connsiteX9" fmla="*/ 13786 w 19198"/>
              <a:gd name="connsiteY9" fmla="*/ 15872 h 15913"/>
              <a:gd name="connsiteX10" fmla="*/ 15633 w 19198"/>
              <a:gd name="connsiteY10" fmla="*/ 15840 h 15913"/>
              <a:gd name="connsiteX11" fmla="*/ 19154 w 19198"/>
              <a:gd name="connsiteY11" fmla="*/ 15913 h 15913"/>
              <a:gd name="connsiteX12" fmla="*/ 19180 w 19198"/>
              <a:gd name="connsiteY12" fmla="*/ 12271 h 15913"/>
              <a:gd name="connsiteX13" fmla="*/ 18943 w 19198"/>
              <a:gd name="connsiteY13" fmla="*/ 9182 h 15913"/>
              <a:gd name="connsiteX14" fmla="*/ 19161 w 19198"/>
              <a:gd name="connsiteY14" fmla="*/ 3610 h 15913"/>
              <a:gd name="connsiteX15" fmla="*/ 15199 w 19198"/>
              <a:gd name="connsiteY15" fmla="*/ 859 h 15913"/>
              <a:gd name="connsiteX16" fmla="*/ 11465 w 19198"/>
              <a:gd name="connsiteY16" fmla="*/ 23 h 15913"/>
              <a:gd name="connsiteX0" fmla="*/ 11465 w 19190"/>
              <a:gd name="connsiteY0" fmla="*/ 23 h 15913"/>
              <a:gd name="connsiteX1" fmla="*/ 5703 w 19190"/>
              <a:gd name="connsiteY1" fmla="*/ 1085 h 15913"/>
              <a:gd name="connsiteX2" fmla="*/ 1220 w 19190"/>
              <a:gd name="connsiteY2" fmla="*/ 5155 h 15913"/>
              <a:gd name="connsiteX3" fmla="*/ 36 w 19190"/>
              <a:gd name="connsiteY3" fmla="*/ 9089 h 15913"/>
              <a:gd name="connsiteX4" fmla="*/ 353 w 19190"/>
              <a:gd name="connsiteY4" fmla="*/ 13412 h 15913"/>
              <a:gd name="connsiteX5" fmla="*/ 1146 w 19190"/>
              <a:gd name="connsiteY5" fmla="*/ 15835 h 15913"/>
              <a:gd name="connsiteX6" fmla="*/ 5793 w 19190"/>
              <a:gd name="connsiteY6" fmla="*/ 15873 h 15913"/>
              <a:gd name="connsiteX7" fmla="*/ 8678 w 19190"/>
              <a:gd name="connsiteY7" fmla="*/ 15877 h 15913"/>
              <a:gd name="connsiteX8" fmla="*/ 11000 w 19190"/>
              <a:gd name="connsiteY8" fmla="*/ 15895 h 15913"/>
              <a:gd name="connsiteX9" fmla="*/ 13786 w 19190"/>
              <a:gd name="connsiteY9" fmla="*/ 15872 h 15913"/>
              <a:gd name="connsiteX10" fmla="*/ 15633 w 19190"/>
              <a:gd name="connsiteY10" fmla="*/ 15840 h 15913"/>
              <a:gd name="connsiteX11" fmla="*/ 19154 w 19190"/>
              <a:gd name="connsiteY11" fmla="*/ 15913 h 15913"/>
              <a:gd name="connsiteX12" fmla="*/ 19180 w 19190"/>
              <a:gd name="connsiteY12" fmla="*/ 12271 h 15913"/>
              <a:gd name="connsiteX13" fmla="*/ 19172 w 19190"/>
              <a:gd name="connsiteY13" fmla="*/ 9209 h 15913"/>
              <a:gd name="connsiteX14" fmla="*/ 19161 w 19190"/>
              <a:gd name="connsiteY14" fmla="*/ 3610 h 15913"/>
              <a:gd name="connsiteX15" fmla="*/ 15199 w 19190"/>
              <a:gd name="connsiteY15" fmla="*/ 859 h 15913"/>
              <a:gd name="connsiteX16" fmla="*/ 11465 w 19190"/>
              <a:gd name="connsiteY16" fmla="*/ 23 h 15913"/>
              <a:gd name="connsiteX0" fmla="*/ 11465 w 19190"/>
              <a:gd name="connsiteY0" fmla="*/ 23 h 15905"/>
              <a:gd name="connsiteX1" fmla="*/ 5703 w 19190"/>
              <a:gd name="connsiteY1" fmla="*/ 1085 h 15905"/>
              <a:gd name="connsiteX2" fmla="*/ 1220 w 19190"/>
              <a:gd name="connsiteY2" fmla="*/ 5155 h 15905"/>
              <a:gd name="connsiteX3" fmla="*/ 36 w 19190"/>
              <a:gd name="connsiteY3" fmla="*/ 9089 h 15905"/>
              <a:gd name="connsiteX4" fmla="*/ 353 w 19190"/>
              <a:gd name="connsiteY4" fmla="*/ 13412 h 15905"/>
              <a:gd name="connsiteX5" fmla="*/ 1146 w 19190"/>
              <a:gd name="connsiteY5" fmla="*/ 15835 h 15905"/>
              <a:gd name="connsiteX6" fmla="*/ 5793 w 19190"/>
              <a:gd name="connsiteY6" fmla="*/ 15873 h 15905"/>
              <a:gd name="connsiteX7" fmla="*/ 8678 w 19190"/>
              <a:gd name="connsiteY7" fmla="*/ 15877 h 15905"/>
              <a:gd name="connsiteX8" fmla="*/ 11000 w 19190"/>
              <a:gd name="connsiteY8" fmla="*/ 15895 h 15905"/>
              <a:gd name="connsiteX9" fmla="*/ 13786 w 19190"/>
              <a:gd name="connsiteY9" fmla="*/ 15872 h 15905"/>
              <a:gd name="connsiteX10" fmla="*/ 15633 w 19190"/>
              <a:gd name="connsiteY10" fmla="*/ 15840 h 15905"/>
              <a:gd name="connsiteX11" fmla="*/ 19154 w 19190"/>
              <a:gd name="connsiteY11" fmla="*/ 15860 h 15905"/>
              <a:gd name="connsiteX12" fmla="*/ 19180 w 19190"/>
              <a:gd name="connsiteY12" fmla="*/ 12271 h 15905"/>
              <a:gd name="connsiteX13" fmla="*/ 19172 w 19190"/>
              <a:gd name="connsiteY13" fmla="*/ 9209 h 15905"/>
              <a:gd name="connsiteX14" fmla="*/ 19161 w 19190"/>
              <a:gd name="connsiteY14" fmla="*/ 3610 h 15905"/>
              <a:gd name="connsiteX15" fmla="*/ 15199 w 19190"/>
              <a:gd name="connsiteY15" fmla="*/ 859 h 15905"/>
              <a:gd name="connsiteX16" fmla="*/ 11465 w 19190"/>
              <a:gd name="connsiteY16" fmla="*/ 23 h 15905"/>
              <a:gd name="connsiteX0" fmla="*/ 11480 w 19205"/>
              <a:gd name="connsiteY0" fmla="*/ 23 h 15905"/>
              <a:gd name="connsiteX1" fmla="*/ 5718 w 19205"/>
              <a:gd name="connsiteY1" fmla="*/ 1085 h 15905"/>
              <a:gd name="connsiteX2" fmla="*/ 1235 w 19205"/>
              <a:gd name="connsiteY2" fmla="*/ 5155 h 15905"/>
              <a:gd name="connsiteX3" fmla="*/ 51 w 19205"/>
              <a:gd name="connsiteY3" fmla="*/ 9089 h 15905"/>
              <a:gd name="connsiteX4" fmla="*/ 368 w 19205"/>
              <a:gd name="connsiteY4" fmla="*/ 13412 h 15905"/>
              <a:gd name="connsiteX5" fmla="*/ 1161 w 19205"/>
              <a:gd name="connsiteY5" fmla="*/ 15835 h 15905"/>
              <a:gd name="connsiteX6" fmla="*/ 5808 w 19205"/>
              <a:gd name="connsiteY6" fmla="*/ 15873 h 15905"/>
              <a:gd name="connsiteX7" fmla="*/ 8693 w 19205"/>
              <a:gd name="connsiteY7" fmla="*/ 15877 h 15905"/>
              <a:gd name="connsiteX8" fmla="*/ 11015 w 19205"/>
              <a:gd name="connsiteY8" fmla="*/ 15895 h 15905"/>
              <a:gd name="connsiteX9" fmla="*/ 13801 w 19205"/>
              <a:gd name="connsiteY9" fmla="*/ 15872 h 15905"/>
              <a:gd name="connsiteX10" fmla="*/ 15648 w 19205"/>
              <a:gd name="connsiteY10" fmla="*/ 15840 h 15905"/>
              <a:gd name="connsiteX11" fmla="*/ 19169 w 19205"/>
              <a:gd name="connsiteY11" fmla="*/ 15860 h 15905"/>
              <a:gd name="connsiteX12" fmla="*/ 19195 w 19205"/>
              <a:gd name="connsiteY12" fmla="*/ 12271 h 15905"/>
              <a:gd name="connsiteX13" fmla="*/ 19187 w 19205"/>
              <a:gd name="connsiteY13" fmla="*/ 9209 h 15905"/>
              <a:gd name="connsiteX14" fmla="*/ 19176 w 19205"/>
              <a:gd name="connsiteY14" fmla="*/ 3610 h 15905"/>
              <a:gd name="connsiteX15" fmla="*/ 15214 w 19205"/>
              <a:gd name="connsiteY15" fmla="*/ 859 h 15905"/>
              <a:gd name="connsiteX16" fmla="*/ 11480 w 19205"/>
              <a:gd name="connsiteY16" fmla="*/ 23 h 15905"/>
              <a:gd name="connsiteX0" fmla="*/ 11474 w 19199"/>
              <a:gd name="connsiteY0" fmla="*/ 23 h 15913"/>
              <a:gd name="connsiteX1" fmla="*/ 5712 w 19199"/>
              <a:gd name="connsiteY1" fmla="*/ 1085 h 15913"/>
              <a:gd name="connsiteX2" fmla="*/ 1229 w 19199"/>
              <a:gd name="connsiteY2" fmla="*/ 5155 h 15913"/>
              <a:gd name="connsiteX3" fmla="*/ 45 w 19199"/>
              <a:gd name="connsiteY3" fmla="*/ 9089 h 15913"/>
              <a:gd name="connsiteX4" fmla="*/ 362 w 19199"/>
              <a:gd name="connsiteY4" fmla="*/ 13412 h 15913"/>
              <a:gd name="connsiteX5" fmla="*/ 1703 w 19199"/>
              <a:gd name="connsiteY5" fmla="*/ 15888 h 15913"/>
              <a:gd name="connsiteX6" fmla="*/ 5802 w 19199"/>
              <a:gd name="connsiteY6" fmla="*/ 15873 h 15913"/>
              <a:gd name="connsiteX7" fmla="*/ 8687 w 19199"/>
              <a:gd name="connsiteY7" fmla="*/ 15877 h 15913"/>
              <a:gd name="connsiteX8" fmla="*/ 11009 w 19199"/>
              <a:gd name="connsiteY8" fmla="*/ 15895 h 15913"/>
              <a:gd name="connsiteX9" fmla="*/ 13795 w 19199"/>
              <a:gd name="connsiteY9" fmla="*/ 15872 h 15913"/>
              <a:gd name="connsiteX10" fmla="*/ 15642 w 19199"/>
              <a:gd name="connsiteY10" fmla="*/ 15840 h 15913"/>
              <a:gd name="connsiteX11" fmla="*/ 19163 w 19199"/>
              <a:gd name="connsiteY11" fmla="*/ 15860 h 15913"/>
              <a:gd name="connsiteX12" fmla="*/ 19189 w 19199"/>
              <a:gd name="connsiteY12" fmla="*/ 12271 h 15913"/>
              <a:gd name="connsiteX13" fmla="*/ 19181 w 19199"/>
              <a:gd name="connsiteY13" fmla="*/ 9209 h 15913"/>
              <a:gd name="connsiteX14" fmla="*/ 19170 w 19199"/>
              <a:gd name="connsiteY14" fmla="*/ 3610 h 15913"/>
              <a:gd name="connsiteX15" fmla="*/ 15208 w 19199"/>
              <a:gd name="connsiteY15" fmla="*/ 859 h 15913"/>
              <a:gd name="connsiteX16" fmla="*/ 11474 w 19199"/>
              <a:gd name="connsiteY16" fmla="*/ 23 h 15913"/>
              <a:gd name="connsiteX0" fmla="*/ 11474 w 19199"/>
              <a:gd name="connsiteY0" fmla="*/ 23 h 15905"/>
              <a:gd name="connsiteX1" fmla="*/ 5712 w 19199"/>
              <a:gd name="connsiteY1" fmla="*/ 1085 h 15905"/>
              <a:gd name="connsiteX2" fmla="*/ 1229 w 19199"/>
              <a:gd name="connsiteY2" fmla="*/ 5155 h 15905"/>
              <a:gd name="connsiteX3" fmla="*/ 45 w 19199"/>
              <a:gd name="connsiteY3" fmla="*/ 9089 h 15905"/>
              <a:gd name="connsiteX4" fmla="*/ 362 w 19199"/>
              <a:gd name="connsiteY4" fmla="*/ 13412 h 15905"/>
              <a:gd name="connsiteX5" fmla="*/ 1703 w 19199"/>
              <a:gd name="connsiteY5" fmla="*/ 15888 h 15905"/>
              <a:gd name="connsiteX6" fmla="*/ 5802 w 19199"/>
              <a:gd name="connsiteY6" fmla="*/ 15873 h 15905"/>
              <a:gd name="connsiteX7" fmla="*/ 8687 w 19199"/>
              <a:gd name="connsiteY7" fmla="*/ 15877 h 15905"/>
              <a:gd name="connsiteX8" fmla="*/ 11009 w 19199"/>
              <a:gd name="connsiteY8" fmla="*/ 15895 h 15905"/>
              <a:gd name="connsiteX9" fmla="*/ 13795 w 19199"/>
              <a:gd name="connsiteY9" fmla="*/ 15872 h 15905"/>
              <a:gd name="connsiteX10" fmla="*/ 15642 w 19199"/>
              <a:gd name="connsiteY10" fmla="*/ 15840 h 15905"/>
              <a:gd name="connsiteX11" fmla="*/ 19163 w 19199"/>
              <a:gd name="connsiteY11" fmla="*/ 15860 h 15905"/>
              <a:gd name="connsiteX12" fmla="*/ 19189 w 19199"/>
              <a:gd name="connsiteY12" fmla="*/ 12271 h 15905"/>
              <a:gd name="connsiteX13" fmla="*/ 19181 w 19199"/>
              <a:gd name="connsiteY13" fmla="*/ 9209 h 15905"/>
              <a:gd name="connsiteX14" fmla="*/ 19170 w 19199"/>
              <a:gd name="connsiteY14" fmla="*/ 3610 h 15905"/>
              <a:gd name="connsiteX15" fmla="*/ 15208 w 19199"/>
              <a:gd name="connsiteY15" fmla="*/ 859 h 15905"/>
              <a:gd name="connsiteX16" fmla="*/ 11474 w 19199"/>
              <a:gd name="connsiteY16" fmla="*/ 23 h 15905"/>
              <a:gd name="connsiteX0" fmla="*/ 11474 w 19199"/>
              <a:gd name="connsiteY0" fmla="*/ 23 h 15905"/>
              <a:gd name="connsiteX1" fmla="*/ 5712 w 19199"/>
              <a:gd name="connsiteY1" fmla="*/ 1085 h 15905"/>
              <a:gd name="connsiteX2" fmla="*/ 1229 w 19199"/>
              <a:gd name="connsiteY2" fmla="*/ 5155 h 15905"/>
              <a:gd name="connsiteX3" fmla="*/ 45 w 19199"/>
              <a:gd name="connsiteY3" fmla="*/ 9089 h 15905"/>
              <a:gd name="connsiteX4" fmla="*/ 362 w 19199"/>
              <a:gd name="connsiteY4" fmla="*/ 13412 h 15905"/>
              <a:gd name="connsiteX5" fmla="*/ 1703 w 19199"/>
              <a:gd name="connsiteY5" fmla="*/ 15888 h 15905"/>
              <a:gd name="connsiteX6" fmla="*/ 5802 w 19199"/>
              <a:gd name="connsiteY6" fmla="*/ 15873 h 15905"/>
              <a:gd name="connsiteX7" fmla="*/ 8687 w 19199"/>
              <a:gd name="connsiteY7" fmla="*/ 15877 h 15905"/>
              <a:gd name="connsiteX8" fmla="*/ 11009 w 19199"/>
              <a:gd name="connsiteY8" fmla="*/ 15895 h 15905"/>
              <a:gd name="connsiteX9" fmla="*/ 13795 w 19199"/>
              <a:gd name="connsiteY9" fmla="*/ 15872 h 15905"/>
              <a:gd name="connsiteX10" fmla="*/ 15642 w 19199"/>
              <a:gd name="connsiteY10" fmla="*/ 15840 h 15905"/>
              <a:gd name="connsiteX11" fmla="*/ 19163 w 19199"/>
              <a:gd name="connsiteY11" fmla="*/ 15860 h 15905"/>
              <a:gd name="connsiteX12" fmla="*/ 19189 w 19199"/>
              <a:gd name="connsiteY12" fmla="*/ 12271 h 15905"/>
              <a:gd name="connsiteX13" fmla="*/ 19181 w 19199"/>
              <a:gd name="connsiteY13" fmla="*/ 9209 h 15905"/>
              <a:gd name="connsiteX14" fmla="*/ 19170 w 19199"/>
              <a:gd name="connsiteY14" fmla="*/ 3610 h 15905"/>
              <a:gd name="connsiteX15" fmla="*/ 15208 w 19199"/>
              <a:gd name="connsiteY15" fmla="*/ 859 h 15905"/>
              <a:gd name="connsiteX16" fmla="*/ 11474 w 19199"/>
              <a:gd name="connsiteY16" fmla="*/ 23 h 15905"/>
              <a:gd name="connsiteX0" fmla="*/ 11464 w 19189"/>
              <a:gd name="connsiteY0" fmla="*/ 23 h 15905"/>
              <a:gd name="connsiteX1" fmla="*/ 5702 w 19189"/>
              <a:gd name="connsiteY1" fmla="*/ 1085 h 15905"/>
              <a:gd name="connsiteX2" fmla="*/ 1219 w 19189"/>
              <a:gd name="connsiteY2" fmla="*/ 5155 h 15905"/>
              <a:gd name="connsiteX3" fmla="*/ 35 w 19189"/>
              <a:gd name="connsiteY3" fmla="*/ 9089 h 15905"/>
              <a:gd name="connsiteX4" fmla="*/ 352 w 19189"/>
              <a:gd name="connsiteY4" fmla="*/ 13412 h 15905"/>
              <a:gd name="connsiteX5" fmla="*/ 1099 w 19189"/>
              <a:gd name="connsiteY5" fmla="*/ 15861 h 15905"/>
              <a:gd name="connsiteX6" fmla="*/ 5792 w 19189"/>
              <a:gd name="connsiteY6" fmla="*/ 15873 h 15905"/>
              <a:gd name="connsiteX7" fmla="*/ 8677 w 19189"/>
              <a:gd name="connsiteY7" fmla="*/ 15877 h 15905"/>
              <a:gd name="connsiteX8" fmla="*/ 10999 w 19189"/>
              <a:gd name="connsiteY8" fmla="*/ 15895 h 15905"/>
              <a:gd name="connsiteX9" fmla="*/ 13785 w 19189"/>
              <a:gd name="connsiteY9" fmla="*/ 15872 h 15905"/>
              <a:gd name="connsiteX10" fmla="*/ 15632 w 19189"/>
              <a:gd name="connsiteY10" fmla="*/ 15840 h 15905"/>
              <a:gd name="connsiteX11" fmla="*/ 19153 w 19189"/>
              <a:gd name="connsiteY11" fmla="*/ 15860 h 15905"/>
              <a:gd name="connsiteX12" fmla="*/ 19179 w 19189"/>
              <a:gd name="connsiteY12" fmla="*/ 12271 h 15905"/>
              <a:gd name="connsiteX13" fmla="*/ 19171 w 19189"/>
              <a:gd name="connsiteY13" fmla="*/ 9209 h 15905"/>
              <a:gd name="connsiteX14" fmla="*/ 19160 w 19189"/>
              <a:gd name="connsiteY14" fmla="*/ 3610 h 15905"/>
              <a:gd name="connsiteX15" fmla="*/ 15198 w 19189"/>
              <a:gd name="connsiteY15" fmla="*/ 859 h 15905"/>
              <a:gd name="connsiteX16" fmla="*/ 11464 w 19189"/>
              <a:gd name="connsiteY16" fmla="*/ 23 h 15905"/>
              <a:gd name="connsiteX0" fmla="*/ 11472 w 19197"/>
              <a:gd name="connsiteY0" fmla="*/ 23 h 15905"/>
              <a:gd name="connsiteX1" fmla="*/ 5710 w 19197"/>
              <a:gd name="connsiteY1" fmla="*/ 1085 h 15905"/>
              <a:gd name="connsiteX2" fmla="*/ 1227 w 19197"/>
              <a:gd name="connsiteY2" fmla="*/ 5155 h 15905"/>
              <a:gd name="connsiteX3" fmla="*/ 43 w 19197"/>
              <a:gd name="connsiteY3" fmla="*/ 9089 h 15905"/>
              <a:gd name="connsiteX4" fmla="*/ 360 w 19197"/>
              <a:gd name="connsiteY4" fmla="*/ 13412 h 15905"/>
              <a:gd name="connsiteX5" fmla="*/ 1107 w 19197"/>
              <a:gd name="connsiteY5" fmla="*/ 15861 h 15905"/>
              <a:gd name="connsiteX6" fmla="*/ 5800 w 19197"/>
              <a:gd name="connsiteY6" fmla="*/ 15873 h 15905"/>
              <a:gd name="connsiteX7" fmla="*/ 8685 w 19197"/>
              <a:gd name="connsiteY7" fmla="*/ 15877 h 15905"/>
              <a:gd name="connsiteX8" fmla="*/ 11007 w 19197"/>
              <a:gd name="connsiteY8" fmla="*/ 15895 h 15905"/>
              <a:gd name="connsiteX9" fmla="*/ 13793 w 19197"/>
              <a:gd name="connsiteY9" fmla="*/ 15872 h 15905"/>
              <a:gd name="connsiteX10" fmla="*/ 15640 w 19197"/>
              <a:gd name="connsiteY10" fmla="*/ 15840 h 15905"/>
              <a:gd name="connsiteX11" fmla="*/ 19161 w 19197"/>
              <a:gd name="connsiteY11" fmla="*/ 15860 h 15905"/>
              <a:gd name="connsiteX12" fmla="*/ 19187 w 19197"/>
              <a:gd name="connsiteY12" fmla="*/ 12271 h 15905"/>
              <a:gd name="connsiteX13" fmla="*/ 19179 w 19197"/>
              <a:gd name="connsiteY13" fmla="*/ 9209 h 15905"/>
              <a:gd name="connsiteX14" fmla="*/ 19168 w 19197"/>
              <a:gd name="connsiteY14" fmla="*/ 3610 h 15905"/>
              <a:gd name="connsiteX15" fmla="*/ 15206 w 19197"/>
              <a:gd name="connsiteY15" fmla="*/ 859 h 15905"/>
              <a:gd name="connsiteX16" fmla="*/ 11472 w 19197"/>
              <a:gd name="connsiteY16" fmla="*/ 23 h 15905"/>
              <a:gd name="connsiteX0" fmla="*/ 11472 w 19193"/>
              <a:gd name="connsiteY0" fmla="*/ 23 h 15905"/>
              <a:gd name="connsiteX1" fmla="*/ 5710 w 19193"/>
              <a:gd name="connsiteY1" fmla="*/ 1085 h 15905"/>
              <a:gd name="connsiteX2" fmla="*/ 1227 w 19193"/>
              <a:gd name="connsiteY2" fmla="*/ 5155 h 15905"/>
              <a:gd name="connsiteX3" fmla="*/ 43 w 19193"/>
              <a:gd name="connsiteY3" fmla="*/ 9089 h 15905"/>
              <a:gd name="connsiteX4" fmla="*/ 360 w 19193"/>
              <a:gd name="connsiteY4" fmla="*/ 13412 h 15905"/>
              <a:gd name="connsiteX5" fmla="*/ 1107 w 19193"/>
              <a:gd name="connsiteY5" fmla="*/ 15861 h 15905"/>
              <a:gd name="connsiteX6" fmla="*/ 5800 w 19193"/>
              <a:gd name="connsiteY6" fmla="*/ 15873 h 15905"/>
              <a:gd name="connsiteX7" fmla="*/ 8685 w 19193"/>
              <a:gd name="connsiteY7" fmla="*/ 15877 h 15905"/>
              <a:gd name="connsiteX8" fmla="*/ 11007 w 19193"/>
              <a:gd name="connsiteY8" fmla="*/ 15895 h 15905"/>
              <a:gd name="connsiteX9" fmla="*/ 13793 w 19193"/>
              <a:gd name="connsiteY9" fmla="*/ 15872 h 15905"/>
              <a:gd name="connsiteX10" fmla="*/ 15640 w 19193"/>
              <a:gd name="connsiteY10" fmla="*/ 15840 h 15905"/>
              <a:gd name="connsiteX11" fmla="*/ 19161 w 19193"/>
              <a:gd name="connsiteY11" fmla="*/ 15860 h 15905"/>
              <a:gd name="connsiteX12" fmla="*/ 19187 w 19193"/>
              <a:gd name="connsiteY12" fmla="*/ 12271 h 15905"/>
              <a:gd name="connsiteX13" fmla="*/ 19179 w 19193"/>
              <a:gd name="connsiteY13" fmla="*/ 9209 h 15905"/>
              <a:gd name="connsiteX14" fmla="*/ 19168 w 19193"/>
              <a:gd name="connsiteY14" fmla="*/ 3610 h 15905"/>
              <a:gd name="connsiteX15" fmla="*/ 15206 w 19193"/>
              <a:gd name="connsiteY15" fmla="*/ 859 h 15905"/>
              <a:gd name="connsiteX16" fmla="*/ 11472 w 19193"/>
              <a:gd name="connsiteY16" fmla="*/ 23 h 15905"/>
              <a:gd name="connsiteX0" fmla="*/ 11472 w 19193"/>
              <a:gd name="connsiteY0" fmla="*/ 23 h 15905"/>
              <a:gd name="connsiteX1" fmla="*/ 5710 w 19193"/>
              <a:gd name="connsiteY1" fmla="*/ 1085 h 15905"/>
              <a:gd name="connsiteX2" fmla="*/ 1227 w 19193"/>
              <a:gd name="connsiteY2" fmla="*/ 5155 h 15905"/>
              <a:gd name="connsiteX3" fmla="*/ 43 w 19193"/>
              <a:gd name="connsiteY3" fmla="*/ 9089 h 15905"/>
              <a:gd name="connsiteX4" fmla="*/ 360 w 19193"/>
              <a:gd name="connsiteY4" fmla="*/ 13412 h 15905"/>
              <a:gd name="connsiteX5" fmla="*/ 1107 w 19193"/>
              <a:gd name="connsiteY5" fmla="*/ 15861 h 15905"/>
              <a:gd name="connsiteX6" fmla="*/ 5800 w 19193"/>
              <a:gd name="connsiteY6" fmla="*/ 15873 h 15905"/>
              <a:gd name="connsiteX7" fmla="*/ 8685 w 19193"/>
              <a:gd name="connsiteY7" fmla="*/ 15877 h 15905"/>
              <a:gd name="connsiteX8" fmla="*/ 11007 w 19193"/>
              <a:gd name="connsiteY8" fmla="*/ 15895 h 15905"/>
              <a:gd name="connsiteX9" fmla="*/ 13793 w 19193"/>
              <a:gd name="connsiteY9" fmla="*/ 15872 h 15905"/>
              <a:gd name="connsiteX10" fmla="*/ 15640 w 19193"/>
              <a:gd name="connsiteY10" fmla="*/ 15840 h 15905"/>
              <a:gd name="connsiteX11" fmla="*/ 19161 w 19193"/>
              <a:gd name="connsiteY11" fmla="*/ 15860 h 15905"/>
              <a:gd name="connsiteX12" fmla="*/ 19187 w 19193"/>
              <a:gd name="connsiteY12" fmla="*/ 12271 h 15905"/>
              <a:gd name="connsiteX13" fmla="*/ 19179 w 19193"/>
              <a:gd name="connsiteY13" fmla="*/ 9209 h 15905"/>
              <a:gd name="connsiteX14" fmla="*/ 19168 w 19193"/>
              <a:gd name="connsiteY14" fmla="*/ 3610 h 15905"/>
              <a:gd name="connsiteX15" fmla="*/ 15206 w 19193"/>
              <a:gd name="connsiteY15" fmla="*/ 859 h 15905"/>
              <a:gd name="connsiteX16" fmla="*/ 11472 w 19193"/>
              <a:gd name="connsiteY16" fmla="*/ 23 h 15905"/>
              <a:gd name="connsiteX0" fmla="*/ 11472 w 19467"/>
              <a:gd name="connsiteY0" fmla="*/ 23 h 15905"/>
              <a:gd name="connsiteX1" fmla="*/ 5710 w 19467"/>
              <a:gd name="connsiteY1" fmla="*/ 1085 h 15905"/>
              <a:gd name="connsiteX2" fmla="*/ 1227 w 19467"/>
              <a:gd name="connsiteY2" fmla="*/ 5155 h 15905"/>
              <a:gd name="connsiteX3" fmla="*/ 43 w 19467"/>
              <a:gd name="connsiteY3" fmla="*/ 9089 h 15905"/>
              <a:gd name="connsiteX4" fmla="*/ 360 w 19467"/>
              <a:gd name="connsiteY4" fmla="*/ 13412 h 15905"/>
              <a:gd name="connsiteX5" fmla="*/ 1107 w 19467"/>
              <a:gd name="connsiteY5" fmla="*/ 15861 h 15905"/>
              <a:gd name="connsiteX6" fmla="*/ 5800 w 19467"/>
              <a:gd name="connsiteY6" fmla="*/ 15873 h 15905"/>
              <a:gd name="connsiteX7" fmla="*/ 8685 w 19467"/>
              <a:gd name="connsiteY7" fmla="*/ 15877 h 15905"/>
              <a:gd name="connsiteX8" fmla="*/ 11007 w 19467"/>
              <a:gd name="connsiteY8" fmla="*/ 15895 h 15905"/>
              <a:gd name="connsiteX9" fmla="*/ 13793 w 19467"/>
              <a:gd name="connsiteY9" fmla="*/ 15872 h 15905"/>
              <a:gd name="connsiteX10" fmla="*/ 15640 w 19467"/>
              <a:gd name="connsiteY10" fmla="*/ 15840 h 15905"/>
              <a:gd name="connsiteX11" fmla="*/ 19161 w 19467"/>
              <a:gd name="connsiteY11" fmla="*/ 15860 h 15905"/>
              <a:gd name="connsiteX12" fmla="*/ 19187 w 19467"/>
              <a:gd name="connsiteY12" fmla="*/ 12271 h 15905"/>
              <a:gd name="connsiteX13" fmla="*/ 19168 w 19467"/>
              <a:gd name="connsiteY13" fmla="*/ 3610 h 15905"/>
              <a:gd name="connsiteX14" fmla="*/ 15206 w 19467"/>
              <a:gd name="connsiteY14" fmla="*/ 859 h 15905"/>
              <a:gd name="connsiteX15" fmla="*/ 11472 w 19467"/>
              <a:gd name="connsiteY15" fmla="*/ 23 h 15905"/>
              <a:gd name="connsiteX0" fmla="*/ 11472 w 19189"/>
              <a:gd name="connsiteY0" fmla="*/ 23 h 15905"/>
              <a:gd name="connsiteX1" fmla="*/ 5710 w 19189"/>
              <a:gd name="connsiteY1" fmla="*/ 1085 h 15905"/>
              <a:gd name="connsiteX2" fmla="*/ 1227 w 19189"/>
              <a:gd name="connsiteY2" fmla="*/ 5155 h 15905"/>
              <a:gd name="connsiteX3" fmla="*/ 43 w 19189"/>
              <a:gd name="connsiteY3" fmla="*/ 9089 h 15905"/>
              <a:gd name="connsiteX4" fmla="*/ 360 w 19189"/>
              <a:gd name="connsiteY4" fmla="*/ 13412 h 15905"/>
              <a:gd name="connsiteX5" fmla="*/ 1107 w 19189"/>
              <a:gd name="connsiteY5" fmla="*/ 15861 h 15905"/>
              <a:gd name="connsiteX6" fmla="*/ 5800 w 19189"/>
              <a:gd name="connsiteY6" fmla="*/ 15873 h 15905"/>
              <a:gd name="connsiteX7" fmla="*/ 8685 w 19189"/>
              <a:gd name="connsiteY7" fmla="*/ 15877 h 15905"/>
              <a:gd name="connsiteX8" fmla="*/ 11007 w 19189"/>
              <a:gd name="connsiteY8" fmla="*/ 15895 h 15905"/>
              <a:gd name="connsiteX9" fmla="*/ 13793 w 19189"/>
              <a:gd name="connsiteY9" fmla="*/ 15872 h 15905"/>
              <a:gd name="connsiteX10" fmla="*/ 15640 w 19189"/>
              <a:gd name="connsiteY10" fmla="*/ 15840 h 15905"/>
              <a:gd name="connsiteX11" fmla="*/ 19161 w 19189"/>
              <a:gd name="connsiteY11" fmla="*/ 15860 h 15905"/>
              <a:gd name="connsiteX12" fmla="*/ 19187 w 19189"/>
              <a:gd name="connsiteY12" fmla="*/ 12271 h 15905"/>
              <a:gd name="connsiteX13" fmla="*/ 19168 w 19189"/>
              <a:gd name="connsiteY13" fmla="*/ 3610 h 15905"/>
              <a:gd name="connsiteX14" fmla="*/ 15206 w 19189"/>
              <a:gd name="connsiteY14" fmla="*/ 859 h 15905"/>
              <a:gd name="connsiteX15" fmla="*/ 11472 w 19189"/>
              <a:gd name="connsiteY15" fmla="*/ 23 h 15905"/>
              <a:gd name="connsiteX0" fmla="*/ 11472 w 19190"/>
              <a:gd name="connsiteY0" fmla="*/ 23 h 15905"/>
              <a:gd name="connsiteX1" fmla="*/ 5710 w 19190"/>
              <a:gd name="connsiteY1" fmla="*/ 1085 h 15905"/>
              <a:gd name="connsiteX2" fmla="*/ 1227 w 19190"/>
              <a:gd name="connsiteY2" fmla="*/ 5155 h 15905"/>
              <a:gd name="connsiteX3" fmla="*/ 43 w 19190"/>
              <a:gd name="connsiteY3" fmla="*/ 9089 h 15905"/>
              <a:gd name="connsiteX4" fmla="*/ 360 w 19190"/>
              <a:gd name="connsiteY4" fmla="*/ 13412 h 15905"/>
              <a:gd name="connsiteX5" fmla="*/ 1107 w 19190"/>
              <a:gd name="connsiteY5" fmla="*/ 15861 h 15905"/>
              <a:gd name="connsiteX6" fmla="*/ 5800 w 19190"/>
              <a:gd name="connsiteY6" fmla="*/ 15873 h 15905"/>
              <a:gd name="connsiteX7" fmla="*/ 8685 w 19190"/>
              <a:gd name="connsiteY7" fmla="*/ 15877 h 15905"/>
              <a:gd name="connsiteX8" fmla="*/ 11007 w 19190"/>
              <a:gd name="connsiteY8" fmla="*/ 15895 h 15905"/>
              <a:gd name="connsiteX9" fmla="*/ 13793 w 19190"/>
              <a:gd name="connsiteY9" fmla="*/ 15872 h 15905"/>
              <a:gd name="connsiteX10" fmla="*/ 15640 w 19190"/>
              <a:gd name="connsiteY10" fmla="*/ 15840 h 15905"/>
              <a:gd name="connsiteX11" fmla="*/ 19161 w 19190"/>
              <a:gd name="connsiteY11" fmla="*/ 15860 h 15905"/>
              <a:gd name="connsiteX12" fmla="*/ 19187 w 19190"/>
              <a:gd name="connsiteY12" fmla="*/ 12271 h 15905"/>
              <a:gd name="connsiteX13" fmla="*/ 19148 w 19190"/>
              <a:gd name="connsiteY13" fmla="*/ 3493 h 15905"/>
              <a:gd name="connsiteX14" fmla="*/ 15206 w 19190"/>
              <a:gd name="connsiteY14" fmla="*/ 859 h 15905"/>
              <a:gd name="connsiteX15" fmla="*/ 11472 w 19190"/>
              <a:gd name="connsiteY15" fmla="*/ 23 h 15905"/>
              <a:gd name="connsiteX0" fmla="*/ 11472 w 19190"/>
              <a:gd name="connsiteY0" fmla="*/ 23 h 15905"/>
              <a:gd name="connsiteX1" fmla="*/ 5710 w 19190"/>
              <a:gd name="connsiteY1" fmla="*/ 1085 h 15905"/>
              <a:gd name="connsiteX2" fmla="*/ 1227 w 19190"/>
              <a:gd name="connsiteY2" fmla="*/ 5155 h 15905"/>
              <a:gd name="connsiteX3" fmla="*/ 43 w 19190"/>
              <a:gd name="connsiteY3" fmla="*/ 9089 h 15905"/>
              <a:gd name="connsiteX4" fmla="*/ 360 w 19190"/>
              <a:gd name="connsiteY4" fmla="*/ 13412 h 15905"/>
              <a:gd name="connsiteX5" fmla="*/ 1107 w 19190"/>
              <a:gd name="connsiteY5" fmla="*/ 15861 h 15905"/>
              <a:gd name="connsiteX6" fmla="*/ 5800 w 19190"/>
              <a:gd name="connsiteY6" fmla="*/ 15873 h 15905"/>
              <a:gd name="connsiteX7" fmla="*/ 8685 w 19190"/>
              <a:gd name="connsiteY7" fmla="*/ 15877 h 15905"/>
              <a:gd name="connsiteX8" fmla="*/ 11007 w 19190"/>
              <a:gd name="connsiteY8" fmla="*/ 15895 h 15905"/>
              <a:gd name="connsiteX9" fmla="*/ 13793 w 19190"/>
              <a:gd name="connsiteY9" fmla="*/ 15872 h 15905"/>
              <a:gd name="connsiteX10" fmla="*/ 15640 w 19190"/>
              <a:gd name="connsiteY10" fmla="*/ 15840 h 15905"/>
              <a:gd name="connsiteX11" fmla="*/ 19161 w 19190"/>
              <a:gd name="connsiteY11" fmla="*/ 15860 h 15905"/>
              <a:gd name="connsiteX12" fmla="*/ 19187 w 19190"/>
              <a:gd name="connsiteY12" fmla="*/ 12271 h 15905"/>
              <a:gd name="connsiteX13" fmla="*/ 19148 w 19190"/>
              <a:gd name="connsiteY13" fmla="*/ 3704 h 15905"/>
              <a:gd name="connsiteX14" fmla="*/ 15206 w 19190"/>
              <a:gd name="connsiteY14" fmla="*/ 859 h 15905"/>
              <a:gd name="connsiteX15" fmla="*/ 11472 w 19190"/>
              <a:gd name="connsiteY15" fmla="*/ 23 h 15905"/>
              <a:gd name="connsiteX0" fmla="*/ 11472 w 19190"/>
              <a:gd name="connsiteY0" fmla="*/ 23 h 15905"/>
              <a:gd name="connsiteX1" fmla="*/ 5710 w 19190"/>
              <a:gd name="connsiteY1" fmla="*/ 1085 h 15905"/>
              <a:gd name="connsiteX2" fmla="*/ 1227 w 19190"/>
              <a:gd name="connsiteY2" fmla="*/ 5155 h 15905"/>
              <a:gd name="connsiteX3" fmla="*/ 43 w 19190"/>
              <a:gd name="connsiteY3" fmla="*/ 9089 h 15905"/>
              <a:gd name="connsiteX4" fmla="*/ 360 w 19190"/>
              <a:gd name="connsiteY4" fmla="*/ 13412 h 15905"/>
              <a:gd name="connsiteX5" fmla="*/ 1107 w 19190"/>
              <a:gd name="connsiteY5" fmla="*/ 15861 h 15905"/>
              <a:gd name="connsiteX6" fmla="*/ 5800 w 19190"/>
              <a:gd name="connsiteY6" fmla="*/ 15873 h 15905"/>
              <a:gd name="connsiteX7" fmla="*/ 8685 w 19190"/>
              <a:gd name="connsiteY7" fmla="*/ 15877 h 15905"/>
              <a:gd name="connsiteX8" fmla="*/ 11007 w 19190"/>
              <a:gd name="connsiteY8" fmla="*/ 15895 h 15905"/>
              <a:gd name="connsiteX9" fmla="*/ 13793 w 19190"/>
              <a:gd name="connsiteY9" fmla="*/ 15872 h 15905"/>
              <a:gd name="connsiteX10" fmla="*/ 15640 w 19190"/>
              <a:gd name="connsiteY10" fmla="*/ 15840 h 15905"/>
              <a:gd name="connsiteX11" fmla="*/ 19161 w 19190"/>
              <a:gd name="connsiteY11" fmla="*/ 15860 h 15905"/>
              <a:gd name="connsiteX12" fmla="*/ 19187 w 19190"/>
              <a:gd name="connsiteY12" fmla="*/ 12271 h 15905"/>
              <a:gd name="connsiteX13" fmla="*/ 19148 w 19190"/>
              <a:gd name="connsiteY13" fmla="*/ 3610 h 15905"/>
              <a:gd name="connsiteX14" fmla="*/ 15206 w 19190"/>
              <a:gd name="connsiteY14" fmla="*/ 859 h 15905"/>
              <a:gd name="connsiteX15" fmla="*/ 11472 w 19190"/>
              <a:gd name="connsiteY15" fmla="*/ 23 h 15905"/>
              <a:gd name="connsiteX0" fmla="*/ 11472 w 19190"/>
              <a:gd name="connsiteY0" fmla="*/ 23 h 15905"/>
              <a:gd name="connsiteX1" fmla="*/ 5710 w 19190"/>
              <a:gd name="connsiteY1" fmla="*/ 1085 h 15905"/>
              <a:gd name="connsiteX2" fmla="*/ 1227 w 19190"/>
              <a:gd name="connsiteY2" fmla="*/ 5155 h 15905"/>
              <a:gd name="connsiteX3" fmla="*/ 43 w 19190"/>
              <a:gd name="connsiteY3" fmla="*/ 9089 h 15905"/>
              <a:gd name="connsiteX4" fmla="*/ 360 w 19190"/>
              <a:gd name="connsiteY4" fmla="*/ 13412 h 15905"/>
              <a:gd name="connsiteX5" fmla="*/ 1107 w 19190"/>
              <a:gd name="connsiteY5" fmla="*/ 15861 h 15905"/>
              <a:gd name="connsiteX6" fmla="*/ 5800 w 19190"/>
              <a:gd name="connsiteY6" fmla="*/ 15873 h 15905"/>
              <a:gd name="connsiteX7" fmla="*/ 8685 w 19190"/>
              <a:gd name="connsiteY7" fmla="*/ 15877 h 15905"/>
              <a:gd name="connsiteX8" fmla="*/ 11007 w 19190"/>
              <a:gd name="connsiteY8" fmla="*/ 15895 h 15905"/>
              <a:gd name="connsiteX9" fmla="*/ 13793 w 19190"/>
              <a:gd name="connsiteY9" fmla="*/ 15872 h 15905"/>
              <a:gd name="connsiteX10" fmla="*/ 15640 w 19190"/>
              <a:gd name="connsiteY10" fmla="*/ 15840 h 15905"/>
              <a:gd name="connsiteX11" fmla="*/ 19161 w 19190"/>
              <a:gd name="connsiteY11" fmla="*/ 15860 h 15905"/>
              <a:gd name="connsiteX12" fmla="*/ 19187 w 19190"/>
              <a:gd name="connsiteY12" fmla="*/ 12271 h 15905"/>
              <a:gd name="connsiteX13" fmla="*/ 19148 w 19190"/>
              <a:gd name="connsiteY13" fmla="*/ 3610 h 15905"/>
              <a:gd name="connsiteX14" fmla="*/ 15206 w 19190"/>
              <a:gd name="connsiteY14" fmla="*/ 859 h 15905"/>
              <a:gd name="connsiteX15" fmla="*/ 11472 w 19190"/>
              <a:gd name="connsiteY15" fmla="*/ 23 h 15905"/>
              <a:gd name="connsiteX0" fmla="*/ 11472 w 19190"/>
              <a:gd name="connsiteY0" fmla="*/ 23 h 15905"/>
              <a:gd name="connsiteX1" fmla="*/ 5710 w 19190"/>
              <a:gd name="connsiteY1" fmla="*/ 1085 h 15905"/>
              <a:gd name="connsiteX2" fmla="*/ 1227 w 19190"/>
              <a:gd name="connsiteY2" fmla="*/ 5155 h 15905"/>
              <a:gd name="connsiteX3" fmla="*/ 43 w 19190"/>
              <a:gd name="connsiteY3" fmla="*/ 9089 h 15905"/>
              <a:gd name="connsiteX4" fmla="*/ 360 w 19190"/>
              <a:gd name="connsiteY4" fmla="*/ 13412 h 15905"/>
              <a:gd name="connsiteX5" fmla="*/ 1107 w 19190"/>
              <a:gd name="connsiteY5" fmla="*/ 15861 h 15905"/>
              <a:gd name="connsiteX6" fmla="*/ 5800 w 19190"/>
              <a:gd name="connsiteY6" fmla="*/ 15873 h 15905"/>
              <a:gd name="connsiteX7" fmla="*/ 8685 w 19190"/>
              <a:gd name="connsiteY7" fmla="*/ 15877 h 15905"/>
              <a:gd name="connsiteX8" fmla="*/ 11007 w 19190"/>
              <a:gd name="connsiteY8" fmla="*/ 15895 h 15905"/>
              <a:gd name="connsiteX9" fmla="*/ 13793 w 19190"/>
              <a:gd name="connsiteY9" fmla="*/ 15872 h 15905"/>
              <a:gd name="connsiteX10" fmla="*/ 15640 w 19190"/>
              <a:gd name="connsiteY10" fmla="*/ 15840 h 15905"/>
              <a:gd name="connsiteX11" fmla="*/ 19161 w 19190"/>
              <a:gd name="connsiteY11" fmla="*/ 15860 h 15905"/>
              <a:gd name="connsiteX12" fmla="*/ 19187 w 19190"/>
              <a:gd name="connsiteY12" fmla="*/ 12271 h 15905"/>
              <a:gd name="connsiteX13" fmla="*/ 19148 w 19190"/>
              <a:gd name="connsiteY13" fmla="*/ 3610 h 15905"/>
              <a:gd name="connsiteX14" fmla="*/ 15206 w 19190"/>
              <a:gd name="connsiteY14" fmla="*/ 859 h 15905"/>
              <a:gd name="connsiteX15" fmla="*/ 11472 w 19190"/>
              <a:gd name="connsiteY15" fmla="*/ 23 h 159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9190" h="15905" extrusionOk="0">
                <a:moveTo>
                  <a:pt x="11472" y="23"/>
                </a:moveTo>
                <a:cubicBezTo>
                  <a:pt x="9485" y="-99"/>
                  <a:pt x="7487" y="271"/>
                  <a:pt x="5710" y="1085"/>
                </a:cubicBezTo>
                <a:cubicBezTo>
                  <a:pt x="3906" y="1911"/>
                  <a:pt x="2308" y="3211"/>
                  <a:pt x="1227" y="5155"/>
                </a:cubicBezTo>
                <a:cubicBezTo>
                  <a:pt x="561" y="6353"/>
                  <a:pt x="171" y="7696"/>
                  <a:pt x="43" y="9089"/>
                </a:cubicBezTo>
                <a:cubicBezTo>
                  <a:pt x="-88" y="10520"/>
                  <a:pt x="92" y="12203"/>
                  <a:pt x="360" y="13412"/>
                </a:cubicBezTo>
                <a:cubicBezTo>
                  <a:pt x="607" y="14528"/>
                  <a:pt x="1091" y="15876"/>
                  <a:pt x="1107" y="15861"/>
                </a:cubicBezTo>
                <a:cubicBezTo>
                  <a:pt x="1123" y="15846"/>
                  <a:pt x="4537" y="15870"/>
                  <a:pt x="5800" y="15873"/>
                </a:cubicBezTo>
                <a:cubicBezTo>
                  <a:pt x="7063" y="15876"/>
                  <a:pt x="7723" y="15920"/>
                  <a:pt x="8685" y="15877"/>
                </a:cubicBezTo>
                <a:cubicBezTo>
                  <a:pt x="9459" y="15927"/>
                  <a:pt x="10156" y="15896"/>
                  <a:pt x="11007" y="15895"/>
                </a:cubicBezTo>
                <a:lnTo>
                  <a:pt x="13793" y="15872"/>
                </a:lnTo>
                <a:cubicBezTo>
                  <a:pt x="14565" y="15863"/>
                  <a:pt x="14745" y="15842"/>
                  <a:pt x="15640" y="15840"/>
                </a:cubicBezTo>
                <a:lnTo>
                  <a:pt x="19161" y="15860"/>
                </a:lnTo>
                <a:cubicBezTo>
                  <a:pt x="19203" y="15875"/>
                  <a:pt x="19189" y="14313"/>
                  <a:pt x="19187" y="12271"/>
                </a:cubicBezTo>
                <a:cubicBezTo>
                  <a:pt x="19185" y="10229"/>
                  <a:pt x="19126" y="3682"/>
                  <a:pt x="19148" y="3610"/>
                </a:cubicBezTo>
                <a:cubicBezTo>
                  <a:pt x="18027" y="2331"/>
                  <a:pt x="16672" y="1405"/>
                  <a:pt x="15206" y="859"/>
                </a:cubicBezTo>
                <a:cubicBezTo>
                  <a:pt x="14026" y="396"/>
                  <a:pt x="12761" y="103"/>
                  <a:pt x="11472" y="23"/>
                </a:cubicBezTo>
                <a:close/>
              </a:path>
            </a:pathLst>
          </a:cu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25400">
            <a:noFill/>
            <a:miter lim="400000"/>
          </a:ln>
        </p:spPr>
        <p:txBody>
          <a:bodyPr lIns="25400" tIns="25400" rIns="25400" bIns="25400" anchor="ctr"/>
          <a:lstStyle/>
          <a:p>
            <a:endParaRPr sz="6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16B3D84-9E87-63D9-ABC0-06C62F80F60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5A18A9-FB90-4F92-9633-9A2FCB4DF4A0}" type="slidenum">
              <a:rPr lang="pt-PT" smtClean="0"/>
              <a:pPr/>
              <a:t>‹nº›</a:t>
            </a:fld>
            <a:endParaRPr lang="pt-PT" dirty="0"/>
          </a:p>
        </p:txBody>
      </p:sp>
      <p:pic>
        <p:nvPicPr>
          <p:cNvPr id="6" name="Image" descr="Image">
            <a:extLst>
              <a:ext uri="{FF2B5EF4-FFF2-40B4-BE49-F238E27FC236}">
                <a16:creationId xmlns:a16="http://schemas.microsoft.com/office/drawing/2014/main" id="{3BE7E261-535B-3167-77C0-DED5382DD91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5637" y="409975"/>
            <a:ext cx="1157293" cy="190501"/>
          </a:xfrm>
          <a:prstGeom prst="rect">
            <a:avLst/>
          </a:prstGeom>
          <a:ln w="12700">
            <a:miter lim="400000"/>
          </a:ln>
        </p:spPr>
      </p:pic>
      <p:sp>
        <p:nvSpPr>
          <p:cNvPr id="9" name="Marcador de Posição do Texto 2">
            <a:extLst>
              <a:ext uri="{FF2B5EF4-FFF2-40B4-BE49-F238E27FC236}">
                <a16:creationId xmlns:a16="http://schemas.microsoft.com/office/drawing/2014/main" id="{8B1DCFE6-9A94-789A-E4DC-51494F92E36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4317" y="2281107"/>
            <a:ext cx="4153056" cy="2445035"/>
          </a:xfrm>
          <a:prstGeom prst="rect">
            <a:avLst/>
          </a:prstGeom>
        </p:spPr>
        <p:txBody>
          <a:bodyPr vert="horz" wrap="none" lIns="0" tIns="45720" rIns="0" bIns="45720" rtlCol="0" anchor="t" anchorCtr="0">
            <a:noAutofit/>
          </a:bodyPr>
          <a:lstStyle>
            <a:lvl1pPr marL="0" indent="0">
              <a:lnSpc>
                <a:spcPts val="3860"/>
              </a:lnSpc>
              <a:buNone/>
              <a:defRPr lang="pt-PT" sz="3200" b="1" baseline="0" dirty="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166682" lvl="0" indent="-342891">
              <a:spcBef>
                <a:spcPct val="0"/>
              </a:spcBef>
            </a:pPr>
            <a:r>
              <a:rPr lang="pt-PT" dirty="0"/>
              <a:t>Título do Separador</a:t>
            </a:r>
          </a:p>
        </p:txBody>
      </p:sp>
      <p:sp useBgFill="1">
        <p:nvSpPr>
          <p:cNvPr id="12" name="Marcador de Posição do Texto 2">
            <a:extLst>
              <a:ext uri="{FF2B5EF4-FFF2-40B4-BE49-F238E27FC236}">
                <a16:creationId xmlns:a16="http://schemas.microsoft.com/office/drawing/2014/main" id="{76232CD6-C395-F87E-2079-8C82E68B65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6835" y="253243"/>
            <a:ext cx="1771431" cy="1876776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pt-PT" sz="15000" b="1" i="0" baseline="0" dirty="0">
                <a:ln w="22225">
                  <a:solidFill>
                    <a:srgbClr val="FF9E0E"/>
                  </a:solidFill>
                </a:ln>
                <a:noFill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pt-PT" dirty="0"/>
              <a:t>2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E0483070-6299-85B2-EB8D-3FA0C60D98C5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392200" y="-757382"/>
            <a:ext cx="7304087" cy="6859588"/>
            <a:chOff x="3091" y="0"/>
            <a:chExt cx="4601" cy="4321"/>
          </a:xfrm>
        </p:grpSpPr>
        <p:sp>
          <p:nvSpPr>
            <p:cNvPr id="7" name="AutoShape 3">
              <a:extLst>
                <a:ext uri="{FF2B5EF4-FFF2-40B4-BE49-F238E27FC236}">
                  <a16:creationId xmlns:a16="http://schemas.microsoft.com/office/drawing/2014/main" id="{D5791935-F517-9B63-ACAA-6B042C0AFB6F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3091" y="0"/>
              <a:ext cx="4601" cy="43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PT"/>
            </a:p>
          </p:txBody>
        </p:sp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E4111BBB-A379-7089-B077-CA3F12047EB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91" y="1107"/>
              <a:ext cx="5052" cy="4351"/>
            </a:xfrm>
            <a:custGeom>
              <a:avLst/>
              <a:gdLst>
                <a:gd name="T0" fmla="*/ 4486 w 8383"/>
                <a:gd name="T1" fmla="*/ 41 h 7224"/>
                <a:gd name="T2" fmla="*/ 4486 w 8383"/>
                <a:gd name="T3" fmla="*/ 41 h 7224"/>
                <a:gd name="T4" fmla="*/ 2250 w 8383"/>
                <a:gd name="T5" fmla="*/ 396 h 7224"/>
                <a:gd name="T6" fmla="*/ 510 w 8383"/>
                <a:gd name="T7" fmla="*/ 1757 h 7224"/>
                <a:gd name="T8" fmla="*/ 50 w 8383"/>
                <a:gd name="T9" fmla="*/ 3073 h 7224"/>
                <a:gd name="T10" fmla="*/ 174 w 8383"/>
                <a:gd name="T11" fmla="*/ 4519 h 7224"/>
                <a:gd name="T12" fmla="*/ 418 w 8383"/>
                <a:gd name="T13" fmla="*/ 5241 h 7224"/>
                <a:gd name="T14" fmla="*/ 817 w 8383"/>
                <a:gd name="T15" fmla="*/ 5881 h 7224"/>
                <a:gd name="T16" fmla="*/ 1859 w 8383"/>
                <a:gd name="T17" fmla="*/ 6736 h 7224"/>
                <a:gd name="T18" fmla="*/ 2894 w 8383"/>
                <a:gd name="T19" fmla="*/ 7115 h 7224"/>
                <a:gd name="T20" fmla="*/ 3992 w 8383"/>
                <a:gd name="T21" fmla="*/ 7220 h 7224"/>
                <a:gd name="T22" fmla="*/ 6288 w 8383"/>
                <a:gd name="T23" fmla="*/ 6673 h 7224"/>
                <a:gd name="T24" fmla="*/ 7872 w 8383"/>
                <a:gd name="T25" fmla="*/ 5262 h 7224"/>
                <a:gd name="T26" fmla="*/ 8266 w 8383"/>
                <a:gd name="T27" fmla="*/ 4308 h 7224"/>
                <a:gd name="T28" fmla="*/ 8356 w 8383"/>
                <a:gd name="T29" fmla="*/ 3249 h 7224"/>
                <a:gd name="T30" fmla="*/ 7178 w 8383"/>
                <a:gd name="T31" fmla="*/ 976 h 7224"/>
                <a:gd name="T32" fmla="*/ 5935 w 8383"/>
                <a:gd name="T33" fmla="*/ 321 h 7224"/>
                <a:gd name="T34" fmla="*/ 4486 w 8383"/>
                <a:gd name="T35" fmla="*/ 41 h 7224"/>
                <a:gd name="T36" fmla="*/ 4486 w 8383"/>
                <a:gd name="T37" fmla="*/ 41 h 7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383" h="7224">
                  <a:moveTo>
                    <a:pt x="4486" y="41"/>
                  </a:moveTo>
                  <a:lnTo>
                    <a:pt x="4486" y="41"/>
                  </a:lnTo>
                  <a:cubicBezTo>
                    <a:pt x="3715" y="0"/>
                    <a:pt x="2940" y="124"/>
                    <a:pt x="2250" y="396"/>
                  </a:cubicBezTo>
                  <a:cubicBezTo>
                    <a:pt x="1550" y="673"/>
                    <a:pt x="930" y="1107"/>
                    <a:pt x="510" y="1757"/>
                  </a:cubicBezTo>
                  <a:cubicBezTo>
                    <a:pt x="252" y="2158"/>
                    <a:pt x="100" y="2607"/>
                    <a:pt x="50" y="3073"/>
                  </a:cubicBezTo>
                  <a:cubicBezTo>
                    <a:pt x="0" y="3552"/>
                    <a:pt x="57" y="4043"/>
                    <a:pt x="174" y="4519"/>
                  </a:cubicBezTo>
                  <a:cubicBezTo>
                    <a:pt x="234" y="4768"/>
                    <a:pt x="311" y="5012"/>
                    <a:pt x="418" y="5241"/>
                  </a:cubicBezTo>
                  <a:cubicBezTo>
                    <a:pt x="524" y="5471"/>
                    <a:pt x="658" y="5684"/>
                    <a:pt x="817" y="5881"/>
                  </a:cubicBezTo>
                  <a:cubicBezTo>
                    <a:pt x="1101" y="6231"/>
                    <a:pt x="1457" y="6520"/>
                    <a:pt x="1859" y="6736"/>
                  </a:cubicBezTo>
                  <a:cubicBezTo>
                    <a:pt x="2189" y="6913"/>
                    <a:pt x="2537" y="7037"/>
                    <a:pt x="2894" y="7115"/>
                  </a:cubicBezTo>
                  <a:cubicBezTo>
                    <a:pt x="3255" y="7194"/>
                    <a:pt x="3624" y="7224"/>
                    <a:pt x="3992" y="7220"/>
                  </a:cubicBezTo>
                  <a:cubicBezTo>
                    <a:pt x="4778" y="7209"/>
                    <a:pt x="5569" y="7038"/>
                    <a:pt x="6288" y="6673"/>
                  </a:cubicBezTo>
                  <a:cubicBezTo>
                    <a:pt x="6943" y="6340"/>
                    <a:pt x="7507" y="5860"/>
                    <a:pt x="7872" y="5262"/>
                  </a:cubicBezTo>
                  <a:cubicBezTo>
                    <a:pt x="8053" y="4965"/>
                    <a:pt x="8184" y="4644"/>
                    <a:pt x="8266" y="4308"/>
                  </a:cubicBezTo>
                  <a:cubicBezTo>
                    <a:pt x="8349" y="3968"/>
                    <a:pt x="8383" y="3612"/>
                    <a:pt x="8356" y="3249"/>
                  </a:cubicBezTo>
                  <a:cubicBezTo>
                    <a:pt x="8290" y="2329"/>
                    <a:pt x="7872" y="1531"/>
                    <a:pt x="7178" y="976"/>
                  </a:cubicBezTo>
                  <a:cubicBezTo>
                    <a:pt x="6817" y="688"/>
                    <a:pt x="6392" y="475"/>
                    <a:pt x="5935" y="321"/>
                  </a:cubicBezTo>
                  <a:cubicBezTo>
                    <a:pt x="5477" y="166"/>
                    <a:pt x="4986" y="68"/>
                    <a:pt x="4486" y="41"/>
                  </a:cubicBezTo>
                  <a:lnTo>
                    <a:pt x="4486" y="41"/>
                  </a:lnTo>
                  <a:close/>
                </a:path>
              </a:pathLst>
            </a:custGeom>
            <a:noFill/>
            <a:ln w="25400" cap="flat">
              <a:solidFill>
                <a:srgbClr val="AEBD3D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PT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B1679DF6-760F-5B06-9C96-2AC604DB0D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36" y="-536"/>
              <a:ext cx="2828" cy="1856"/>
            </a:xfrm>
            <a:custGeom>
              <a:avLst/>
              <a:gdLst>
                <a:gd name="T0" fmla="*/ 968 w 4692"/>
                <a:gd name="T1" fmla="*/ 1331 h 3083"/>
                <a:gd name="T2" fmla="*/ 968 w 4692"/>
                <a:gd name="T3" fmla="*/ 1331 h 3083"/>
                <a:gd name="T4" fmla="*/ 443 w 4692"/>
                <a:gd name="T5" fmla="*/ 1910 h 3083"/>
                <a:gd name="T6" fmla="*/ 185 w 4692"/>
                <a:gd name="T7" fmla="*/ 2267 h 3083"/>
                <a:gd name="T8" fmla="*/ 39 w 4692"/>
                <a:gd name="T9" fmla="*/ 2573 h 3083"/>
                <a:gd name="T10" fmla="*/ 2 w 4692"/>
                <a:gd name="T11" fmla="*/ 2764 h 3083"/>
                <a:gd name="T12" fmla="*/ 33 w 4692"/>
                <a:gd name="T13" fmla="*/ 2931 h 3083"/>
                <a:gd name="T14" fmla="*/ 108 w 4692"/>
                <a:gd name="T15" fmla="*/ 3017 h 3083"/>
                <a:gd name="T16" fmla="*/ 356 w 4692"/>
                <a:gd name="T17" fmla="*/ 3080 h 3083"/>
                <a:gd name="T18" fmla="*/ 629 w 4692"/>
                <a:gd name="T19" fmla="*/ 3039 h 3083"/>
                <a:gd name="T20" fmla="*/ 1022 w 4692"/>
                <a:gd name="T21" fmla="*/ 2930 h 3083"/>
                <a:gd name="T22" fmla="*/ 1590 w 4692"/>
                <a:gd name="T23" fmla="*/ 2691 h 3083"/>
                <a:gd name="T24" fmla="*/ 2248 w 4692"/>
                <a:gd name="T25" fmla="*/ 2361 h 3083"/>
                <a:gd name="T26" fmla="*/ 2869 w 4692"/>
                <a:gd name="T27" fmla="*/ 2005 h 3083"/>
                <a:gd name="T28" fmla="*/ 3972 w 4692"/>
                <a:gd name="T29" fmla="*/ 1242 h 3083"/>
                <a:gd name="T30" fmla="*/ 4294 w 4692"/>
                <a:gd name="T31" fmla="*/ 947 h 3083"/>
                <a:gd name="T32" fmla="*/ 4517 w 4692"/>
                <a:gd name="T33" fmla="*/ 698 h 3083"/>
                <a:gd name="T34" fmla="*/ 4638 w 4692"/>
                <a:gd name="T35" fmla="*/ 491 h 3083"/>
                <a:gd name="T36" fmla="*/ 4670 w 4692"/>
                <a:gd name="T37" fmla="*/ 274 h 3083"/>
                <a:gd name="T38" fmla="*/ 4491 w 4692"/>
                <a:gd name="T39" fmla="*/ 100 h 3083"/>
                <a:gd name="T40" fmla="*/ 4258 w 4692"/>
                <a:gd name="T41" fmla="*/ 41 h 3083"/>
                <a:gd name="T42" fmla="*/ 3003 w 4692"/>
                <a:gd name="T43" fmla="*/ 141 h 3083"/>
                <a:gd name="T44" fmla="*/ 1893 w 4692"/>
                <a:gd name="T45" fmla="*/ 626 h 3083"/>
                <a:gd name="T46" fmla="*/ 968 w 4692"/>
                <a:gd name="T47" fmla="*/ 1331 h 3083"/>
                <a:gd name="T48" fmla="*/ 968 w 4692"/>
                <a:gd name="T49" fmla="*/ 1331 h 30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692" h="3083">
                  <a:moveTo>
                    <a:pt x="968" y="1331"/>
                  </a:moveTo>
                  <a:lnTo>
                    <a:pt x="968" y="1331"/>
                  </a:lnTo>
                  <a:cubicBezTo>
                    <a:pt x="779" y="1511"/>
                    <a:pt x="604" y="1705"/>
                    <a:pt x="443" y="1910"/>
                  </a:cubicBezTo>
                  <a:cubicBezTo>
                    <a:pt x="347" y="2021"/>
                    <a:pt x="260" y="2141"/>
                    <a:pt x="185" y="2267"/>
                  </a:cubicBezTo>
                  <a:cubicBezTo>
                    <a:pt x="126" y="2364"/>
                    <a:pt x="75" y="2465"/>
                    <a:pt x="39" y="2573"/>
                  </a:cubicBezTo>
                  <a:cubicBezTo>
                    <a:pt x="19" y="2637"/>
                    <a:pt x="5" y="2700"/>
                    <a:pt x="2" y="2764"/>
                  </a:cubicBezTo>
                  <a:cubicBezTo>
                    <a:pt x="0" y="2821"/>
                    <a:pt x="6" y="2879"/>
                    <a:pt x="33" y="2931"/>
                  </a:cubicBezTo>
                  <a:cubicBezTo>
                    <a:pt x="50" y="2965"/>
                    <a:pt x="77" y="2994"/>
                    <a:pt x="108" y="3017"/>
                  </a:cubicBezTo>
                  <a:cubicBezTo>
                    <a:pt x="181" y="3070"/>
                    <a:pt x="267" y="3083"/>
                    <a:pt x="356" y="3080"/>
                  </a:cubicBezTo>
                  <a:cubicBezTo>
                    <a:pt x="445" y="3077"/>
                    <a:pt x="539" y="3060"/>
                    <a:pt x="629" y="3039"/>
                  </a:cubicBezTo>
                  <a:cubicBezTo>
                    <a:pt x="760" y="3008"/>
                    <a:pt x="893" y="2973"/>
                    <a:pt x="1022" y="2930"/>
                  </a:cubicBezTo>
                  <a:cubicBezTo>
                    <a:pt x="1217" y="2864"/>
                    <a:pt x="1404" y="2779"/>
                    <a:pt x="1590" y="2691"/>
                  </a:cubicBezTo>
                  <a:cubicBezTo>
                    <a:pt x="1812" y="2586"/>
                    <a:pt x="2032" y="2477"/>
                    <a:pt x="2248" y="2361"/>
                  </a:cubicBezTo>
                  <a:cubicBezTo>
                    <a:pt x="2458" y="2248"/>
                    <a:pt x="2665" y="2128"/>
                    <a:pt x="2869" y="2005"/>
                  </a:cubicBezTo>
                  <a:cubicBezTo>
                    <a:pt x="3252" y="1773"/>
                    <a:pt x="3628" y="1528"/>
                    <a:pt x="3972" y="1242"/>
                  </a:cubicBezTo>
                  <a:cubicBezTo>
                    <a:pt x="4084" y="1148"/>
                    <a:pt x="4192" y="1050"/>
                    <a:pt x="4294" y="947"/>
                  </a:cubicBezTo>
                  <a:cubicBezTo>
                    <a:pt x="4372" y="868"/>
                    <a:pt x="4447" y="784"/>
                    <a:pt x="4517" y="698"/>
                  </a:cubicBezTo>
                  <a:cubicBezTo>
                    <a:pt x="4566" y="633"/>
                    <a:pt x="4606" y="563"/>
                    <a:pt x="4638" y="491"/>
                  </a:cubicBezTo>
                  <a:cubicBezTo>
                    <a:pt x="4667" y="423"/>
                    <a:pt x="4692" y="348"/>
                    <a:pt x="4670" y="274"/>
                  </a:cubicBezTo>
                  <a:cubicBezTo>
                    <a:pt x="4647" y="189"/>
                    <a:pt x="4571" y="135"/>
                    <a:pt x="4491" y="100"/>
                  </a:cubicBezTo>
                  <a:cubicBezTo>
                    <a:pt x="4417" y="67"/>
                    <a:pt x="4339" y="47"/>
                    <a:pt x="4258" y="41"/>
                  </a:cubicBezTo>
                  <a:cubicBezTo>
                    <a:pt x="3837" y="0"/>
                    <a:pt x="3412" y="33"/>
                    <a:pt x="3003" y="141"/>
                  </a:cubicBezTo>
                  <a:cubicBezTo>
                    <a:pt x="2609" y="246"/>
                    <a:pt x="2239" y="416"/>
                    <a:pt x="1893" y="626"/>
                  </a:cubicBezTo>
                  <a:cubicBezTo>
                    <a:pt x="1562" y="826"/>
                    <a:pt x="1251" y="1063"/>
                    <a:pt x="968" y="1331"/>
                  </a:cubicBezTo>
                  <a:lnTo>
                    <a:pt x="968" y="1331"/>
                  </a:lnTo>
                  <a:close/>
                </a:path>
              </a:pathLst>
            </a:custGeom>
            <a:noFill/>
            <a:ln w="25400" cap="flat">
              <a:solidFill>
                <a:srgbClr val="F0A13C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PT"/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369C016D-051F-9ABE-19A5-9E3D7FB16A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387" y="-127"/>
              <a:ext cx="4990" cy="2170"/>
            </a:xfrm>
            <a:custGeom>
              <a:avLst/>
              <a:gdLst>
                <a:gd name="T0" fmla="*/ 2535 w 8280"/>
                <a:gd name="T1" fmla="*/ 1580 h 3604"/>
                <a:gd name="T2" fmla="*/ 2535 w 8280"/>
                <a:gd name="T3" fmla="*/ 1580 h 3604"/>
                <a:gd name="T4" fmla="*/ 3550 w 8280"/>
                <a:gd name="T5" fmla="*/ 1635 h 3604"/>
                <a:gd name="T6" fmla="*/ 4566 w 8280"/>
                <a:gd name="T7" fmla="*/ 1696 h 3604"/>
                <a:gd name="T8" fmla="*/ 5231 w 8280"/>
                <a:gd name="T9" fmla="*/ 1706 h 3604"/>
                <a:gd name="T10" fmla="*/ 5885 w 8280"/>
                <a:gd name="T11" fmla="*/ 1590 h 3604"/>
                <a:gd name="T12" fmla="*/ 7049 w 8280"/>
                <a:gd name="T13" fmla="*/ 1050 h 3604"/>
                <a:gd name="T14" fmla="*/ 8027 w 8280"/>
                <a:gd name="T15" fmla="*/ 225 h 3604"/>
                <a:gd name="T16" fmla="*/ 8238 w 8280"/>
                <a:gd name="T17" fmla="*/ 16 h 3604"/>
                <a:gd name="T18" fmla="*/ 8269 w 8280"/>
                <a:gd name="T19" fmla="*/ 5 h 3604"/>
                <a:gd name="T20" fmla="*/ 8280 w 8280"/>
                <a:gd name="T21" fmla="*/ 28 h 3604"/>
                <a:gd name="T22" fmla="*/ 8272 w 8280"/>
                <a:gd name="T23" fmla="*/ 74 h 3604"/>
                <a:gd name="T24" fmla="*/ 8259 w 8280"/>
                <a:gd name="T25" fmla="*/ 117 h 3604"/>
                <a:gd name="T26" fmla="*/ 7898 w 8280"/>
                <a:gd name="T27" fmla="*/ 972 h 3604"/>
                <a:gd name="T28" fmla="*/ 7444 w 8280"/>
                <a:gd name="T29" fmla="*/ 1687 h 3604"/>
                <a:gd name="T30" fmla="*/ 5420 w 8280"/>
                <a:gd name="T31" fmla="*/ 3220 h 3604"/>
                <a:gd name="T32" fmla="*/ 3715 w 8280"/>
                <a:gd name="T33" fmla="*/ 3586 h 3604"/>
                <a:gd name="T34" fmla="*/ 2396 w 8280"/>
                <a:gd name="T35" fmla="*/ 3470 h 3604"/>
                <a:gd name="T36" fmla="*/ 1152 w 8280"/>
                <a:gd name="T37" fmla="*/ 3011 h 3604"/>
                <a:gd name="T38" fmla="*/ 641 w 8280"/>
                <a:gd name="T39" fmla="*/ 2689 h 3604"/>
                <a:gd name="T40" fmla="*/ 187 w 8280"/>
                <a:gd name="T41" fmla="*/ 2307 h 3604"/>
                <a:gd name="T42" fmla="*/ 53 w 8280"/>
                <a:gd name="T43" fmla="*/ 2119 h 3604"/>
                <a:gd name="T44" fmla="*/ 27 w 8280"/>
                <a:gd name="T45" fmla="*/ 1891 h 3604"/>
                <a:gd name="T46" fmla="*/ 304 w 8280"/>
                <a:gd name="T47" fmla="*/ 1694 h 3604"/>
                <a:gd name="T48" fmla="*/ 865 w 8280"/>
                <a:gd name="T49" fmla="*/ 1590 h 3604"/>
                <a:gd name="T50" fmla="*/ 1703 w 8280"/>
                <a:gd name="T51" fmla="*/ 1561 h 3604"/>
                <a:gd name="T52" fmla="*/ 2535 w 8280"/>
                <a:gd name="T53" fmla="*/ 1580 h 3604"/>
                <a:gd name="T54" fmla="*/ 2535 w 8280"/>
                <a:gd name="T55" fmla="*/ 1580 h 3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280" h="3604">
                  <a:moveTo>
                    <a:pt x="2535" y="1580"/>
                  </a:moveTo>
                  <a:lnTo>
                    <a:pt x="2535" y="1580"/>
                  </a:lnTo>
                  <a:cubicBezTo>
                    <a:pt x="2873" y="1597"/>
                    <a:pt x="3212" y="1615"/>
                    <a:pt x="3550" y="1635"/>
                  </a:cubicBezTo>
                  <a:cubicBezTo>
                    <a:pt x="3889" y="1655"/>
                    <a:pt x="4227" y="1676"/>
                    <a:pt x="4566" y="1696"/>
                  </a:cubicBezTo>
                  <a:cubicBezTo>
                    <a:pt x="4787" y="1708"/>
                    <a:pt x="5010" y="1720"/>
                    <a:pt x="5231" y="1706"/>
                  </a:cubicBezTo>
                  <a:cubicBezTo>
                    <a:pt x="5452" y="1691"/>
                    <a:pt x="5670" y="1651"/>
                    <a:pt x="5885" y="1590"/>
                  </a:cubicBezTo>
                  <a:cubicBezTo>
                    <a:pt x="6302" y="1474"/>
                    <a:pt x="6692" y="1288"/>
                    <a:pt x="7049" y="1050"/>
                  </a:cubicBezTo>
                  <a:cubicBezTo>
                    <a:pt x="7404" y="814"/>
                    <a:pt x="7724" y="527"/>
                    <a:pt x="8027" y="225"/>
                  </a:cubicBezTo>
                  <a:cubicBezTo>
                    <a:pt x="8097" y="155"/>
                    <a:pt x="8166" y="84"/>
                    <a:pt x="8238" y="16"/>
                  </a:cubicBezTo>
                  <a:cubicBezTo>
                    <a:pt x="8247" y="8"/>
                    <a:pt x="8259" y="0"/>
                    <a:pt x="8269" y="5"/>
                  </a:cubicBezTo>
                  <a:cubicBezTo>
                    <a:pt x="8278" y="9"/>
                    <a:pt x="8280" y="18"/>
                    <a:pt x="8280" y="28"/>
                  </a:cubicBezTo>
                  <a:cubicBezTo>
                    <a:pt x="8280" y="44"/>
                    <a:pt x="8276" y="59"/>
                    <a:pt x="8272" y="74"/>
                  </a:cubicBezTo>
                  <a:cubicBezTo>
                    <a:pt x="8268" y="88"/>
                    <a:pt x="8264" y="102"/>
                    <a:pt x="8259" y="117"/>
                  </a:cubicBezTo>
                  <a:cubicBezTo>
                    <a:pt x="8167" y="413"/>
                    <a:pt x="8043" y="698"/>
                    <a:pt x="7898" y="972"/>
                  </a:cubicBezTo>
                  <a:cubicBezTo>
                    <a:pt x="7765" y="1222"/>
                    <a:pt x="7615" y="1462"/>
                    <a:pt x="7444" y="1687"/>
                  </a:cubicBezTo>
                  <a:cubicBezTo>
                    <a:pt x="6922" y="2372"/>
                    <a:pt x="6219" y="2896"/>
                    <a:pt x="5420" y="3220"/>
                  </a:cubicBezTo>
                  <a:cubicBezTo>
                    <a:pt x="4878" y="3440"/>
                    <a:pt x="4301" y="3564"/>
                    <a:pt x="3715" y="3586"/>
                  </a:cubicBezTo>
                  <a:cubicBezTo>
                    <a:pt x="3271" y="3604"/>
                    <a:pt x="2827" y="3565"/>
                    <a:pt x="2396" y="3470"/>
                  </a:cubicBezTo>
                  <a:cubicBezTo>
                    <a:pt x="1964" y="3376"/>
                    <a:pt x="1543" y="3225"/>
                    <a:pt x="1152" y="3011"/>
                  </a:cubicBezTo>
                  <a:cubicBezTo>
                    <a:pt x="976" y="2914"/>
                    <a:pt x="806" y="2804"/>
                    <a:pt x="641" y="2689"/>
                  </a:cubicBezTo>
                  <a:cubicBezTo>
                    <a:pt x="479" y="2575"/>
                    <a:pt x="321" y="2455"/>
                    <a:pt x="187" y="2307"/>
                  </a:cubicBezTo>
                  <a:cubicBezTo>
                    <a:pt x="135" y="2250"/>
                    <a:pt x="86" y="2189"/>
                    <a:pt x="53" y="2119"/>
                  </a:cubicBezTo>
                  <a:cubicBezTo>
                    <a:pt x="17" y="2046"/>
                    <a:pt x="0" y="1964"/>
                    <a:pt x="27" y="1891"/>
                  </a:cubicBezTo>
                  <a:cubicBezTo>
                    <a:pt x="68" y="1779"/>
                    <a:pt x="187" y="1727"/>
                    <a:pt x="304" y="1694"/>
                  </a:cubicBezTo>
                  <a:cubicBezTo>
                    <a:pt x="487" y="1641"/>
                    <a:pt x="675" y="1609"/>
                    <a:pt x="865" y="1590"/>
                  </a:cubicBezTo>
                  <a:cubicBezTo>
                    <a:pt x="1143" y="1561"/>
                    <a:pt x="1424" y="1559"/>
                    <a:pt x="1703" y="1561"/>
                  </a:cubicBezTo>
                  <a:cubicBezTo>
                    <a:pt x="1981" y="1563"/>
                    <a:pt x="2258" y="1569"/>
                    <a:pt x="2535" y="1580"/>
                  </a:cubicBezTo>
                  <a:lnTo>
                    <a:pt x="2535" y="1580"/>
                  </a:lnTo>
                  <a:close/>
                </a:path>
              </a:pathLst>
            </a:custGeom>
            <a:noFill/>
            <a:ln w="25400" cap="flat">
              <a:solidFill>
                <a:srgbClr val="4690B9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PT"/>
            </a:p>
          </p:txBody>
        </p:sp>
        <p:sp>
          <p:nvSpPr>
            <p:cNvPr id="14" name="Freeform 8">
              <a:extLst>
                <a:ext uri="{FF2B5EF4-FFF2-40B4-BE49-F238E27FC236}">
                  <a16:creationId xmlns:a16="http://schemas.microsoft.com/office/drawing/2014/main" id="{604E09BA-CBA2-8114-A6A8-BBD23F2EB7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57" y="1146"/>
              <a:ext cx="4141" cy="3781"/>
            </a:xfrm>
            <a:custGeom>
              <a:avLst/>
              <a:gdLst>
                <a:gd name="T0" fmla="*/ 6068 w 6871"/>
                <a:gd name="T1" fmla="*/ 3479 h 6277"/>
                <a:gd name="T2" fmla="*/ 6068 w 6871"/>
                <a:gd name="T3" fmla="*/ 3479 h 6277"/>
                <a:gd name="T4" fmla="*/ 6426 w 6871"/>
                <a:gd name="T5" fmla="*/ 2368 h 6277"/>
                <a:gd name="T6" fmla="*/ 6749 w 6871"/>
                <a:gd name="T7" fmla="*/ 1254 h 6277"/>
                <a:gd name="T8" fmla="*/ 6782 w 6871"/>
                <a:gd name="T9" fmla="*/ 382 h 6277"/>
                <a:gd name="T10" fmla="*/ 6569 w 6871"/>
                <a:gd name="T11" fmla="*/ 76 h 6277"/>
                <a:gd name="T12" fmla="*/ 6247 w 6871"/>
                <a:gd name="T13" fmla="*/ 2 h 6277"/>
                <a:gd name="T14" fmla="*/ 5898 w 6871"/>
                <a:gd name="T15" fmla="*/ 20 h 6277"/>
                <a:gd name="T16" fmla="*/ 4446 w 6871"/>
                <a:gd name="T17" fmla="*/ 312 h 6277"/>
                <a:gd name="T18" fmla="*/ 2559 w 6871"/>
                <a:gd name="T19" fmla="*/ 930 h 6277"/>
                <a:gd name="T20" fmla="*/ 355 w 6871"/>
                <a:gd name="T21" fmla="*/ 2285 h 6277"/>
                <a:gd name="T22" fmla="*/ 234 w 6871"/>
                <a:gd name="T23" fmla="*/ 2412 h 6277"/>
                <a:gd name="T24" fmla="*/ 41 w 6871"/>
                <a:gd name="T25" fmla="*/ 2773 h 6277"/>
                <a:gd name="T26" fmla="*/ 2 w 6871"/>
                <a:gd name="T27" fmla="*/ 3041 h 6277"/>
                <a:gd name="T28" fmla="*/ 51 w 6871"/>
                <a:gd name="T29" fmla="*/ 3321 h 6277"/>
                <a:gd name="T30" fmla="*/ 537 w 6871"/>
                <a:gd name="T31" fmla="*/ 4185 h 6277"/>
                <a:gd name="T32" fmla="*/ 1518 w 6871"/>
                <a:gd name="T33" fmla="*/ 5230 h 6277"/>
                <a:gd name="T34" fmla="*/ 3821 w 6871"/>
                <a:gd name="T35" fmla="*/ 6217 h 6277"/>
                <a:gd name="T36" fmla="*/ 3996 w 6871"/>
                <a:gd name="T37" fmla="*/ 6244 h 6277"/>
                <a:gd name="T38" fmla="*/ 4801 w 6871"/>
                <a:gd name="T39" fmla="*/ 6272 h 6277"/>
                <a:gd name="T40" fmla="*/ 5596 w 6871"/>
                <a:gd name="T41" fmla="*/ 6181 h 6277"/>
                <a:gd name="T42" fmla="*/ 5771 w 6871"/>
                <a:gd name="T43" fmla="*/ 6131 h 6277"/>
                <a:gd name="T44" fmla="*/ 5934 w 6871"/>
                <a:gd name="T45" fmla="*/ 6067 h 6277"/>
                <a:gd name="T46" fmla="*/ 5999 w 6871"/>
                <a:gd name="T47" fmla="*/ 6019 h 6277"/>
                <a:gd name="T48" fmla="*/ 6015 w 6871"/>
                <a:gd name="T49" fmla="*/ 5969 h 6277"/>
                <a:gd name="T50" fmla="*/ 5974 w 6871"/>
                <a:gd name="T51" fmla="*/ 5943 h 6277"/>
                <a:gd name="T52" fmla="*/ 5905 w 6871"/>
                <a:gd name="T53" fmla="*/ 5924 h 6277"/>
                <a:gd name="T54" fmla="*/ 5723 w 6871"/>
                <a:gd name="T55" fmla="*/ 5738 h 6277"/>
                <a:gd name="T56" fmla="*/ 5648 w 6871"/>
                <a:gd name="T57" fmla="*/ 5469 h 6277"/>
                <a:gd name="T58" fmla="*/ 5673 w 6871"/>
                <a:gd name="T59" fmla="*/ 4892 h 6277"/>
                <a:gd name="T60" fmla="*/ 5843 w 6871"/>
                <a:gd name="T61" fmla="*/ 4170 h 6277"/>
                <a:gd name="T62" fmla="*/ 6068 w 6871"/>
                <a:gd name="T63" fmla="*/ 3479 h 6277"/>
                <a:gd name="T64" fmla="*/ 6068 w 6871"/>
                <a:gd name="T65" fmla="*/ 3479 h 6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871" h="6277">
                  <a:moveTo>
                    <a:pt x="6068" y="3479"/>
                  </a:moveTo>
                  <a:lnTo>
                    <a:pt x="6068" y="3479"/>
                  </a:lnTo>
                  <a:cubicBezTo>
                    <a:pt x="6192" y="3110"/>
                    <a:pt x="6309" y="2739"/>
                    <a:pt x="6426" y="2368"/>
                  </a:cubicBezTo>
                  <a:cubicBezTo>
                    <a:pt x="6543" y="1999"/>
                    <a:pt x="6660" y="1630"/>
                    <a:pt x="6749" y="1254"/>
                  </a:cubicBezTo>
                  <a:cubicBezTo>
                    <a:pt x="6818" y="966"/>
                    <a:pt x="6871" y="665"/>
                    <a:pt x="6782" y="382"/>
                  </a:cubicBezTo>
                  <a:cubicBezTo>
                    <a:pt x="6743" y="259"/>
                    <a:pt x="6677" y="144"/>
                    <a:pt x="6569" y="76"/>
                  </a:cubicBezTo>
                  <a:cubicBezTo>
                    <a:pt x="6471" y="16"/>
                    <a:pt x="6360" y="4"/>
                    <a:pt x="6247" y="2"/>
                  </a:cubicBezTo>
                  <a:cubicBezTo>
                    <a:pt x="6133" y="0"/>
                    <a:pt x="6014" y="8"/>
                    <a:pt x="5898" y="20"/>
                  </a:cubicBezTo>
                  <a:cubicBezTo>
                    <a:pt x="5406" y="71"/>
                    <a:pt x="4923" y="184"/>
                    <a:pt x="4446" y="312"/>
                  </a:cubicBezTo>
                  <a:cubicBezTo>
                    <a:pt x="3806" y="484"/>
                    <a:pt x="3174" y="683"/>
                    <a:pt x="2559" y="930"/>
                  </a:cubicBezTo>
                  <a:cubicBezTo>
                    <a:pt x="1750" y="1254"/>
                    <a:pt x="968" y="1663"/>
                    <a:pt x="355" y="2285"/>
                  </a:cubicBezTo>
                  <a:cubicBezTo>
                    <a:pt x="314" y="2326"/>
                    <a:pt x="273" y="2369"/>
                    <a:pt x="234" y="2412"/>
                  </a:cubicBezTo>
                  <a:cubicBezTo>
                    <a:pt x="146" y="2518"/>
                    <a:pt x="80" y="2640"/>
                    <a:pt x="41" y="2773"/>
                  </a:cubicBezTo>
                  <a:cubicBezTo>
                    <a:pt x="15" y="2861"/>
                    <a:pt x="0" y="2951"/>
                    <a:pt x="2" y="3041"/>
                  </a:cubicBezTo>
                  <a:cubicBezTo>
                    <a:pt x="3" y="3136"/>
                    <a:pt x="23" y="3229"/>
                    <a:pt x="51" y="3321"/>
                  </a:cubicBezTo>
                  <a:cubicBezTo>
                    <a:pt x="147" y="3638"/>
                    <a:pt x="336" y="3920"/>
                    <a:pt x="537" y="4185"/>
                  </a:cubicBezTo>
                  <a:cubicBezTo>
                    <a:pt x="826" y="4567"/>
                    <a:pt x="1144" y="4930"/>
                    <a:pt x="1518" y="5230"/>
                  </a:cubicBezTo>
                  <a:cubicBezTo>
                    <a:pt x="2182" y="5761"/>
                    <a:pt x="2986" y="6072"/>
                    <a:pt x="3821" y="6217"/>
                  </a:cubicBezTo>
                  <a:cubicBezTo>
                    <a:pt x="3879" y="6226"/>
                    <a:pt x="3937" y="6236"/>
                    <a:pt x="3996" y="6244"/>
                  </a:cubicBezTo>
                  <a:cubicBezTo>
                    <a:pt x="4265" y="6268"/>
                    <a:pt x="4533" y="6277"/>
                    <a:pt x="4801" y="6272"/>
                  </a:cubicBezTo>
                  <a:cubicBezTo>
                    <a:pt x="5068" y="6266"/>
                    <a:pt x="5336" y="6247"/>
                    <a:pt x="5596" y="6181"/>
                  </a:cubicBezTo>
                  <a:cubicBezTo>
                    <a:pt x="5655" y="6166"/>
                    <a:pt x="5713" y="6149"/>
                    <a:pt x="5771" y="6131"/>
                  </a:cubicBezTo>
                  <a:cubicBezTo>
                    <a:pt x="5827" y="6114"/>
                    <a:pt x="5883" y="6095"/>
                    <a:pt x="5934" y="6067"/>
                  </a:cubicBezTo>
                  <a:cubicBezTo>
                    <a:pt x="5959" y="6054"/>
                    <a:pt x="5981" y="6038"/>
                    <a:pt x="5999" y="6019"/>
                  </a:cubicBezTo>
                  <a:cubicBezTo>
                    <a:pt x="6011" y="6005"/>
                    <a:pt x="6021" y="5988"/>
                    <a:pt x="6015" y="5969"/>
                  </a:cubicBezTo>
                  <a:cubicBezTo>
                    <a:pt x="6008" y="5952"/>
                    <a:pt x="5992" y="5947"/>
                    <a:pt x="5974" y="5943"/>
                  </a:cubicBezTo>
                  <a:cubicBezTo>
                    <a:pt x="5953" y="5938"/>
                    <a:pt x="5928" y="5932"/>
                    <a:pt x="5905" y="5924"/>
                  </a:cubicBezTo>
                  <a:cubicBezTo>
                    <a:pt x="5819" y="5896"/>
                    <a:pt x="5761" y="5819"/>
                    <a:pt x="5723" y="5738"/>
                  </a:cubicBezTo>
                  <a:cubicBezTo>
                    <a:pt x="5683" y="5655"/>
                    <a:pt x="5661" y="5563"/>
                    <a:pt x="5648" y="5469"/>
                  </a:cubicBezTo>
                  <a:cubicBezTo>
                    <a:pt x="5623" y="5277"/>
                    <a:pt x="5631" y="5082"/>
                    <a:pt x="5673" y="4892"/>
                  </a:cubicBezTo>
                  <a:cubicBezTo>
                    <a:pt x="5717" y="4649"/>
                    <a:pt x="5774" y="4408"/>
                    <a:pt x="5843" y="4170"/>
                  </a:cubicBezTo>
                  <a:cubicBezTo>
                    <a:pt x="5911" y="3938"/>
                    <a:pt x="5990" y="3709"/>
                    <a:pt x="6068" y="3479"/>
                  </a:cubicBezTo>
                  <a:lnTo>
                    <a:pt x="6068" y="3479"/>
                  </a:lnTo>
                  <a:close/>
                </a:path>
              </a:pathLst>
            </a:custGeom>
            <a:noFill/>
            <a:ln w="25400" cap="flat">
              <a:solidFill>
                <a:srgbClr val="2A6336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PT"/>
            </a:p>
          </p:txBody>
        </p:sp>
      </p:grpSp>
    </p:spTree>
    <p:extLst>
      <p:ext uri="{BB962C8B-B14F-4D97-AF65-F5344CB8AC3E}">
        <p14:creationId xmlns:p14="http://schemas.microsoft.com/office/powerpoint/2010/main" val="34647284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dor 2_preto_sem imagem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16B3D84-9E87-63D9-ABC0-06C62F80F60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5A18A9-FB90-4F92-9633-9A2FCB4DF4A0}" type="slidenum">
              <a:rPr lang="pt-PT" smtClean="0"/>
              <a:pPr/>
              <a:t>‹nº›</a:t>
            </a:fld>
            <a:endParaRPr lang="pt-PT" dirty="0"/>
          </a:p>
        </p:txBody>
      </p:sp>
      <p:pic>
        <p:nvPicPr>
          <p:cNvPr id="6" name="Image" descr="Image">
            <a:extLst>
              <a:ext uri="{FF2B5EF4-FFF2-40B4-BE49-F238E27FC236}">
                <a16:creationId xmlns:a16="http://schemas.microsoft.com/office/drawing/2014/main" id="{3BE7E261-535B-3167-77C0-DED5382DD9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5637" y="409975"/>
            <a:ext cx="1157293" cy="190501"/>
          </a:xfrm>
          <a:prstGeom prst="rect">
            <a:avLst/>
          </a:prstGeom>
          <a:ln w="12700">
            <a:miter lim="400000"/>
          </a:ln>
        </p:spPr>
      </p:pic>
      <p:sp>
        <p:nvSpPr>
          <p:cNvPr id="9" name="Marcador de Posição do Texto 2">
            <a:extLst>
              <a:ext uri="{FF2B5EF4-FFF2-40B4-BE49-F238E27FC236}">
                <a16:creationId xmlns:a16="http://schemas.microsoft.com/office/drawing/2014/main" id="{8B1DCFE6-9A94-789A-E4DC-51494F92E36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4317" y="2281107"/>
            <a:ext cx="4153056" cy="2445035"/>
          </a:xfrm>
          <a:prstGeom prst="rect">
            <a:avLst/>
          </a:prstGeom>
        </p:spPr>
        <p:txBody>
          <a:bodyPr vert="horz" wrap="none" lIns="0" tIns="45720" rIns="0" bIns="45720" rtlCol="0" anchor="t" anchorCtr="0">
            <a:noAutofit/>
          </a:bodyPr>
          <a:lstStyle>
            <a:lvl1pPr marL="0" indent="0">
              <a:lnSpc>
                <a:spcPts val="3860"/>
              </a:lnSpc>
              <a:buNone/>
              <a:defRPr lang="pt-PT" sz="3200" b="1" baseline="0" dirty="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166682" lvl="0" indent="-342891">
              <a:spcBef>
                <a:spcPct val="0"/>
              </a:spcBef>
            </a:pPr>
            <a:r>
              <a:rPr lang="pt-PT" dirty="0"/>
              <a:t>Título do Separador</a:t>
            </a:r>
          </a:p>
        </p:txBody>
      </p:sp>
      <p:sp useBgFill="1">
        <p:nvSpPr>
          <p:cNvPr id="12" name="Marcador de Posição do Texto 2">
            <a:extLst>
              <a:ext uri="{FF2B5EF4-FFF2-40B4-BE49-F238E27FC236}">
                <a16:creationId xmlns:a16="http://schemas.microsoft.com/office/drawing/2014/main" id="{76232CD6-C395-F87E-2079-8C82E68B65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6835" y="253243"/>
            <a:ext cx="1771431" cy="1876776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pt-PT" sz="15000" b="1" i="0" baseline="0" dirty="0">
                <a:ln w="22225">
                  <a:solidFill>
                    <a:srgbClr val="FF9E0E"/>
                  </a:solidFill>
                </a:ln>
                <a:noFill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pt-PT" dirty="0"/>
              <a:t>2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99033CB-7B8A-4DB4-0988-DB37E76057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731" t="8764" r="10248" b="19092"/>
          <a:stretch/>
        </p:blipFill>
        <p:spPr>
          <a:xfrm>
            <a:off x="4849792" y="0"/>
            <a:ext cx="7360496" cy="6859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78716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dor 2_branco_com imag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hape">
            <a:extLst>
              <a:ext uri="{FF2B5EF4-FFF2-40B4-BE49-F238E27FC236}">
                <a16:creationId xmlns:a16="http://schemas.microsoft.com/office/drawing/2014/main" id="{6884CA01-3AAD-0567-BEC2-D511C8980BE7}"/>
              </a:ext>
            </a:extLst>
          </p:cNvPr>
          <p:cNvSpPr/>
          <p:nvPr userDrawn="1"/>
        </p:nvSpPr>
        <p:spPr>
          <a:xfrm>
            <a:off x="5098701" y="1799074"/>
            <a:ext cx="7117457" cy="5077464"/>
          </a:xfrm>
          <a:custGeom>
            <a:avLst/>
            <a:gdLst>
              <a:gd name="connsiteX0" fmla="*/ 11477 w 21471"/>
              <a:gd name="connsiteY0" fmla="*/ 23 h 21488"/>
              <a:gd name="connsiteX1" fmla="*/ 5715 w 21471"/>
              <a:gd name="connsiteY1" fmla="*/ 1085 h 21488"/>
              <a:gd name="connsiteX2" fmla="*/ 1232 w 21471"/>
              <a:gd name="connsiteY2" fmla="*/ 5155 h 21488"/>
              <a:gd name="connsiteX3" fmla="*/ 48 w 21471"/>
              <a:gd name="connsiteY3" fmla="*/ 9089 h 21488"/>
              <a:gd name="connsiteX4" fmla="*/ 365 w 21471"/>
              <a:gd name="connsiteY4" fmla="*/ 13412 h 21488"/>
              <a:gd name="connsiteX5" fmla="*/ 994 w 21471"/>
              <a:gd name="connsiteY5" fmla="*/ 15572 h 21488"/>
              <a:gd name="connsiteX6" fmla="*/ 6271 w 21471"/>
              <a:gd name="connsiteY6" fmla="*/ 16946 h 21488"/>
              <a:gd name="connsiteX7" fmla="*/ 4709 w 21471"/>
              <a:gd name="connsiteY7" fmla="*/ 20041 h 21488"/>
              <a:gd name="connsiteX8" fmla="*/ 7374 w 21471"/>
              <a:gd name="connsiteY8" fmla="*/ 21174 h 21488"/>
              <a:gd name="connsiteX9" fmla="*/ 10204 w 21471"/>
              <a:gd name="connsiteY9" fmla="*/ 21487 h 21488"/>
              <a:gd name="connsiteX10" fmla="*/ 16120 w 21471"/>
              <a:gd name="connsiteY10" fmla="*/ 19852 h 21488"/>
              <a:gd name="connsiteX11" fmla="*/ 20202 w 21471"/>
              <a:gd name="connsiteY11" fmla="*/ 15632 h 21488"/>
              <a:gd name="connsiteX12" fmla="*/ 21216 w 21471"/>
              <a:gd name="connsiteY12" fmla="*/ 12780 h 21488"/>
              <a:gd name="connsiteX13" fmla="*/ 21449 w 21471"/>
              <a:gd name="connsiteY13" fmla="*/ 9614 h 21488"/>
              <a:gd name="connsiteX14" fmla="*/ 18412 w 21471"/>
              <a:gd name="connsiteY14" fmla="*/ 2817 h 21488"/>
              <a:gd name="connsiteX15" fmla="*/ 15211 w 21471"/>
              <a:gd name="connsiteY15" fmla="*/ 859 h 21488"/>
              <a:gd name="connsiteX16" fmla="*/ 11477 w 21471"/>
              <a:gd name="connsiteY16" fmla="*/ 23 h 21488"/>
              <a:gd name="connsiteX0" fmla="*/ 11477 w 21471"/>
              <a:gd name="connsiteY0" fmla="*/ 23 h 21488"/>
              <a:gd name="connsiteX1" fmla="*/ 5715 w 21471"/>
              <a:gd name="connsiteY1" fmla="*/ 1085 h 21488"/>
              <a:gd name="connsiteX2" fmla="*/ 1232 w 21471"/>
              <a:gd name="connsiteY2" fmla="*/ 5155 h 21488"/>
              <a:gd name="connsiteX3" fmla="*/ 48 w 21471"/>
              <a:gd name="connsiteY3" fmla="*/ 9089 h 21488"/>
              <a:gd name="connsiteX4" fmla="*/ 365 w 21471"/>
              <a:gd name="connsiteY4" fmla="*/ 13412 h 21488"/>
              <a:gd name="connsiteX5" fmla="*/ 994 w 21471"/>
              <a:gd name="connsiteY5" fmla="*/ 15572 h 21488"/>
              <a:gd name="connsiteX6" fmla="*/ 6271 w 21471"/>
              <a:gd name="connsiteY6" fmla="*/ 16946 h 21488"/>
              <a:gd name="connsiteX7" fmla="*/ 4709 w 21471"/>
              <a:gd name="connsiteY7" fmla="*/ 20041 h 21488"/>
              <a:gd name="connsiteX8" fmla="*/ 7374 w 21471"/>
              <a:gd name="connsiteY8" fmla="*/ 21174 h 21488"/>
              <a:gd name="connsiteX9" fmla="*/ 10204 w 21471"/>
              <a:gd name="connsiteY9" fmla="*/ 21487 h 21488"/>
              <a:gd name="connsiteX10" fmla="*/ 16120 w 21471"/>
              <a:gd name="connsiteY10" fmla="*/ 19852 h 21488"/>
              <a:gd name="connsiteX11" fmla="*/ 20202 w 21471"/>
              <a:gd name="connsiteY11" fmla="*/ 15632 h 21488"/>
              <a:gd name="connsiteX12" fmla="*/ 21216 w 21471"/>
              <a:gd name="connsiteY12" fmla="*/ 12780 h 21488"/>
              <a:gd name="connsiteX13" fmla="*/ 21449 w 21471"/>
              <a:gd name="connsiteY13" fmla="*/ 9614 h 21488"/>
              <a:gd name="connsiteX14" fmla="*/ 18412 w 21471"/>
              <a:gd name="connsiteY14" fmla="*/ 2817 h 21488"/>
              <a:gd name="connsiteX15" fmla="*/ 15211 w 21471"/>
              <a:gd name="connsiteY15" fmla="*/ 859 h 21488"/>
              <a:gd name="connsiteX16" fmla="*/ 11477 w 21471"/>
              <a:gd name="connsiteY16" fmla="*/ 23 h 21488"/>
              <a:gd name="connsiteX0" fmla="*/ 11477 w 21471"/>
              <a:gd name="connsiteY0" fmla="*/ 23 h 21488"/>
              <a:gd name="connsiteX1" fmla="*/ 5715 w 21471"/>
              <a:gd name="connsiteY1" fmla="*/ 1085 h 21488"/>
              <a:gd name="connsiteX2" fmla="*/ 1232 w 21471"/>
              <a:gd name="connsiteY2" fmla="*/ 5155 h 21488"/>
              <a:gd name="connsiteX3" fmla="*/ 48 w 21471"/>
              <a:gd name="connsiteY3" fmla="*/ 9089 h 21488"/>
              <a:gd name="connsiteX4" fmla="*/ 365 w 21471"/>
              <a:gd name="connsiteY4" fmla="*/ 13412 h 21488"/>
              <a:gd name="connsiteX5" fmla="*/ 994 w 21471"/>
              <a:gd name="connsiteY5" fmla="*/ 15572 h 21488"/>
              <a:gd name="connsiteX6" fmla="*/ 6194 w 21471"/>
              <a:gd name="connsiteY6" fmla="*/ 17438 h 21488"/>
              <a:gd name="connsiteX7" fmla="*/ 4709 w 21471"/>
              <a:gd name="connsiteY7" fmla="*/ 20041 h 21488"/>
              <a:gd name="connsiteX8" fmla="*/ 7374 w 21471"/>
              <a:gd name="connsiteY8" fmla="*/ 21174 h 21488"/>
              <a:gd name="connsiteX9" fmla="*/ 10204 w 21471"/>
              <a:gd name="connsiteY9" fmla="*/ 21487 h 21488"/>
              <a:gd name="connsiteX10" fmla="*/ 16120 w 21471"/>
              <a:gd name="connsiteY10" fmla="*/ 19852 h 21488"/>
              <a:gd name="connsiteX11" fmla="*/ 20202 w 21471"/>
              <a:gd name="connsiteY11" fmla="*/ 15632 h 21488"/>
              <a:gd name="connsiteX12" fmla="*/ 21216 w 21471"/>
              <a:gd name="connsiteY12" fmla="*/ 12780 h 21488"/>
              <a:gd name="connsiteX13" fmla="*/ 21449 w 21471"/>
              <a:gd name="connsiteY13" fmla="*/ 9614 h 21488"/>
              <a:gd name="connsiteX14" fmla="*/ 18412 w 21471"/>
              <a:gd name="connsiteY14" fmla="*/ 2817 h 21488"/>
              <a:gd name="connsiteX15" fmla="*/ 15211 w 21471"/>
              <a:gd name="connsiteY15" fmla="*/ 859 h 21488"/>
              <a:gd name="connsiteX16" fmla="*/ 11477 w 21471"/>
              <a:gd name="connsiteY16" fmla="*/ 23 h 21488"/>
              <a:gd name="connsiteX0" fmla="*/ 11477 w 21471"/>
              <a:gd name="connsiteY0" fmla="*/ 23 h 21488"/>
              <a:gd name="connsiteX1" fmla="*/ 5715 w 21471"/>
              <a:gd name="connsiteY1" fmla="*/ 1085 h 21488"/>
              <a:gd name="connsiteX2" fmla="*/ 1232 w 21471"/>
              <a:gd name="connsiteY2" fmla="*/ 5155 h 21488"/>
              <a:gd name="connsiteX3" fmla="*/ 48 w 21471"/>
              <a:gd name="connsiteY3" fmla="*/ 9089 h 21488"/>
              <a:gd name="connsiteX4" fmla="*/ 365 w 21471"/>
              <a:gd name="connsiteY4" fmla="*/ 13412 h 21488"/>
              <a:gd name="connsiteX5" fmla="*/ 994 w 21471"/>
              <a:gd name="connsiteY5" fmla="*/ 15572 h 21488"/>
              <a:gd name="connsiteX6" fmla="*/ 6194 w 21471"/>
              <a:gd name="connsiteY6" fmla="*/ 17438 h 21488"/>
              <a:gd name="connsiteX7" fmla="*/ 4709 w 21471"/>
              <a:gd name="connsiteY7" fmla="*/ 20041 h 21488"/>
              <a:gd name="connsiteX8" fmla="*/ 7374 w 21471"/>
              <a:gd name="connsiteY8" fmla="*/ 21174 h 21488"/>
              <a:gd name="connsiteX9" fmla="*/ 10204 w 21471"/>
              <a:gd name="connsiteY9" fmla="*/ 21487 h 21488"/>
              <a:gd name="connsiteX10" fmla="*/ 16120 w 21471"/>
              <a:gd name="connsiteY10" fmla="*/ 19852 h 21488"/>
              <a:gd name="connsiteX11" fmla="*/ 20202 w 21471"/>
              <a:gd name="connsiteY11" fmla="*/ 15632 h 21488"/>
              <a:gd name="connsiteX12" fmla="*/ 21216 w 21471"/>
              <a:gd name="connsiteY12" fmla="*/ 12780 h 21488"/>
              <a:gd name="connsiteX13" fmla="*/ 21449 w 21471"/>
              <a:gd name="connsiteY13" fmla="*/ 9614 h 21488"/>
              <a:gd name="connsiteX14" fmla="*/ 18412 w 21471"/>
              <a:gd name="connsiteY14" fmla="*/ 2817 h 21488"/>
              <a:gd name="connsiteX15" fmla="*/ 15211 w 21471"/>
              <a:gd name="connsiteY15" fmla="*/ 859 h 21488"/>
              <a:gd name="connsiteX16" fmla="*/ 11477 w 21471"/>
              <a:gd name="connsiteY16" fmla="*/ 23 h 21488"/>
              <a:gd name="connsiteX0" fmla="*/ 11470 w 21464"/>
              <a:gd name="connsiteY0" fmla="*/ 23 h 21488"/>
              <a:gd name="connsiteX1" fmla="*/ 5708 w 21464"/>
              <a:gd name="connsiteY1" fmla="*/ 1085 h 21488"/>
              <a:gd name="connsiteX2" fmla="*/ 1225 w 21464"/>
              <a:gd name="connsiteY2" fmla="*/ 5155 h 21488"/>
              <a:gd name="connsiteX3" fmla="*/ 41 w 21464"/>
              <a:gd name="connsiteY3" fmla="*/ 9089 h 21488"/>
              <a:gd name="connsiteX4" fmla="*/ 358 w 21464"/>
              <a:gd name="connsiteY4" fmla="*/ 13412 h 21488"/>
              <a:gd name="connsiteX5" fmla="*/ 1489 w 21464"/>
              <a:gd name="connsiteY5" fmla="*/ 16646 h 21488"/>
              <a:gd name="connsiteX6" fmla="*/ 6187 w 21464"/>
              <a:gd name="connsiteY6" fmla="*/ 17438 h 21488"/>
              <a:gd name="connsiteX7" fmla="*/ 4702 w 21464"/>
              <a:gd name="connsiteY7" fmla="*/ 20041 h 21488"/>
              <a:gd name="connsiteX8" fmla="*/ 7367 w 21464"/>
              <a:gd name="connsiteY8" fmla="*/ 21174 h 21488"/>
              <a:gd name="connsiteX9" fmla="*/ 10197 w 21464"/>
              <a:gd name="connsiteY9" fmla="*/ 21487 h 21488"/>
              <a:gd name="connsiteX10" fmla="*/ 16113 w 21464"/>
              <a:gd name="connsiteY10" fmla="*/ 19852 h 21488"/>
              <a:gd name="connsiteX11" fmla="*/ 20195 w 21464"/>
              <a:gd name="connsiteY11" fmla="*/ 15632 h 21488"/>
              <a:gd name="connsiteX12" fmla="*/ 21209 w 21464"/>
              <a:gd name="connsiteY12" fmla="*/ 12780 h 21488"/>
              <a:gd name="connsiteX13" fmla="*/ 21442 w 21464"/>
              <a:gd name="connsiteY13" fmla="*/ 9614 h 21488"/>
              <a:gd name="connsiteX14" fmla="*/ 18405 w 21464"/>
              <a:gd name="connsiteY14" fmla="*/ 2817 h 21488"/>
              <a:gd name="connsiteX15" fmla="*/ 15204 w 21464"/>
              <a:gd name="connsiteY15" fmla="*/ 859 h 21488"/>
              <a:gd name="connsiteX16" fmla="*/ 11470 w 21464"/>
              <a:gd name="connsiteY16" fmla="*/ 23 h 21488"/>
              <a:gd name="connsiteX0" fmla="*/ 11479 w 21473"/>
              <a:gd name="connsiteY0" fmla="*/ 23 h 21488"/>
              <a:gd name="connsiteX1" fmla="*/ 5717 w 21473"/>
              <a:gd name="connsiteY1" fmla="*/ 1085 h 21488"/>
              <a:gd name="connsiteX2" fmla="*/ 1234 w 21473"/>
              <a:gd name="connsiteY2" fmla="*/ 5155 h 21488"/>
              <a:gd name="connsiteX3" fmla="*/ 50 w 21473"/>
              <a:gd name="connsiteY3" fmla="*/ 9089 h 21488"/>
              <a:gd name="connsiteX4" fmla="*/ 367 w 21473"/>
              <a:gd name="connsiteY4" fmla="*/ 13412 h 21488"/>
              <a:gd name="connsiteX5" fmla="*/ 1961 w 21473"/>
              <a:gd name="connsiteY5" fmla="*/ 16736 h 21488"/>
              <a:gd name="connsiteX6" fmla="*/ 6196 w 21473"/>
              <a:gd name="connsiteY6" fmla="*/ 17438 h 21488"/>
              <a:gd name="connsiteX7" fmla="*/ 4711 w 21473"/>
              <a:gd name="connsiteY7" fmla="*/ 20041 h 21488"/>
              <a:gd name="connsiteX8" fmla="*/ 7376 w 21473"/>
              <a:gd name="connsiteY8" fmla="*/ 21174 h 21488"/>
              <a:gd name="connsiteX9" fmla="*/ 10206 w 21473"/>
              <a:gd name="connsiteY9" fmla="*/ 21487 h 21488"/>
              <a:gd name="connsiteX10" fmla="*/ 16122 w 21473"/>
              <a:gd name="connsiteY10" fmla="*/ 19852 h 21488"/>
              <a:gd name="connsiteX11" fmla="*/ 20204 w 21473"/>
              <a:gd name="connsiteY11" fmla="*/ 15632 h 21488"/>
              <a:gd name="connsiteX12" fmla="*/ 21218 w 21473"/>
              <a:gd name="connsiteY12" fmla="*/ 12780 h 21488"/>
              <a:gd name="connsiteX13" fmla="*/ 21451 w 21473"/>
              <a:gd name="connsiteY13" fmla="*/ 9614 h 21488"/>
              <a:gd name="connsiteX14" fmla="*/ 18414 w 21473"/>
              <a:gd name="connsiteY14" fmla="*/ 2817 h 21488"/>
              <a:gd name="connsiteX15" fmla="*/ 15213 w 21473"/>
              <a:gd name="connsiteY15" fmla="*/ 859 h 21488"/>
              <a:gd name="connsiteX16" fmla="*/ 11479 w 21473"/>
              <a:gd name="connsiteY16" fmla="*/ 23 h 21488"/>
              <a:gd name="connsiteX0" fmla="*/ 11479 w 21473"/>
              <a:gd name="connsiteY0" fmla="*/ 23 h 21488"/>
              <a:gd name="connsiteX1" fmla="*/ 5717 w 21473"/>
              <a:gd name="connsiteY1" fmla="*/ 1085 h 21488"/>
              <a:gd name="connsiteX2" fmla="*/ 1234 w 21473"/>
              <a:gd name="connsiteY2" fmla="*/ 5155 h 21488"/>
              <a:gd name="connsiteX3" fmla="*/ 50 w 21473"/>
              <a:gd name="connsiteY3" fmla="*/ 9089 h 21488"/>
              <a:gd name="connsiteX4" fmla="*/ 367 w 21473"/>
              <a:gd name="connsiteY4" fmla="*/ 13412 h 21488"/>
              <a:gd name="connsiteX5" fmla="*/ 1961 w 21473"/>
              <a:gd name="connsiteY5" fmla="*/ 16736 h 21488"/>
              <a:gd name="connsiteX6" fmla="*/ 6196 w 21473"/>
              <a:gd name="connsiteY6" fmla="*/ 17438 h 21488"/>
              <a:gd name="connsiteX7" fmla="*/ 4711 w 21473"/>
              <a:gd name="connsiteY7" fmla="*/ 20041 h 21488"/>
              <a:gd name="connsiteX8" fmla="*/ 7376 w 21473"/>
              <a:gd name="connsiteY8" fmla="*/ 21174 h 21488"/>
              <a:gd name="connsiteX9" fmla="*/ 10206 w 21473"/>
              <a:gd name="connsiteY9" fmla="*/ 21487 h 21488"/>
              <a:gd name="connsiteX10" fmla="*/ 16122 w 21473"/>
              <a:gd name="connsiteY10" fmla="*/ 19852 h 21488"/>
              <a:gd name="connsiteX11" fmla="*/ 20204 w 21473"/>
              <a:gd name="connsiteY11" fmla="*/ 15632 h 21488"/>
              <a:gd name="connsiteX12" fmla="*/ 21218 w 21473"/>
              <a:gd name="connsiteY12" fmla="*/ 12780 h 21488"/>
              <a:gd name="connsiteX13" fmla="*/ 21451 w 21473"/>
              <a:gd name="connsiteY13" fmla="*/ 9614 h 21488"/>
              <a:gd name="connsiteX14" fmla="*/ 18414 w 21473"/>
              <a:gd name="connsiteY14" fmla="*/ 2817 h 21488"/>
              <a:gd name="connsiteX15" fmla="*/ 15213 w 21473"/>
              <a:gd name="connsiteY15" fmla="*/ 859 h 21488"/>
              <a:gd name="connsiteX16" fmla="*/ 11479 w 21473"/>
              <a:gd name="connsiteY16" fmla="*/ 23 h 21488"/>
              <a:gd name="connsiteX0" fmla="*/ 11479 w 21473"/>
              <a:gd name="connsiteY0" fmla="*/ 23 h 21488"/>
              <a:gd name="connsiteX1" fmla="*/ 5717 w 21473"/>
              <a:gd name="connsiteY1" fmla="*/ 1085 h 21488"/>
              <a:gd name="connsiteX2" fmla="*/ 1234 w 21473"/>
              <a:gd name="connsiteY2" fmla="*/ 5155 h 21488"/>
              <a:gd name="connsiteX3" fmla="*/ 50 w 21473"/>
              <a:gd name="connsiteY3" fmla="*/ 9089 h 21488"/>
              <a:gd name="connsiteX4" fmla="*/ 367 w 21473"/>
              <a:gd name="connsiteY4" fmla="*/ 13412 h 21488"/>
              <a:gd name="connsiteX5" fmla="*/ 1961 w 21473"/>
              <a:gd name="connsiteY5" fmla="*/ 16736 h 21488"/>
              <a:gd name="connsiteX6" fmla="*/ 6196 w 21473"/>
              <a:gd name="connsiteY6" fmla="*/ 17438 h 21488"/>
              <a:gd name="connsiteX7" fmla="*/ 4711 w 21473"/>
              <a:gd name="connsiteY7" fmla="*/ 20041 h 21488"/>
              <a:gd name="connsiteX8" fmla="*/ 7376 w 21473"/>
              <a:gd name="connsiteY8" fmla="*/ 21174 h 21488"/>
              <a:gd name="connsiteX9" fmla="*/ 10206 w 21473"/>
              <a:gd name="connsiteY9" fmla="*/ 21487 h 21488"/>
              <a:gd name="connsiteX10" fmla="*/ 16122 w 21473"/>
              <a:gd name="connsiteY10" fmla="*/ 19852 h 21488"/>
              <a:gd name="connsiteX11" fmla="*/ 20204 w 21473"/>
              <a:gd name="connsiteY11" fmla="*/ 15632 h 21488"/>
              <a:gd name="connsiteX12" fmla="*/ 21218 w 21473"/>
              <a:gd name="connsiteY12" fmla="*/ 12780 h 21488"/>
              <a:gd name="connsiteX13" fmla="*/ 21451 w 21473"/>
              <a:gd name="connsiteY13" fmla="*/ 9614 h 21488"/>
              <a:gd name="connsiteX14" fmla="*/ 18414 w 21473"/>
              <a:gd name="connsiteY14" fmla="*/ 2817 h 21488"/>
              <a:gd name="connsiteX15" fmla="*/ 15213 w 21473"/>
              <a:gd name="connsiteY15" fmla="*/ 859 h 21488"/>
              <a:gd name="connsiteX16" fmla="*/ 11479 w 21473"/>
              <a:gd name="connsiteY16" fmla="*/ 23 h 21488"/>
              <a:gd name="connsiteX0" fmla="*/ 11479 w 21473"/>
              <a:gd name="connsiteY0" fmla="*/ 23 h 21488"/>
              <a:gd name="connsiteX1" fmla="*/ 5717 w 21473"/>
              <a:gd name="connsiteY1" fmla="*/ 1085 h 21488"/>
              <a:gd name="connsiteX2" fmla="*/ 1234 w 21473"/>
              <a:gd name="connsiteY2" fmla="*/ 5155 h 21488"/>
              <a:gd name="connsiteX3" fmla="*/ 50 w 21473"/>
              <a:gd name="connsiteY3" fmla="*/ 9089 h 21488"/>
              <a:gd name="connsiteX4" fmla="*/ 367 w 21473"/>
              <a:gd name="connsiteY4" fmla="*/ 13412 h 21488"/>
              <a:gd name="connsiteX5" fmla="*/ 1961 w 21473"/>
              <a:gd name="connsiteY5" fmla="*/ 16736 h 21488"/>
              <a:gd name="connsiteX6" fmla="*/ 6196 w 21473"/>
              <a:gd name="connsiteY6" fmla="*/ 17438 h 21488"/>
              <a:gd name="connsiteX7" fmla="*/ 4711 w 21473"/>
              <a:gd name="connsiteY7" fmla="*/ 20041 h 21488"/>
              <a:gd name="connsiteX8" fmla="*/ 7376 w 21473"/>
              <a:gd name="connsiteY8" fmla="*/ 21174 h 21488"/>
              <a:gd name="connsiteX9" fmla="*/ 10206 w 21473"/>
              <a:gd name="connsiteY9" fmla="*/ 21487 h 21488"/>
              <a:gd name="connsiteX10" fmla="*/ 16122 w 21473"/>
              <a:gd name="connsiteY10" fmla="*/ 19852 h 21488"/>
              <a:gd name="connsiteX11" fmla="*/ 20204 w 21473"/>
              <a:gd name="connsiteY11" fmla="*/ 15632 h 21488"/>
              <a:gd name="connsiteX12" fmla="*/ 21218 w 21473"/>
              <a:gd name="connsiteY12" fmla="*/ 12780 h 21488"/>
              <a:gd name="connsiteX13" fmla="*/ 21451 w 21473"/>
              <a:gd name="connsiteY13" fmla="*/ 9614 h 21488"/>
              <a:gd name="connsiteX14" fmla="*/ 18414 w 21473"/>
              <a:gd name="connsiteY14" fmla="*/ 2817 h 21488"/>
              <a:gd name="connsiteX15" fmla="*/ 15213 w 21473"/>
              <a:gd name="connsiteY15" fmla="*/ 859 h 21488"/>
              <a:gd name="connsiteX16" fmla="*/ 11479 w 21473"/>
              <a:gd name="connsiteY16" fmla="*/ 23 h 21488"/>
              <a:gd name="connsiteX0" fmla="*/ 11479 w 21473"/>
              <a:gd name="connsiteY0" fmla="*/ 23 h 21568"/>
              <a:gd name="connsiteX1" fmla="*/ 5717 w 21473"/>
              <a:gd name="connsiteY1" fmla="*/ 1085 h 21568"/>
              <a:gd name="connsiteX2" fmla="*/ 1234 w 21473"/>
              <a:gd name="connsiteY2" fmla="*/ 5155 h 21568"/>
              <a:gd name="connsiteX3" fmla="*/ 50 w 21473"/>
              <a:gd name="connsiteY3" fmla="*/ 9089 h 21568"/>
              <a:gd name="connsiteX4" fmla="*/ 367 w 21473"/>
              <a:gd name="connsiteY4" fmla="*/ 13412 h 21568"/>
              <a:gd name="connsiteX5" fmla="*/ 1961 w 21473"/>
              <a:gd name="connsiteY5" fmla="*/ 16736 h 21568"/>
              <a:gd name="connsiteX6" fmla="*/ 6196 w 21473"/>
              <a:gd name="connsiteY6" fmla="*/ 17438 h 21568"/>
              <a:gd name="connsiteX7" fmla="*/ 8646 w 21473"/>
              <a:gd name="connsiteY7" fmla="*/ 17760 h 21568"/>
              <a:gd name="connsiteX8" fmla="*/ 7376 w 21473"/>
              <a:gd name="connsiteY8" fmla="*/ 21174 h 21568"/>
              <a:gd name="connsiteX9" fmla="*/ 10206 w 21473"/>
              <a:gd name="connsiteY9" fmla="*/ 21487 h 21568"/>
              <a:gd name="connsiteX10" fmla="*/ 16122 w 21473"/>
              <a:gd name="connsiteY10" fmla="*/ 19852 h 21568"/>
              <a:gd name="connsiteX11" fmla="*/ 20204 w 21473"/>
              <a:gd name="connsiteY11" fmla="*/ 15632 h 21568"/>
              <a:gd name="connsiteX12" fmla="*/ 21218 w 21473"/>
              <a:gd name="connsiteY12" fmla="*/ 12780 h 21568"/>
              <a:gd name="connsiteX13" fmla="*/ 21451 w 21473"/>
              <a:gd name="connsiteY13" fmla="*/ 9614 h 21568"/>
              <a:gd name="connsiteX14" fmla="*/ 18414 w 21473"/>
              <a:gd name="connsiteY14" fmla="*/ 2817 h 21568"/>
              <a:gd name="connsiteX15" fmla="*/ 15213 w 21473"/>
              <a:gd name="connsiteY15" fmla="*/ 859 h 21568"/>
              <a:gd name="connsiteX16" fmla="*/ 11479 w 21473"/>
              <a:gd name="connsiteY16" fmla="*/ 23 h 21568"/>
              <a:gd name="connsiteX0" fmla="*/ 11479 w 21473"/>
              <a:gd name="connsiteY0" fmla="*/ 23 h 21548"/>
              <a:gd name="connsiteX1" fmla="*/ 5717 w 21473"/>
              <a:gd name="connsiteY1" fmla="*/ 1085 h 21548"/>
              <a:gd name="connsiteX2" fmla="*/ 1234 w 21473"/>
              <a:gd name="connsiteY2" fmla="*/ 5155 h 21548"/>
              <a:gd name="connsiteX3" fmla="*/ 50 w 21473"/>
              <a:gd name="connsiteY3" fmla="*/ 9089 h 21548"/>
              <a:gd name="connsiteX4" fmla="*/ 367 w 21473"/>
              <a:gd name="connsiteY4" fmla="*/ 13412 h 21548"/>
              <a:gd name="connsiteX5" fmla="*/ 1961 w 21473"/>
              <a:gd name="connsiteY5" fmla="*/ 16736 h 21548"/>
              <a:gd name="connsiteX6" fmla="*/ 6196 w 21473"/>
              <a:gd name="connsiteY6" fmla="*/ 17438 h 21548"/>
              <a:gd name="connsiteX7" fmla="*/ 8646 w 21473"/>
              <a:gd name="connsiteY7" fmla="*/ 17760 h 21548"/>
              <a:gd name="connsiteX8" fmla="*/ 11014 w 21473"/>
              <a:gd name="connsiteY8" fmla="*/ 18044 h 21548"/>
              <a:gd name="connsiteX9" fmla="*/ 10206 w 21473"/>
              <a:gd name="connsiteY9" fmla="*/ 21487 h 21548"/>
              <a:gd name="connsiteX10" fmla="*/ 16122 w 21473"/>
              <a:gd name="connsiteY10" fmla="*/ 19852 h 21548"/>
              <a:gd name="connsiteX11" fmla="*/ 20204 w 21473"/>
              <a:gd name="connsiteY11" fmla="*/ 15632 h 21548"/>
              <a:gd name="connsiteX12" fmla="*/ 21218 w 21473"/>
              <a:gd name="connsiteY12" fmla="*/ 12780 h 21548"/>
              <a:gd name="connsiteX13" fmla="*/ 21451 w 21473"/>
              <a:gd name="connsiteY13" fmla="*/ 9614 h 21548"/>
              <a:gd name="connsiteX14" fmla="*/ 18414 w 21473"/>
              <a:gd name="connsiteY14" fmla="*/ 2817 h 21548"/>
              <a:gd name="connsiteX15" fmla="*/ 15213 w 21473"/>
              <a:gd name="connsiteY15" fmla="*/ 859 h 21548"/>
              <a:gd name="connsiteX16" fmla="*/ 11479 w 21473"/>
              <a:gd name="connsiteY16" fmla="*/ 23 h 21548"/>
              <a:gd name="connsiteX0" fmla="*/ 11479 w 21473"/>
              <a:gd name="connsiteY0" fmla="*/ 23 h 19865"/>
              <a:gd name="connsiteX1" fmla="*/ 5717 w 21473"/>
              <a:gd name="connsiteY1" fmla="*/ 1085 h 19865"/>
              <a:gd name="connsiteX2" fmla="*/ 1234 w 21473"/>
              <a:gd name="connsiteY2" fmla="*/ 5155 h 19865"/>
              <a:gd name="connsiteX3" fmla="*/ 50 w 21473"/>
              <a:gd name="connsiteY3" fmla="*/ 9089 h 19865"/>
              <a:gd name="connsiteX4" fmla="*/ 367 w 21473"/>
              <a:gd name="connsiteY4" fmla="*/ 13412 h 19865"/>
              <a:gd name="connsiteX5" fmla="*/ 1961 w 21473"/>
              <a:gd name="connsiteY5" fmla="*/ 16736 h 19865"/>
              <a:gd name="connsiteX6" fmla="*/ 6196 w 21473"/>
              <a:gd name="connsiteY6" fmla="*/ 17438 h 19865"/>
              <a:gd name="connsiteX7" fmla="*/ 8646 w 21473"/>
              <a:gd name="connsiteY7" fmla="*/ 17760 h 19865"/>
              <a:gd name="connsiteX8" fmla="*/ 11014 w 21473"/>
              <a:gd name="connsiteY8" fmla="*/ 18044 h 19865"/>
              <a:gd name="connsiteX9" fmla="*/ 13912 w 21473"/>
              <a:gd name="connsiteY9" fmla="*/ 17031 h 19865"/>
              <a:gd name="connsiteX10" fmla="*/ 16122 w 21473"/>
              <a:gd name="connsiteY10" fmla="*/ 19852 h 19865"/>
              <a:gd name="connsiteX11" fmla="*/ 20204 w 21473"/>
              <a:gd name="connsiteY11" fmla="*/ 15632 h 19865"/>
              <a:gd name="connsiteX12" fmla="*/ 21218 w 21473"/>
              <a:gd name="connsiteY12" fmla="*/ 12780 h 19865"/>
              <a:gd name="connsiteX13" fmla="*/ 21451 w 21473"/>
              <a:gd name="connsiteY13" fmla="*/ 9614 h 19865"/>
              <a:gd name="connsiteX14" fmla="*/ 18414 w 21473"/>
              <a:gd name="connsiteY14" fmla="*/ 2817 h 19865"/>
              <a:gd name="connsiteX15" fmla="*/ 15213 w 21473"/>
              <a:gd name="connsiteY15" fmla="*/ 859 h 19865"/>
              <a:gd name="connsiteX16" fmla="*/ 11479 w 21473"/>
              <a:gd name="connsiteY16" fmla="*/ 23 h 19865"/>
              <a:gd name="connsiteX0" fmla="*/ 11479 w 21473"/>
              <a:gd name="connsiteY0" fmla="*/ 23 h 18072"/>
              <a:gd name="connsiteX1" fmla="*/ 5717 w 21473"/>
              <a:gd name="connsiteY1" fmla="*/ 1085 h 18072"/>
              <a:gd name="connsiteX2" fmla="*/ 1234 w 21473"/>
              <a:gd name="connsiteY2" fmla="*/ 5155 h 18072"/>
              <a:gd name="connsiteX3" fmla="*/ 50 w 21473"/>
              <a:gd name="connsiteY3" fmla="*/ 9089 h 18072"/>
              <a:gd name="connsiteX4" fmla="*/ 367 w 21473"/>
              <a:gd name="connsiteY4" fmla="*/ 13412 h 18072"/>
              <a:gd name="connsiteX5" fmla="*/ 1961 w 21473"/>
              <a:gd name="connsiteY5" fmla="*/ 16736 h 18072"/>
              <a:gd name="connsiteX6" fmla="*/ 6196 w 21473"/>
              <a:gd name="connsiteY6" fmla="*/ 17438 h 18072"/>
              <a:gd name="connsiteX7" fmla="*/ 8646 w 21473"/>
              <a:gd name="connsiteY7" fmla="*/ 17760 h 18072"/>
              <a:gd name="connsiteX8" fmla="*/ 11014 w 21473"/>
              <a:gd name="connsiteY8" fmla="*/ 18044 h 18072"/>
              <a:gd name="connsiteX9" fmla="*/ 13912 w 21473"/>
              <a:gd name="connsiteY9" fmla="*/ 17031 h 18072"/>
              <a:gd name="connsiteX10" fmla="*/ 15619 w 21473"/>
              <a:gd name="connsiteY10" fmla="*/ 16855 h 18072"/>
              <a:gd name="connsiteX11" fmla="*/ 20204 w 21473"/>
              <a:gd name="connsiteY11" fmla="*/ 15632 h 18072"/>
              <a:gd name="connsiteX12" fmla="*/ 21218 w 21473"/>
              <a:gd name="connsiteY12" fmla="*/ 12780 h 18072"/>
              <a:gd name="connsiteX13" fmla="*/ 21451 w 21473"/>
              <a:gd name="connsiteY13" fmla="*/ 9614 h 18072"/>
              <a:gd name="connsiteX14" fmla="*/ 18414 w 21473"/>
              <a:gd name="connsiteY14" fmla="*/ 2817 h 18072"/>
              <a:gd name="connsiteX15" fmla="*/ 15213 w 21473"/>
              <a:gd name="connsiteY15" fmla="*/ 859 h 18072"/>
              <a:gd name="connsiteX16" fmla="*/ 11479 w 21473"/>
              <a:gd name="connsiteY16" fmla="*/ 23 h 18072"/>
              <a:gd name="connsiteX0" fmla="*/ 11479 w 21630"/>
              <a:gd name="connsiteY0" fmla="*/ 23 h 18072"/>
              <a:gd name="connsiteX1" fmla="*/ 5717 w 21630"/>
              <a:gd name="connsiteY1" fmla="*/ 1085 h 18072"/>
              <a:gd name="connsiteX2" fmla="*/ 1234 w 21630"/>
              <a:gd name="connsiteY2" fmla="*/ 5155 h 18072"/>
              <a:gd name="connsiteX3" fmla="*/ 50 w 21630"/>
              <a:gd name="connsiteY3" fmla="*/ 9089 h 18072"/>
              <a:gd name="connsiteX4" fmla="*/ 367 w 21630"/>
              <a:gd name="connsiteY4" fmla="*/ 13412 h 18072"/>
              <a:gd name="connsiteX5" fmla="*/ 1961 w 21630"/>
              <a:gd name="connsiteY5" fmla="*/ 16736 h 18072"/>
              <a:gd name="connsiteX6" fmla="*/ 6196 w 21630"/>
              <a:gd name="connsiteY6" fmla="*/ 17438 h 18072"/>
              <a:gd name="connsiteX7" fmla="*/ 8646 w 21630"/>
              <a:gd name="connsiteY7" fmla="*/ 17760 h 18072"/>
              <a:gd name="connsiteX8" fmla="*/ 11014 w 21630"/>
              <a:gd name="connsiteY8" fmla="*/ 18044 h 18072"/>
              <a:gd name="connsiteX9" fmla="*/ 13912 w 21630"/>
              <a:gd name="connsiteY9" fmla="*/ 17031 h 18072"/>
              <a:gd name="connsiteX10" fmla="*/ 15619 w 21630"/>
              <a:gd name="connsiteY10" fmla="*/ 16855 h 18072"/>
              <a:gd name="connsiteX11" fmla="*/ 17184 w 21630"/>
              <a:gd name="connsiteY11" fmla="*/ 14677 h 18072"/>
              <a:gd name="connsiteX12" fmla="*/ 21218 w 21630"/>
              <a:gd name="connsiteY12" fmla="*/ 12780 h 18072"/>
              <a:gd name="connsiteX13" fmla="*/ 21451 w 21630"/>
              <a:gd name="connsiteY13" fmla="*/ 9614 h 18072"/>
              <a:gd name="connsiteX14" fmla="*/ 18414 w 21630"/>
              <a:gd name="connsiteY14" fmla="*/ 2817 h 18072"/>
              <a:gd name="connsiteX15" fmla="*/ 15213 w 21630"/>
              <a:gd name="connsiteY15" fmla="*/ 859 h 18072"/>
              <a:gd name="connsiteX16" fmla="*/ 11479 w 21630"/>
              <a:gd name="connsiteY16" fmla="*/ 23 h 18072"/>
              <a:gd name="connsiteX0" fmla="*/ 11479 w 21511"/>
              <a:gd name="connsiteY0" fmla="*/ 23 h 18072"/>
              <a:gd name="connsiteX1" fmla="*/ 5717 w 21511"/>
              <a:gd name="connsiteY1" fmla="*/ 1085 h 18072"/>
              <a:gd name="connsiteX2" fmla="*/ 1234 w 21511"/>
              <a:gd name="connsiteY2" fmla="*/ 5155 h 18072"/>
              <a:gd name="connsiteX3" fmla="*/ 50 w 21511"/>
              <a:gd name="connsiteY3" fmla="*/ 9089 h 18072"/>
              <a:gd name="connsiteX4" fmla="*/ 367 w 21511"/>
              <a:gd name="connsiteY4" fmla="*/ 13412 h 18072"/>
              <a:gd name="connsiteX5" fmla="*/ 1961 w 21511"/>
              <a:gd name="connsiteY5" fmla="*/ 16736 h 18072"/>
              <a:gd name="connsiteX6" fmla="*/ 6196 w 21511"/>
              <a:gd name="connsiteY6" fmla="*/ 17438 h 18072"/>
              <a:gd name="connsiteX7" fmla="*/ 8646 w 21511"/>
              <a:gd name="connsiteY7" fmla="*/ 17760 h 18072"/>
              <a:gd name="connsiteX8" fmla="*/ 11014 w 21511"/>
              <a:gd name="connsiteY8" fmla="*/ 18044 h 18072"/>
              <a:gd name="connsiteX9" fmla="*/ 13912 w 21511"/>
              <a:gd name="connsiteY9" fmla="*/ 17031 h 18072"/>
              <a:gd name="connsiteX10" fmla="*/ 15619 w 21511"/>
              <a:gd name="connsiteY10" fmla="*/ 16855 h 18072"/>
              <a:gd name="connsiteX11" fmla="*/ 19106 w 21511"/>
              <a:gd name="connsiteY11" fmla="*/ 15924 h 18072"/>
              <a:gd name="connsiteX12" fmla="*/ 21218 w 21511"/>
              <a:gd name="connsiteY12" fmla="*/ 12780 h 18072"/>
              <a:gd name="connsiteX13" fmla="*/ 21451 w 21511"/>
              <a:gd name="connsiteY13" fmla="*/ 9614 h 18072"/>
              <a:gd name="connsiteX14" fmla="*/ 18414 w 21511"/>
              <a:gd name="connsiteY14" fmla="*/ 2817 h 18072"/>
              <a:gd name="connsiteX15" fmla="*/ 15213 w 21511"/>
              <a:gd name="connsiteY15" fmla="*/ 859 h 18072"/>
              <a:gd name="connsiteX16" fmla="*/ 11479 w 21511"/>
              <a:gd name="connsiteY16" fmla="*/ 23 h 18072"/>
              <a:gd name="connsiteX0" fmla="*/ 11479 w 21511"/>
              <a:gd name="connsiteY0" fmla="*/ 23 h 18072"/>
              <a:gd name="connsiteX1" fmla="*/ 5717 w 21511"/>
              <a:gd name="connsiteY1" fmla="*/ 1085 h 18072"/>
              <a:gd name="connsiteX2" fmla="*/ 1234 w 21511"/>
              <a:gd name="connsiteY2" fmla="*/ 5155 h 18072"/>
              <a:gd name="connsiteX3" fmla="*/ 50 w 21511"/>
              <a:gd name="connsiteY3" fmla="*/ 9089 h 18072"/>
              <a:gd name="connsiteX4" fmla="*/ 367 w 21511"/>
              <a:gd name="connsiteY4" fmla="*/ 13412 h 18072"/>
              <a:gd name="connsiteX5" fmla="*/ 1961 w 21511"/>
              <a:gd name="connsiteY5" fmla="*/ 16736 h 18072"/>
              <a:gd name="connsiteX6" fmla="*/ 6196 w 21511"/>
              <a:gd name="connsiteY6" fmla="*/ 17438 h 18072"/>
              <a:gd name="connsiteX7" fmla="*/ 8646 w 21511"/>
              <a:gd name="connsiteY7" fmla="*/ 17760 h 18072"/>
              <a:gd name="connsiteX8" fmla="*/ 11014 w 21511"/>
              <a:gd name="connsiteY8" fmla="*/ 18044 h 18072"/>
              <a:gd name="connsiteX9" fmla="*/ 13912 w 21511"/>
              <a:gd name="connsiteY9" fmla="*/ 17031 h 18072"/>
              <a:gd name="connsiteX10" fmla="*/ 15619 w 21511"/>
              <a:gd name="connsiteY10" fmla="*/ 16855 h 18072"/>
              <a:gd name="connsiteX11" fmla="*/ 19106 w 21511"/>
              <a:gd name="connsiteY11" fmla="*/ 15924 h 18072"/>
              <a:gd name="connsiteX12" fmla="*/ 21218 w 21511"/>
              <a:gd name="connsiteY12" fmla="*/ 12780 h 18072"/>
              <a:gd name="connsiteX13" fmla="*/ 21451 w 21511"/>
              <a:gd name="connsiteY13" fmla="*/ 9614 h 18072"/>
              <a:gd name="connsiteX14" fmla="*/ 18414 w 21511"/>
              <a:gd name="connsiteY14" fmla="*/ 2817 h 18072"/>
              <a:gd name="connsiteX15" fmla="*/ 15213 w 21511"/>
              <a:gd name="connsiteY15" fmla="*/ 859 h 18072"/>
              <a:gd name="connsiteX16" fmla="*/ 11479 w 21511"/>
              <a:gd name="connsiteY16" fmla="*/ 23 h 18072"/>
              <a:gd name="connsiteX0" fmla="*/ 11479 w 21511"/>
              <a:gd name="connsiteY0" fmla="*/ 23 h 18072"/>
              <a:gd name="connsiteX1" fmla="*/ 5717 w 21511"/>
              <a:gd name="connsiteY1" fmla="*/ 1085 h 18072"/>
              <a:gd name="connsiteX2" fmla="*/ 1234 w 21511"/>
              <a:gd name="connsiteY2" fmla="*/ 5155 h 18072"/>
              <a:gd name="connsiteX3" fmla="*/ 50 w 21511"/>
              <a:gd name="connsiteY3" fmla="*/ 9089 h 18072"/>
              <a:gd name="connsiteX4" fmla="*/ 367 w 21511"/>
              <a:gd name="connsiteY4" fmla="*/ 13412 h 18072"/>
              <a:gd name="connsiteX5" fmla="*/ 1961 w 21511"/>
              <a:gd name="connsiteY5" fmla="*/ 16736 h 18072"/>
              <a:gd name="connsiteX6" fmla="*/ 6196 w 21511"/>
              <a:gd name="connsiteY6" fmla="*/ 17438 h 18072"/>
              <a:gd name="connsiteX7" fmla="*/ 8646 w 21511"/>
              <a:gd name="connsiteY7" fmla="*/ 17760 h 18072"/>
              <a:gd name="connsiteX8" fmla="*/ 11014 w 21511"/>
              <a:gd name="connsiteY8" fmla="*/ 18044 h 18072"/>
              <a:gd name="connsiteX9" fmla="*/ 13912 w 21511"/>
              <a:gd name="connsiteY9" fmla="*/ 17031 h 18072"/>
              <a:gd name="connsiteX10" fmla="*/ 15619 w 21511"/>
              <a:gd name="connsiteY10" fmla="*/ 16855 h 18072"/>
              <a:gd name="connsiteX11" fmla="*/ 19106 w 21511"/>
              <a:gd name="connsiteY11" fmla="*/ 15924 h 18072"/>
              <a:gd name="connsiteX12" fmla="*/ 21218 w 21511"/>
              <a:gd name="connsiteY12" fmla="*/ 12780 h 18072"/>
              <a:gd name="connsiteX13" fmla="*/ 21451 w 21511"/>
              <a:gd name="connsiteY13" fmla="*/ 9614 h 18072"/>
              <a:gd name="connsiteX14" fmla="*/ 18414 w 21511"/>
              <a:gd name="connsiteY14" fmla="*/ 2817 h 18072"/>
              <a:gd name="connsiteX15" fmla="*/ 15213 w 21511"/>
              <a:gd name="connsiteY15" fmla="*/ 859 h 18072"/>
              <a:gd name="connsiteX16" fmla="*/ 11479 w 21511"/>
              <a:gd name="connsiteY16" fmla="*/ 23 h 18072"/>
              <a:gd name="connsiteX0" fmla="*/ 11479 w 21247"/>
              <a:gd name="connsiteY0" fmla="*/ 23 h 18072"/>
              <a:gd name="connsiteX1" fmla="*/ 5717 w 21247"/>
              <a:gd name="connsiteY1" fmla="*/ 1085 h 18072"/>
              <a:gd name="connsiteX2" fmla="*/ 1234 w 21247"/>
              <a:gd name="connsiteY2" fmla="*/ 5155 h 18072"/>
              <a:gd name="connsiteX3" fmla="*/ 50 w 21247"/>
              <a:gd name="connsiteY3" fmla="*/ 9089 h 18072"/>
              <a:gd name="connsiteX4" fmla="*/ 367 w 21247"/>
              <a:gd name="connsiteY4" fmla="*/ 13412 h 18072"/>
              <a:gd name="connsiteX5" fmla="*/ 1961 w 21247"/>
              <a:gd name="connsiteY5" fmla="*/ 16736 h 18072"/>
              <a:gd name="connsiteX6" fmla="*/ 6196 w 21247"/>
              <a:gd name="connsiteY6" fmla="*/ 17438 h 18072"/>
              <a:gd name="connsiteX7" fmla="*/ 8646 w 21247"/>
              <a:gd name="connsiteY7" fmla="*/ 17760 h 18072"/>
              <a:gd name="connsiteX8" fmla="*/ 11014 w 21247"/>
              <a:gd name="connsiteY8" fmla="*/ 18044 h 18072"/>
              <a:gd name="connsiteX9" fmla="*/ 13912 w 21247"/>
              <a:gd name="connsiteY9" fmla="*/ 17031 h 18072"/>
              <a:gd name="connsiteX10" fmla="*/ 15619 w 21247"/>
              <a:gd name="connsiteY10" fmla="*/ 16855 h 18072"/>
              <a:gd name="connsiteX11" fmla="*/ 19106 w 21247"/>
              <a:gd name="connsiteY11" fmla="*/ 15924 h 18072"/>
              <a:gd name="connsiteX12" fmla="*/ 21218 w 21247"/>
              <a:gd name="connsiteY12" fmla="*/ 12780 h 18072"/>
              <a:gd name="connsiteX13" fmla="*/ 20376 w 21247"/>
              <a:gd name="connsiteY13" fmla="*/ 9534 h 18072"/>
              <a:gd name="connsiteX14" fmla="*/ 18414 w 21247"/>
              <a:gd name="connsiteY14" fmla="*/ 2817 h 18072"/>
              <a:gd name="connsiteX15" fmla="*/ 15213 w 21247"/>
              <a:gd name="connsiteY15" fmla="*/ 859 h 18072"/>
              <a:gd name="connsiteX16" fmla="*/ 11479 w 21247"/>
              <a:gd name="connsiteY16" fmla="*/ 23 h 18072"/>
              <a:gd name="connsiteX0" fmla="*/ 11479 w 21247"/>
              <a:gd name="connsiteY0" fmla="*/ 23 h 18072"/>
              <a:gd name="connsiteX1" fmla="*/ 5717 w 21247"/>
              <a:gd name="connsiteY1" fmla="*/ 1085 h 18072"/>
              <a:gd name="connsiteX2" fmla="*/ 1234 w 21247"/>
              <a:gd name="connsiteY2" fmla="*/ 5155 h 18072"/>
              <a:gd name="connsiteX3" fmla="*/ 50 w 21247"/>
              <a:gd name="connsiteY3" fmla="*/ 9089 h 18072"/>
              <a:gd name="connsiteX4" fmla="*/ 367 w 21247"/>
              <a:gd name="connsiteY4" fmla="*/ 13412 h 18072"/>
              <a:gd name="connsiteX5" fmla="*/ 1961 w 21247"/>
              <a:gd name="connsiteY5" fmla="*/ 16736 h 18072"/>
              <a:gd name="connsiteX6" fmla="*/ 6196 w 21247"/>
              <a:gd name="connsiteY6" fmla="*/ 17438 h 18072"/>
              <a:gd name="connsiteX7" fmla="*/ 8646 w 21247"/>
              <a:gd name="connsiteY7" fmla="*/ 17760 h 18072"/>
              <a:gd name="connsiteX8" fmla="*/ 11014 w 21247"/>
              <a:gd name="connsiteY8" fmla="*/ 18044 h 18072"/>
              <a:gd name="connsiteX9" fmla="*/ 13912 w 21247"/>
              <a:gd name="connsiteY9" fmla="*/ 17031 h 18072"/>
              <a:gd name="connsiteX10" fmla="*/ 15619 w 21247"/>
              <a:gd name="connsiteY10" fmla="*/ 16855 h 18072"/>
              <a:gd name="connsiteX11" fmla="*/ 19106 w 21247"/>
              <a:gd name="connsiteY11" fmla="*/ 15924 h 18072"/>
              <a:gd name="connsiteX12" fmla="*/ 21218 w 21247"/>
              <a:gd name="connsiteY12" fmla="*/ 12780 h 18072"/>
              <a:gd name="connsiteX13" fmla="*/ 20376 w 21247"/>
              <a:gd name="connsiteY13" fmla="*/ 9534 h 18072"/>
              <a:gd name="connsiteX14" fmla="*/ 18414 w 21247"/>
              <a:gd name="connsiteY14" fmla="*/ 2817 h 18072"/>
              <a:gd name="connsiteX15" fmla="*/ 15213 w 21247"/>
              <a:gd name="connsiteY15" fmla="*/ 859 h 18072"/>
              <a:gd name="connsiteX16" fmla="*/ 11479 w 21247"/>
              <a:gd name="connsiteY16" fmla="*/ 23 h 18072"/>
              <a:gd name="connsiteX0" fmla="*/ 11479 w 21218"/>
              <a:gd name="connsiteY0" fmla="*/ 23 h 18072"/>
              <a:gd name="connsiteX1" fmla="*/ 5717 w 21218"/>
              <a:gd name="connsiteY1" fmla="*/ 1085 h 18072"/>
              <a:gd name="connsiteX2" fmla="*/ 1234 w 21218"/>
              <a:gd name="connsiteY2" fmla="*/ 5155 h 18072"/>
              <a:gd name="connsiteX3" fmla="*/ 50 w 21218"/>
              <a:gd name="connsiteY3" fmla="*/ 9089 h 18072"/>
              <a:gd name="connsiteX4" fmla="*/ 367 w 21218"/>
              <a:gd name="connsiteY4" fmla="*/ 13412 h 18072"/>
              <a:gd name="connsiteX5" fmla="*/ 1961 w 21218"/>
              <a:gd name="connsiteY5" fmla="*/ 16736 h 18072"/>
              <a:gd name="connsiteX6" fmla="*/ 6196 w 21218"/>
              <a:gd name="connsiteY6" fmla="*/ 17438 h 18072"/>
              <a:gd name="connsiteX7" fmla="*/ 8646 w 21218"/>
              <a:gd name="connsiteY7" fmla="*/ 17760 h 18072"/>
              <a:gd name="connsiteX8" fmla="*/ 11014 w 21218"/>
              <a:gd name="connsiteY8" fmla="*/ 18044 h 18072"/>
              <a:gd name="connsiteX9" fmla="*/ 13912 w 21218"/>
              <a:gd name="connsiteY9" fmla="*/ 17031 h 18072"/>
              <a:gd name="connsiteX10" fmla="*/ 15619 w 21218"/>
              <a:gd name="connsiteY10" fmla="*/ 16855 h 18072"/>
              <a:gd name="connsiteX11" fmla="*/ 19106 w 21218"/>
              <a:gd name="connsiteY11" fmla="*/ 15924 h 18072"/>
              <a:gd name="connsiteX12" fmla="*/ 21218 w 21218"/>
              <a:gd name="connsiteY12" fmla="*/ 12780 h 18072"/>
              <a:gd name="connsiteX13" fmla="*/ 19095 w 21218"/>
              <a:gd name="connsiteY13" fmla="*/ 5582 h 18072"/>
              <a:gd name="connsiteX14" fmla="*/ 18414 w 21218"/>
              <a:gd name="connsiteY14" fmla="*/ 2817 h 18072"/>
              <a:gd name="connsiteX15" fmla="*/ 15213 w 21218"/>
              <a:gd name="connsiteY15" fmla="*/ 859 h 18072"/>
              <a:gd name="connsiteX16" fmla="*/ 11479 w 21218"/>
              <a:gd name="connsiteY16" fmla="*/ 23 h 18072"/>
              <a:gd name="connsiteX0" fmla="*/ 11479 w 21218"/>
              <a:gd name="connsiteY0" fmla="*/ 23 h 18072"/>
              <a:gd name="connsiteX1" fmla="*/ 5717 w 21218"/>
              <a:gd name="connsiteY1" fmla="*/ 1085 h 18072"/>
              <a:gd name="connsiteX2" fmla="*/ 1234 w 21218"/>
              <a:gd name="connsiteY2" fmla="*/ 5155 h 18072"/>
              <a:gd name="connsiteX3" fmla="*/ 50 w 21218"/>
              <a:gd name="connsiteY3" fmla="*/ 9089 h 18072"/>
              <a:gd name="connsiteX4" fmla="*/ 367 w 21218"/>
              <a:gd name="connsiteY4" fmla="*/ 13412 h 18072"/>
              <a:gd name="connsiteX5" fmla="*/ 1961 w 21218"/>
              <a:gd name="connsiteY5" fmla="*/ 16736 h 18072"/>
              <a:gd name="connsiteX6" fmla="*/ 6196 w 21218"/>
              <a:gd name="connsiteY6" fmla="*/ 17438 h 18072"/>
              <a:gd name="connsiteX7" fmla="*/ 8646 w 21218"/>
              <a:gd name="connsiteY7" fmla="*/ 17760 h 18072"/>
              <a:gd name="connsiteX8" fmla="*/ 11014 w 21218"/>
              <a:gd name="connsiteY8" fmla="*/ 18044 h 18072"/>
              <a:gd name="connsiteX9" fmla="*/ 13912 w 21218"/>
              <a:gd name="connsiteY9" fmla="*/ 17031 h 18072"/>
              <a:gd name="connsiteX10" fmla="*/ 15619 w 21218"/>
              <a:gd name="connsiteY10" fmla="*/ 16855 h 18072"/>
              <a:gd name="connsiteX11" fmla="*/ 19106 w 21218"/>
              <a:gd name="connsiteY11" fmla="*/ 15924 h 18072"/>
              <a:gd name="connsiteX12" fmla="*/ 21218 w 21218"/>
              <a:gd name="connsiteY12" fmla="*/ 12780 h 18072"/>
              <a:gd name="connsiteX13" fmla="*/ 19095 w 21218"/>
              <a:gd name="connsiteY13" fmla="*/ 5582 h 18072"/>
              <a:gd name="connsiteX14" fmla="*/ 18414 w 21218"/>
              <a:gd name="connsiteY14" fmla="*/ 2817 h 18072"/>
              <a:gd name="connsiteX15" fmla="*/ 15213 w 21218"/>
              <a:gd name="connsiteY15" fmla="*/ 859 h 18072"/>
              <a:gd name="connsiteX16" fmla="*/ 11479 w 21218"/>
              <a:gd name="connsiteY16" fmla="*/ 23 h 18072"/>
              <a:gd name="connsiteX0" fmla="*/ 11479 w 21218"/>
              <a:gd name="connsiteY0" fmla="*/ 23 h 18072"/>
              <a:gd name="connsiteX1" fmla="*/ 5717 w 21218"/>
              <a:gd name="connsiteY1" fmla="*/ 1085 h 18072"/>
              <a:gd name="connsiteX2" fmla="*/ 1234 w 21218"/>
              <a:gd name="connsiteY2" fmla="*/ 5155 h 18072"/>
              <a:gd name="connsiteX3" fmla="*/ 50 w 21218"/>
              <a:gd name="connsiteY3" fmla="*/ 9089 h 18072"/>
              <a:gd name="connsiteX4" fmla="*/ 367 w 21218"/>
              <a:gd name="connsiteY4" fmla="*/ 13412 h 18072"/>
              <a:gd name="connsiteX5" fmla="*/ 1961 w 21218"/>
              <a:gd name="connsiteY5" fmla="*/ 16736 h 18072"/>
              <a:gd name="connsiteX6" fmla="*/ 6196 w 21218"/>
              <a:gd name="connsiteY6" fmla="*/ 17438 h 18072"/>
              <a:gd name="connsiteX7" fmla="*/ 8646 w 21218"/>
              <a:gd name="connsiteY7" fmla="*/ 17760 h 18072"/>
              <a:gd name="connsiteX8" fmla="*/ 11014 w 21218"/>
              <a:gd name="connsiteY8" fmla="*/ 18044 h 18072"/>
              <a:gd name="connsiteX9" fmla="*/ 13912 w 21218"/>
              <a:gd name="connsiteY9" fmla="*/ 17031 h 18072"/>
              <a:gd name="connsiteX10" fmla="*/ 15619 w 21218"/>
              <a:gd name="connsiteY10" fmla="*/ 16855 h 18072"/>
              <a:gd name="connsiteX11" fmla="*/ 19106 w 21218"/>
              <a:gd name="connsiteY11" fmla="*/ 15924 h 18072"/>
              <a:gd name="connsiteX12" fmla="*/ 21218 w 21218"/>
              <a:gd name="connsiteY12" fmla="*/ 12780 h 18072"/>
              <a:gd name="connsiteX13" fmla="*/ 19095 w 21218"/>
              <a:gd name="connsiteY13" fmla="*/ 5582 h 18072"/>
              <a:gd name="connsiteX14" fmla="*/ 18414 w 21218"/>
              <a:gd name="connsiteY14" fmla="*/ 2817 h 18072"/>
              <a:gd name="connsiteX15" fmla="*/ 15213 w 21218"/>
              <a:gd name="connsiteY15" fmla="*/ 859 h 18072"/>
              <a:gd name="connsiteX16" fmla="*/ 11479 w 21218"/>
              <a:gd name="connsiteY16" fmla="*/ 23 h 18072"/>
              <a:gd name="connsiteX0" fmla="*/ 11479 w 21218"/>
              <a:gd name="connsiteY0" fmla="*/ 23 h 18072"/>
              <a:gd name="connsiteX1" fmla="*/ 5717 w 21218"/>
              <a:gd name="connsiteY1" fmla="*/ 1085 h 18072"/>
              <a:gd name="connsiteX2" fmla="*/ 1234 w 21218"/>
              <a:gd name="connsiteY2" fmla="*/ 5155 h 18072"/>
              <a:gd name="connsiteX3" fmla="*/ 50 w 21218"/>
              <a:gd name="connsiteY3" fmla="*/ 9089 h 18072"/>
              <a:gd name="connsiteX4" fmla="*/ 367 w 21218"/>
              <a:gd name="connsiteY4" fmla="*/ 13412 h 18072"/>
              <a:gd name="connsiteX5" fmla="*/ 1961 w 21218"/>
              <a:gd name="connsiteY5" fmla="*/ 16736 h 18072"/>
              <a:gd name="connsiteX6" fmla="*/ 6196 w 21218"/>
              <a:gd name="connsiteY6" fmla="*/ 17438 h 18072"/>
              <a:gd name="connsiteX7" fmla="*/ 8646 w 21218"/>
              <a:gd name="connsiteY7" fmla="*/ 17760 h 18072"/>
              <a:gd name="connsiteX8" fmla="*/ 11014 w 21218"/>
              <a:gd name="connsiteY8" fmla="*/ 18044 h 18072"/>
              <a:gd name="connsiteX9" fmla="*/ 13912 w 21218"/>
              <a:gd name="connsiteY9" fmla="*/ 17031 h 18072"/>
              <a:gd name="connsiteX10" fmla="*/ 15619 w 21218"/>
              <a:gd name="connsiteY10" fmla="*/ 16855 h 18072"/>
              <a:gd name="connsiteX11" fmla="*/ 19106 w 21218"/>
              <a:gd name="connsiteY11" fmla="*/ 15924 h 18072"/>
              <a:gd name="connsiteX12" fmla="*/ 21218 w 21218"/>
              <a:gd name="connsiteY12" fmla="*/ 12780 h 18072"/>
              <a:gd name="connsiteX13" fmla="*/ 19095 w 21218"/>
              <a:gd name="connsiteY13" fmla="*/ 5582 h 18072"/>
              <a:gd name="connsiteX14" fmla="*/ 18414 w 21218"/>
              <a:gd name="connsiteY14" fmla="*/ 2817 h 18072"/>
              <a:gd name="connsiteX15" fmla="*/ 15213 w 21218"/>
              <a:gd name="connsiteY15" fmla="*/ 859 h 18072"/>
              <a:gd name="connsiteX16" fmla="*/ 11479 w 21218"/>
              <a:gd name="connsiteY16" fmla="*/ 23 h 18072"/>
              <a:gd name="connsiteX0" fmla="*/ 11479 w 21218"/>
              <a:gd name="connsiteY0" fmla="*/ 23 h 18072"/>
              <a:gd name="connsiteX1" fmla="*/ 5717 w 21218"/>
              <a:gd name="connsiteY1" fmla="*/ 1085 h 18072"/>
              <a:gd name="connsiteX2" fmla="*/ 1234 w 21218"/>
              <a:gd name="connsiteY2" fmla="*/ 5155 h 18072"/>
              <a:gd name="connsiteX3" fmla="*/ 50 w 21218"/>
              <a:gd name="connsiteY3" fmla="*/ 9089 h 18072"/>
              <a:gd name="connsiteX4" fmla="*/ 367 w 21218"/>
              <a:gd name="connsiteY4" fmla="*/ 13412 h 18072"/>
              <a:gd name="connsiteX5" fmla="*/ 1961 w 21218"/>
              <a:gd name="connsiteY5" fmla="*/ 16736 h 18072"/>
              <a:gd name="connsiteX6" fmla="*/ 6196 w 21218"/>
              <a:gd name="connsiteY6" fmla="*/ 17438 h 18072"/>
              <a:gd name="connsiteX7" fmla="*/ 8646 w 21218"/>
              <a:gd name="connsiteY7" fmla="*/ 17760 h 18072"/>
              <a:gd name="connsiteX8" fmla="*/ 11014 w 21218"/>
              <a:gd name="connsiteY8" fmla="*/ 18044 h 18072"/>
              <a:gd name="connsiteX9" fmla="*/ 13912 w 21218"/>
              <a:gd name="connsiteY9" fmla="*/ 17031 h 18072"/>
              <a:gd name="connsiteX10" fmla="*/ 15619 w 21218"/>
              <a:gd name="connsiteY10" fmla="*/ 16855 h 18072"/>
              <a:gd name="connsiteX11" fmla="*/ 19106 w 21218"/>
              <a:gd name="connsiteY11" fmla="*/ 15924 h 18072"/>
              <a:gd name="connsiteX12" fmla="*/ 21218 w 21218"/>
              <a:gd name="connsiteY12" fmla="*/ 12780 h 18072"/>
              <a:gd name="connsiteX13" fmla="*/ 19095 w 21218"/>
              <a:gd name="connsiteY13" fmla="*/ 5582 h 18072"/>
              <a:gd name="connsiteX14" fmla="*/ 18414 w 21218"/>
              <a:gd name="connsiteY14" fmla="*/ 2817 h 18072"/>
              <a:gd name="connsiteX15" fmla="*/ 15213 w 21218"/>
              <a:gd name="connsiteY15" fmla="*/ 859 h 18072"/>
              <a:gd name="connsiteX16" fmla="*/ 11479 w 21218"/>
              <a:gd name="connsiteY16" fmla="*/ 23 h 18072"/>
              <a:gd name="connsiteX0" fmla="*/ 11479 w 21218"/>
              <a:gd name="connsiteY0" fmla="*/ 23 h 18072"/>
              <a:gd name="connsiteX1" fmla="*/ 5717 w 21218"/>
              <a:gd name="connsiteY1" fmla="*/ 1085 h 18072"/>
              <a:gd name="connsiteX2" fmla="*/ 1234 w 21218"/>
              <a:gd name="connsiteY2" fmla="*/ 5155 h 18072"/>
              <a:gd name="connsiteX3" fmla="*/ 50 w 21218"/>
              <a:gd name="connsiteY3" fmla="*/ 9089 h 18072"/>
              <a:gd name="connsiteX4" fmla="*/ 367 w 21218"/>
              <a:gd name="connsiteY4" fmla="*/ 13412 h 18072"/>
              <a:gd name="connsiteX5" fmla="*/ 1961 w 21218"/>
              <a:gd name="connsiteY5" fmla="*/ 16736 h 18072"/>
              <a:gd name="connsiteX6" fmla="*/ 6196 w 21218"/>
              <a:gd name="connsiteY6" fmla="*/ 17438 h 18072"/>
              <a:gd name="connsiteX7" fmla="*/ 8646 w 21218"/>
              <a:gd name="connsiteY7" fmla="*/ 17760 h 18072"/>
              <a:gd name="connsiteX8" fmla="*/ 11014 w 21218"/>
              <a:gd name="connsiteY8" fmla="*/ 18044 h 18072"/>
              <a:gd name="connsiteX9" fmla="*/ 13912 w 21218"/>
              <a:gd name="connsiteY9" fmla="*/ 17031 h 18072"/>
              <a:gd name="connsiteX10" fmla="*/ 15619 w 21218"/>
              <a:gd name="connsiteY10" fmla="*/ 16855 h 18072"/>
              <a:gd name="connsiteX11" fmla="*/ 19106 w 21218"/>
              <a:gd name="connsiteY11" fmla="*/ 15924 h 18072"/>
              <a:gd name="connsiteX12" fmla="*/ 21218 w 21218"/>
              <a:gd name="connsiteY12" fmla="*/ 12780 h 18072"/>
              <a:gd name="connsiteX13" fmla="*/ 19095 w 21218"/>
              <a:gd name="connsiteY13" fmla="*/ 5582 h 18072"/>
              <a:gd name="connsiteX14" fmla="*/ 18414 w 21218"/>
              <a:gd name="connsiteY14" fmla="*/ 2817 h 18072"/>
              <a:gd name="connsiteX15" fmla="*/ 15213 w 21218"/>
              <a:gd name="connsiteY15" fmla="*/ 859 h 18072"/>
              <a:gd name="connsiteX16" fmla="*/ 11479 w 21218"/>
              <a:gd name="connsiteY16" fmla="*/ 23 h 18072"/>
              <a:gd name="connsiteX0" fmla="*/ 11479 w 19615"/>
              <a:gd name="connsiteY0" fmla="*/ 23 h 18072"/>
              <a:gd name="connsiteX1" fmla="*/ 5717 w 19615"/>
              <a:gd name="connsiteY1" fmla="*/ 1085 h 18072"/>
              <a:gd name="connsiteX2" fmla="*/ 1234 w 19615"/>
              <a:gd name="connsiteY2" fmla="*/ 5155 h 18072"/>
              <a:gd name="connsiteX3" fmla="*/ 50 w 19615"/>
              <a:gd name="connsiteY3" fmla="*/ 9089 h 18072"/>
              <a:gd name="connsiteX4" fmla="*/ 367 w 19615"/>
              <a:gd name="connsiteY4" fmla="*/ 13412 h 18072"/>
              <a:gd name="connsiteX5" fmla="*/ 1961 w 19615"/>
              <a:gd name="connsiteY5" fmla="*/ 16736 h 18072"/>
              <a:gd name="connsiteX6" fmla="*/ 6196 w 19615"/>
              <a:gd name="connsiteY6" fmla="*/ 17438 h 18072"/>
              <a:gd name="connsiteX7" fmla="*/ 8646 w 19615"/>
              <a:gd name="connsiteY7" fmla="*/ 17760 h 18072"/>
              <a:gd name="connsiteX8" fmla="*/ 11014 w 19615"/>
              <a:gd name="connsiteY8" fmla="*/ 18044 h 18072"/>
              <a:gd name="connsiteX9" fmla="*/ 13912 w 19615"/>
              <a:gd name="connsiteY9" fmla="*/ 17031 h 18072"/>
              <a:gd name="connsiteX10" fmla="*/ 15619 w 19615"/>
              <a:gd name="connsiteY10" fmla="*/ 16855 h 18072"/>
              <a:gd name="connsiteX11" fmla="*/ 19106 w 19615"/>
              <a:gd name="connsiteY11" fmla="*/ 15924 h 18072"/>
              <a:gd name="connsiteX12" fmla="*/ 19594 w 19615"/>
              <a:gd name="connsiteY12" fmla="*/ 10685 h 18072"/>
              <a:gd name="connsiteX13" fmla="*/ 19095 w 19615"/>
              <a:gd name="connsiteY13" fmla="*/ 5582 h 18072"/>
              <a:gd name="connsiteX14" fmla="*/ 18414 w 19615"/>
              <a:gd name="connsiteY14" fmla="*/ 2817 h 18072"/>
              <a:gd name="connsiteX15" fmla="*/ 15213 w 19615"/>
              <a:gd name="connsiteY15" fmla="*/ 859 h 18072"/>
              <a:gd name="connsiteX16" fmla="*/ 11479 w 19615"/>
              <a:gd name="connsiteY16" fmla="*/ 23 h 18072"/>
              <a:gd name="connsiteX0" fmla="*/ 11479 w 19602"/>
              <a:gd name="connsiteY0" fmla="*/ 23 h 18072"/>
              <a:gd name="connsiteX1" fmla="*/ 5717 w 19602"/>
              <a:gd name="connsiteY1" fmla="*/ 1085 h 18072"/>
              <a:gd name="connsiteX2" fmla="*/ 1234 w 19602"/>
              <a:gd name="connsiteY2" fmla="*/ 5155 h 18072"/>
              <a:gd name="connsiteX3" fmla="*/ 50 w 19602"/>
              <a:gd name="connsiteY3" fmla="*/ 9089 h 18072"/>
              <a:gd name="connsiteX4" fmla="*/ 367 w 19602"/>
              <a:gd name="connsiteY4" fmla="*/ 13412 h 18072"/>
              <a:gd name="connsiteX5" fmla="*/ 1961 w 19602"/>
              <a:gd name="connsiteY5" fmla="*/ 16736 h 18072"/>
              <a:gd name="connsiteX6" fmla="*/ 6196 w 19602"/>
              <a:gd name="connsiteY6" fmla="*/ 17438 h 18072"/>
              <a:gd name="connsiteX7" fmla="*/ 8646 w 19602"/>
              <a:gd name="connsiteY7" fmla="*/ 17760 h 18072"/>
              <a:gd name="connsiteX8" fmla="*/ 11014 w 19602"/>
              <a:gd name="connsiteY8" fmla="*/ 18044 h 18072"/>
              <a:gd name="connsiteX9" fmla="*/ 13912 w 19602"/>
              <a:gd name="connsiteY9" fmla="*/ 17031 h 18072"/>
              <a:gd name="connsiteX10" fmla="*/ 15619 w 19602"/>
              <a:gd name="connsiteY10" fmla="*/ 16855 h 18072"/>
              <a:gd name="connsiteX11" fmla="*/ 19106 w 19602"/>
              <a:gd name="connsiteY11" fmla="*/ 15924 h 18072"/>
              <a:gd name="connsiteX12" fmla="*/ 19594 w 19602"/>
              <a:gd name="connsiteY12" fmla="*/ 10685 h 18072"/>
              <a:gd name="connsiteX13" fmla="*/ 19278 w 19602"/>
              <a:gd name="connsiteY13" fmla="*/ 6616 h 18072"/>
              <a:gd name="connsiteX14" fmla="*/ 18414 w 19602"/>
              <a:gd name="connsiteY14" fmla="*/ 2817 h 18072"/>
              <a:gd name="connsiteX15" fmla="*/ 15213 w 19602"/>
              <a:gd name="connsiteY15" fmla="*/ 859 h 18072"/>
              <a:gd name="connsiteX16" fmla="*/ 11479 w 19602"/>
              <a:gd name="connsiteY16" fmla="*/ 23 h 18072"/>
              <a:gd name="connsiteX0" fmla="*/ 11479 w 19603"/>
              <a:gd name="connsiteY0" fmla="*/ 23 h 18072"/>
              <a:gd name="connsiteX1" fmla="*/ 5717 w 19603"/>
              <a:gd name="connsiteY1" fmla="*/ 1085 h 18072"/>
              <a:gd name="connsiteX2" fmla="*/ 1234 w 19603"/>
              <a:gd name="connsiteY2" fmla="*/ 5155 h 18072"/>
              <a:gd name="connsiteX3" fmla="*/ 50 w 19603"/>
              <a:gd name="connsiteY3" fmla="*/ 9089 h 18072"/>
              <a:gd name="connsiteX4" fmla="*/ 367 w 19603"/>
              <a:gd name="connsiteY4" fmla="*/ 13412 h 18072"/>
              <a:gd name="connsiteX5" fmla="*/ 1961 w 19603"/>
              <a:gd name="connsiteY5" fmla="*/ 16736 h 18072"/>
              <a:gd name="connsiteX6" fmla="*/ 6196 w 19603"/>
              <a:gd name="connsiteY6" fmla="*/ 17438 h 18072"/>
              <a:gd name="connsiteX7" fmla="*/ 8646 w 19603"/>
              <a:gd name="connsiteY7" fmla="*/ 17760 h 18072"/>
              <a:gd name="connsiteX8" fmla="*/ 11014 w 19603"/>
              <a:gd name="connsiteY8" fmla="*/ 18044 h 18072"/>
              <a:gd name="connsiteX9" fmla="*/ 13912 w 19603"/>
              <a:gd name="connsiteY9" fmla="*/ 17031 h 18072"/>
              <a:gd name="connsiteX10" fmla="*/ 15619 w 19603"/>
              <a:gd name="connsiteY10" fmla="*/ 16855 h 18072"/>
              <a:gd name="connsiteX11" fmla="*/ 19106 w 19603"/>
              <a:gd name="connsiteY11" fmla="*/ 15924 h 18072"/>
              <a:gd name="connsiteX12" fmla="*/ 19594 w 19603"/>
              <a:gd name="connsiteY12" fmla="*/ 10685 h 18072"/>
              <a:gd name="connsiteX13" fmla="*/ 19347 w 19603"/>
              <a:gd name="connsiteY13" fmla="*/ 8393 h 18072"/>
              <a:gd name="connsiteX14" fmla="*/ 18414 w 19603"/>
              <a:gd name="connsiteY14" fmla="*/ 2817 h 18072"/>
              <a:gd name="connsiteX15" fmla="*/ 15213 w 19603"/>
              <a:gd name="connsiteY15" fmla="*/ 859 h 18072"/>
              <a:gd name="connsiteX16" fmla="*/ 11479 w 19603"/>
              <a:gd name="connsiteY16" fmla="*/ 23 h 18072"/>
              <a:gd name="connsiteX0" fmla="*/ 11479 w 19597"/>
              <a:gd name="connsiteY0" fmla="*/ 23 h 18072"/>
              <a:gd name="connsiteX1" fmla="*/ 5717 w 19597"/>
              <a:gd name="connsiteY1" fmla="*/ 1085 h 18072"/>
              <a:gd name="connsiteX2" fmla="*/ 1234 w 19597"/>
              <a:gd name="connsiteY2" fmla="*/ 5155 h 18072"/>
              <a:gd name="connsiteX3" fmla="*/ 50 w 19597"/>
              <a:gd name="connsiteY3" fmla="*/ 9089 h 18072"/>
              <a:gd name="connsiteX4" fmla="*/ 367 w 19597"/>
              <a:gd name="connsiteY4" fmla="*/ 13412 h 18072"/>
              <a:gd name="connsiteX5" fmla="*/ 1961 w 19597"/>
              <a:gd name="connsiteY5" fmla="*/ 16736 h 18072"/>
              <a:gd name="connsiteX6" fmla="*/ 6196 w 19597"/>
              <a:gd name="connsiteY6" fmla="*/ 17438 h 18072"/>
              <a:gd name="connsiteX7" fmla="*/ 8646 w 19597"/>
              <a:gd name="connsiteY7" fmla="*/ 17760 h 18072"/>
              <a:gd name="connsiteX8" fmla="*/ 11014 w 19597"/>
              <a:gd name="connsiteY8" fmla="*/ 18044 h 18072"/>
              <a:gd name="connsiteX9" fmla="*/ 13912 w 19597"/>
              <a:gd name="connsiteY9" fmla="*/ 17031 h 18072"/>
              <a:gd name="connsiteX10" fmla="*/ 15619 w 19597"/>
              <a:gd name="connsiteY10" fmla="*/ 16855 h 18072"/>
              <a:gd name="connsiteX11" fmla="*/ 19106 w 19597"/>
              <a:gd name="connsiteY11" fmla="*/ 15924 h 18072"/>
              <a:gd name="connsiteX12" fmla="*/ 19594 w 19597"/>
              <a:gd name="connsiteY12" fmla="*/ 10685 h 18072"/>
              <a:gd name="connsiteX13" fmla="*/ 19347 w 19597"/>
              <a:gd name="connsiteY13" fmla="*/ 8393 h 18072"/>
              <a:gd name="connsiteX14" fmla="*/ 18414 w 19597"/>
              <a:gd name="connsiteY14" fmla="*/ 2817 h 18072"/>
              <a:gd name="connsiteX15" fmla="*/ 15213 w 19597"/>
              <a:gd name="connsiteY15" fmla="*/ 859 h 18072"/>
              <a:gd name="connsiteX16" fmla="*/ 11479 w 19597"/>
              <a:gd name="connsiteY16" fmla="*/ 23 h 18072"/>
              <a:gd name="connsiteX0" fmla="*/ 11479 w 19748"/>
              <a:gd name="connsiteY0" fmla="*/ 23 h 18072"/>
              <a:gd name="connsiteX1" fmla="*/ 5717 w 19748"/>
              <a:gd name="connsiteY1" fmla="*/ 1085 h 18072"/>
              <a:gd name="connsiteX2" fmla="*/ 1234 w 19748"/>
              <a:gd name="connsiteY2" fmla="*/ 5155 h 18072"/>
              <a:gd name="connsiteX3" fmla="*/ 50 w 19748"/>
              <a:gd name="connsiteY3" fmla="*/ 9089 h 18072"/>
              <a:gd name="connsiteX4" fmla="*/ 367 w 19748"/>
              <a:gd name="connsiteY4" fmla="*/ 13412 h 18072"/>
              <a:gd name="connsiteX5" fmla="*/ 1961 w 19748"/>
              <a:gd name="connsiteY5" fmla="*/ 16736 h 18072"/>
              <a:gd name="connsiteX6" fmla="*/ 6196 w 19748"/>
              <a:gd name="connsiteY6" fmla="*/ 17438 h 18072"/>
              <a:gd name="connsiteX7" fmla="*/ 8646 w 19748"/>
              <a:gd name="connsiteY7" fmla="*/ 17760 h 18072"/>
              <a:gd name="connsiteX8" fmla="*/ 11014 w 19748"/>
              <a:gd name="connsiteY8" fmla="*/ 18044 h 18072"/>
              <a:gd name="connsiteX9" fmla="*/ 13912 w 19748"/>
              <a:gd name="connsiteY9" fmla="*/ 17031 h 18072"/>
              <a:gd name="connsiteX10" fmla="*/ 15619 w 19748"/>
              <a:gd name="connsiteY10" fmla="*/ 16855 h 18072"/>
              <a:gd name="connsiteX11" fmla="*/ 19106 w 19748"/>
              <a:gd name="connsiteY11" fmla="*/ 15924 h 18072"/>
              <a:gd name="connsiteX12" fmla="*/ 19594 w 19748"/>
              <a:gd name="connsiteY12" fmla="*/ 10685 h 18072"/>
              <a:gd name="connsiteX13" fmla="*/ 19347 w 19748"/>
              <a:gd name="connsiteY13" fmla="*/ 8393 h 18072"/>
              <a:gd name="connsiteX14" fmla="*/ 18986 w 19748"/>
              <a:gd name="connsiteY14" fmla="*/ 3374 h 18072"/>
              <a:gd name="connsiteX15" fmla="*/ 15213 w 19748"/>
              <a:gd name="connsiteY15" fmla="*/ 859 h 18072"/>
              <a:gd name="connsiteX16" fmla="*/ 11479 w 19748"/>
              <a:gd name="connsiteY16" fmla="*/ 23 h 18072"/>
              <a:gd name="connsiteX0" fmla="*/ 11479 w 19638"/>
              <a:gd name="connsiteY0" fmla="*/ 23 h 18072"/>
              <a:gd name="connsiteX1" fmla="*/ 5717 w 19638"/>
              <a:gd name="connsiteY1" fmla="*/ 1085 h 18072"/>
              <a:gd name="connsiteX2" fmla="*/ 1234 w 19638"/>
              <a:gd name="connsiteY2" fmla="*/ 5155 h 18072"/>
              <a:gd name="connsiteX3" fmla="*/ 50 w 19638"/>
              <a:gd name="connsiteY3" fmla="*/ 9089 h 18072"/>
              <a:gd name="connsiteX4" fmla="*/ 367 w 19638"/>
              <a:gd name="connsiteY4" fmla="*/ 13412 h 18072"/>
              <a:gd name="connsiteX5" fmla="*/ 1961 w 19638"/>
              <a:gd name="connsiteY5" fmla="*/ 16736 h 18072"/>
              <a:gd name="connsiteX6" fmla="*/ 6196 w 19638"/>
              <a:gd name="connsiteY6" fmla="*/ 17438 h 18072"/>
              <a:gd name="connsiteX7" fmla="*/ 8646 w 19638"/>
              <a:gd name="connsiteY7" fmla="*/ 17760 h 18072"/>
              <a:gd name="connsiteX8" fmla="*/ 11014 w 19638"/>
              <a:gd name="connsiteY8" fmla="*/ 18044 h 18072"/>
              <a:gd name="connsiteX9" fmla="*/ 13912 w 19638"/>
              <a:gd name="connsiteY9" fmla="*/ 17031 h 18072"/>
              <a:gd name="connsiteX10" fmla="*/ 15619 w 19638"/>
              <a:gd name="connsiteY10" fmla="*/ 16855 h 18072"/>
              <a:gd name="connsiteX11" fmla="*/ 19106 w 19638"/>
              <a:gd name="connsiteY11" fmla="*/ 15924 h 18072"/>
              <a:gd name="connsiteX12" fmla="*/ 19594 w 19638"/>
              <a:gd name="connsiteY12" fmla="*/ 10685 h 18072"/>
              <a:gd name="connsiteX13" fmla="*/ 19347 w 19638"/>
              <a:gd name="connsiteY13" fmla="*/ 8393 h 18072"/>
              <a:gd name="connsiteX14" fmla="*/ 18986 w 19638"/>
              <a:gd name="connsiteY14" fmla="*/ 3374 h 18072"/>
              <a:gd name="connsiteX15" fmla="*/ 15213 w 19638"/>
              <a:gd name="connsiteY15" fmla="*/ 859 h 18072"/>
              <a:gd name="connsiteX16" fmla="*/ 11479 w 19638"/>
              <a:gd name="connsiteY16" fmla="*/ 23 h 18072"/>
              <a:gd name="connsiteX0" fmla="*/ 11479 w 19622"/>
              <a:gd name="connsiteY0" fmla="*/ 23 h 18072"/>
              <a:gd name="connsiteX1" fmla="*/ 5717 w 19622"/>
              <a:gd name="connsiteY1" fmla="*/ 1085 h 18072"/>
              <a:gd name="connsiteX2" fmla="*/ 1234 w 19622"/>
              <a:gd name="connsiteY2" fmla="*/ 5155 h 18072"/>
              <a:gd name="connsiteX3" fmla="*/ 50 w 19622"/>
              <a:gd name="connsiteY3" fmla="*/ 9089 h 18072"/>
              <a:gd name="connsiteX4" fmla="*/ 367 w 19622"/>
              <a:gd name="connsiteY4" fmla="*/ 13412 h 18072"/>
              <a:gd name="connsiteX5" fmla="*/ 1961 w 19622"/>
              <a:gd name="connsiteY5" fmla="*/ 16736 h 18072"/>
              <a:gd name="connsiteX6" fmla="*/ 6196 w 19622"/>
              <a:gd name="connsiteY6" fmla="*/ 17438 h 18072"/>
              <a:gd name="connsiteX7" fmla="*/ 8646 w 19622"/>
              <a:gd name="connsiteY7" fmla="*/ 17760 h 18072"/>
              <a:gd name="connsiteX8" fmla="*/ 11014 w 19622"/>
              <a:gd name="connsiteY8" fmla="*/ 18044 h 18072"/>
              <a:gd name="connsiteX9" fmla="*/ 13912 w 19622"/>
              <a:gd name="connsiteY9" fmla="*/ 17031 h 18072"/>
              <a:gd name="connsiteX10" fmla="*/ 15619 w 19622"/>
              <a:gd name="connsiteY10" fmla="*/ 16855 h 18072"/>
              <a:gd name="connsiteX11" fmla="*/ 19106 w 19622"/>
              <a:gd name="connsiteY11" fmla="*/ 15924 h 18072"/>
              <a:gd name="connsiteX12" fmla="*/ 19594 w 19622"/>
              <a:gd name="connsiteY12" fmla="*/ 10685 h 18072"/>
              <a:gd name="connsiteX13" fmla="*/ 19347 w 19622"/>
              <a:gd name="connsiteY13" fmla="*/ 8393 h 18072"/>
              <a:gd name="connsiteX14" fmla="*/ 18963 w 19622"/>
              <a:gd name="connsiteY14" fmla="*/ 3401 h 18072"/>
              <a:gd name="connsiteX15" fmla="*/ 15213 w 19622"/>
              <a:gd name="connsiteY15" fmla="*/ 859 h 18072"/>
              <a:gd name="connsiteX16" fmla="*/ 11479 w 19622"/>
              <a:gd name="connsiteY16" fmla="*/ 23 h 18072"/>
              <a:gd name="connsiteX0" fmla="*/ 11479 w 19622"/>
              <a:gd name="connsiteY0" fmla="*/ 23 h 18072"/>
              <a:gd name="connsiteX1" fmla="*/ 5717 w 19622"/>
              <a:gd name="connsiteY1" fmla="*/ 1085 h 18072"/>
              <a:gd name="connsiteX2" fmla="*/ 1234 w 19622"/>
              <a:gd name="connsiteY2" fmla="*/ 5155 h 18072"/>
              <a:gd name="connsiteX3" fmla="*/ 50 w 19622"/>
              <a:gd name="connsiteY3" fmla="*/ 9089 h 18072"/>
              <a:gd name="connsiteX4" fmla="*/ 367 w 19622"/>
              <a:gd name="connsiteY4" fmla="*/ 13412 h 18072"/>
              <a:gd name="connsiteX5" fmla="*/ 1961 w 19622"/>
              <a:gd name="connsiteY5" fmla="*/ 16736 h 18072"/>
              <a:gd name="connsiteX6" fmla="*/ 6196 w 19622"/>
              <a:gd name="connsiteY6" fmla="*/ 17438 h 18072"/>
              <a:gd name="connsiteX7" fmla="*/ 8646 w 19622"/>
              <a:gd name="connsiteY7" fmla="*/ 17760 h 18072"/>
              <a:gd name="connsiteX8" fmla="*/ 11014 w 19622"/>
              <a:gd name="connsiteY8" fmla="*/ 18044 h 18072"/>
              <a:gd name="connsiteX9" fmla="*/ 13912 w 19622"/>
              <a:gd name="connsiteY9" fmla="*/ 17031 h 18072"/>
              <a:gd name="connsiteX10" fmla="*/ 15619 w 19622"/>
              <a:gd name="connsiteY10" fmla="*/ 16855 h 18072"/>
              <a:gd name="connsiteX11" fmla="*/ 19106 w 19622"/>
              <a:gd name="connsiteY11" fmla="*/ 15924 h 18072"/>
              <a:gd name="connsiteX12" fmla="*/ 19594 w 19622"/>
              <a:gd name="connsiteY12" fmla="*/ 10685 h 18072"/>
              <a:gd name="connsiteX13" fmla="*/ 19347 w 19622"/>
              <a:gd name="connsiteY13" fmla="*/ 8393 h 18072"/>
              <a:gd name="connsiteX14" fmla="*/ 18963 w 19622"/>
              <a:gd name="connsiteY14" fmla="*/ 3401 h 18072"/>
              <a:gd name="connsiteX15" fmla="*/ 15213 w 19622"/>
              <a:gd name="connsiteY15" fmla="*/ 859 h 18072"/>
              <a:gd name="connsiteX16" fmla="*/ 11479 w 19622"/>
              <a:gd name="connsiteY16" fmla="*/ 23 h 18072"/>
              <a:gd name="connsiteX0" fmla="*/ 11479 w 19599"/>
              <a:gd name="connsiteY0" fmla="*/ 23 h 18072"/>
              <a:gd name="connsiteX1" fmla="*/ 5717 w 19599"/>
              <a:gd name="connsiteY1" fmla="*/ 1085 h 18072"/>
              <a:gd name="connsiteX2" fmla="*/ 1234 w 19599"/>
              <a:gd name="connsiteY2" fmla="*/ 5155 h 18072"/>
              <a:gd name="connsiteX3" fmla="*/ 50 w 19599"/>
              <a:gd name="connsiteY3" fmla="*/ 9089 h 18072"/>
              <a:gd name="connsiteX4" fmla="*/ 367 w 19599"/>
              <a:gd name="connsiteY4" fmla="*/ 13412 h 18072"/>
              <a:gd name="connsiteX5" fmla="*/ 1961 w 19599"/>
              <a:gd name="connsiteY5" fmla="*/ 16736 h 18072"/>
              <a:gd name="connsiteX6" fmla="*/ 6196 w 19599"/>
              <a:gd name="connsiteY6" fmla="*/ 17438 h 18072"/>
              <a:gd name="connsiteX7" fmla="*/ 8646 w 19599"/>
              <a:gd name="connsiteY7" fmla="*/ 17760 h 18072"/>
              <a:gd name="connsiteX8" fmla="*/ 11014 w 19599"/>
              <a:gd name="connsiteY8" fmla="*/ 18044 h 18072"/>
              <a:gd name="connsiteX9" fmla="*/ 13912 w 19599"/>
              <a:gd name="connsiteY9" fmla="*/ 17031 h 18072"/>
              <a:gd name="connsiteX10" fmla="*/ 15619 w 19599"/>
              <a:gd name="connsiteY10" fmla="*/ 16855 h 18072"/>
              <a:gd name="connsiteX11" fmla="*/ 19106 w 19599"/>
              <a:gd name="connsiteY11" fmla="*/ 15924 h 18072"/>
              <a:gd name="connsiteX12" fmla="*/ 19594 w 19599"/>
              <a:gd name="connsiteY12" fmla="*/ 10685 h 18072"/>
              <a:gd name="connsiteX13" fmla="*/ 19347 w 19599"/>
              <a:gd name="connsiteY13" fmla="*/ 8393 h 18072"/>
              <a:gd name="connsiteX14" fmla="*/ 18963 w 19599"/>
              <a:gd name="connsiteY14" fmla="*/ 3401 h 18072"/>
              <a:gd name="connsiteX15" fmla="*/ 15213 w 19599"/>
              <a:gd name="connsiteY15" fmla="*/ 859 h 18072"/>
              <a:gd name="connsiteX16" fmla="*/ 11479 w 19599"/>
              <a:gd name="connsiteY16" fmla="*/ 23 h 18072"/>
              <a:gd name="connsiteX0" fmla="*/ 11479 w 19643"/>
              <a:gd name="connsiteY0" fmla="*/ 23 h 18072"/>
              <a:gd name="connsiteX1" fmla="*/ 5717 w 19643"/>
              <a:gd name="connsiteY1" fmla="*/ 1085 h 18072"/>
              <a:gd name="connsiteX2" fmla="*/ 1234 w 19643"/>
              <a:gd name="connsiteY2" fmla="*/ 5155 h 18072"/>
              <a:gd name="connsiteX3" fmla="*/ 50 w 19643"/>
              <a:gd name="connsiteY3" fmla="*/ 9089 h 18072"/>
              <a:gd name="connsiteX4" fmla="*/ 367 w 19643"/>
              <a:gd name="connsiteY4" fmla="*/ 13412 h 18072"/>
              <a:gd name="connsiteX5" fmla="*/ 1961 w 19643"/>
              <a:gd name="connsiteY5" fmla="*/ 16736 h 18072"/>
              <a:gd name="connsiteX6" fmla="*/ 6196 w 19643"/>
              <a:gd name="connsiteY6" fmla="*/ 17438 h 18072"/>
              <a:gd name="connsiteX7" fmla="*/ 8646 w 19643"/>
              <a:gd name="connsiteY7" fmla="*/ 17760 h 18072"/>
              <a:gd name="connsiteX8" fmla="*/ 11014 w 19643"/>
              <a:gd name="connsiteY8" fmla="*/ 18044 h 18072"/>
              <a:gd name="connsiteX9" fmla="*/ 13912 w 19643"/>
              <a:gd name="connsiteY9" fmla="*/ 17031 h 18072"/>
              <a:gd name="connsiteX10" fmla="*/ 15619 w 19643"/>
              <a:gd name="connsiteY10" fmla="*/ 16855 h 18072"/>
              <a:gd name="connsiteX11" fmla="*/ 18328 w 19643"/>
              <a:gd name="connsiteY11" fmla="*/ 15791 h 18072"/>
              <a:gd name="connsiteX12" fmla="*/ 19594 w 19643"/>
              <a:gd name="connsiteY12" fmla="*/ 10685 h 18072"/>
              <a:gd name="connsiteX13" fmla="*/ 19347 w 19643"/>
              <a:gd name="connsiteY13" fmla="*/ 8393 h 18072"/>
              <a:gd name="connsiteX14" fmla="*/ 18963 w 19643"/>
              <a:gd name="connsiteY14" fmla="*/ 3401 h 18072"/>
              <a:gd name="connsiteX15" fmla="*/ 15213 w 19643"/>
              <a:gd name="connsiteY15" fmla="*/ 859 h 18072"/>
              <a:gd name="connsiteX16" fmla="*/ 11479 w 19643"/>
              <a:gd name="connsiteY16" fmla="*/ 23 h 18072"/>
              <a:gd name="connsiteX0" fmla="*/ 11479 w 19643"/>
              <a:gd name="connsiteY0" fmla="*/ 23 h 18072"/>
              <a:gd name="connsiteX1" fmla="*/ 5717 w 19643"/>
              <a:gd name="connsiteY1" fmla="*/ 1085 h 18072"/>
              <a:gd name="connsiteX2" fmla="*/ 1234 w 19643"/>
              <a:gd name="connsiteY2" fmla="*/ 5155 h 18072"/>
              <a:gd name="connsiteX3" fmla="*/ 50 w 19643"/>
              <a:gd name="connsiteY3" fmla="*/ 9089 h 18072"/>
              <a:gd name="connsiteX4" fmla="*/ 367 w 19643"/>
              <a:gd name="connsiteY4" fmla="*/ 13412 h 18072"/>
              <a:gd name="connsiteX5" fmla="*/ 1961 w 19643"/>
              <a:gd name="connsiteY5" fmla="*/ 16736 h 18072"/>
              <a:gd name="connsiteX6" fmla="*/ 6196 w 19643"/>
              <a:gd name="connsiteY6" fmla="*/ 17438 h 18072"/>
              <a:gd name="connsiteX7" fmla="*/ 8646 w 19643"/>
              <a:gd name="connsiteY7" fmla="*/ 17760 h 18072"/>
              <a:gd name="connsiteX8" fmla="*/ 11014 w 19643"/>
              <a:gd name="connsiteY8" fmla="*/ 18044 h 18072"/>
              <a:gd name="connsiteX9" fmla="*/ 13912 w 19643"/>
              <a:gd name="connsiteY9" fmla="*/ 17031 h 18072"/>
              <a:gd name="connsiteX10" fmla="*/ 15619 w 19643"/>
              <a:gd name="connsiteY10" fmla="*/ 16855 h 18072"/>
              <a:gd name="connsiteX11" fmla="*/ 18328 w 19643"/>
              <a:gd name="connsiteY11" fmla="*/ 15791 h 18072"/>
              <a:gd name="connsiteX12" fmla="*/ 19594 w 19643"/>
              <a:gd name="connsiteY12" fmla="*/ 10685 h 18072"/>
              <a:gd name="connsiteX13" fmla="*/ 19347 w 19643"/>
              <a:gd name="connsiteY13" fmla="*/ 8393 h 18072"/>
              <a:gd name="connsiteX14" fmla="*/ 18963 w 19643"/>
              <a:gd name="connsiteY14" fmla="*/ 3401 h 18072"/>
              <a:gd name="connsiteX15" fmla="*/ 15213 w 19643"/>
              <a:gd name="connsiteY15" fmla="*/ 859 h 18072"/>
              <a:gd name="connsiteX16" fmla="*/ 11479 w 19643"/>
              <a:gd name="connsiteY16" fmla="*/ 23 h 18072"/>
              <a:gd name="connsiteX0" fmla="*/ 11479 w 19597"/>
              <a:gd name="connsiteY0" fmla="*/ 23 h 18072"/>
              <a:gd name="connsiteX1" fmla="*/ 5717 w 19597"/>
              <a:gd name="connsiteY1" fmla="*/ 1085 h 18072"/>
              <a:gd name="connsiteX2" fmla="*/ 1234 w 19597"/>
              <a:gd name="connsiteY2" fmla="*/ 5155 h 18072"/>
              <a:gd name="connsiteX3" fmla="*/ 50 w 19597"/>
              <a:gd name="connsiteY3" fmla="*/ 9089 h 18072"/>
              <a:gd name="connsiteX4" fmla="*/ 367 w 19597"/>
              <a:gd name="connsiteY4" fmla="*/ 13412 h 18072"/>
              <a:gd name="connsiteX5" fmla="*/ 1961 w 19597"/>
              <a:gd name="connsiteY5" fmla="*/ 16736 h 18072"/>
              <a:gd name="connsiteX6" fmla="*/ 6196 w 19597"/>
              <a:gd name="connsiteY6" fmla="*/ 17438 h 18072"/>
              <a:gd name="connsiteX7" fmla="*/ 8646 w 19597"/>
              <a:gd name="connsiteY7" fmla="*/ 17760 h 18072"/>
              <a:gd name="connsiteX8" fmla="*/ 11014 w 19597"/>
              <a:gd name="connsiteY8" fmla="*/ 18044 h 18072"/>
              <a:gd name="connsiteX9" fmla="*/ 13912 w 19597"/>
              <a:gd name="connsiteY9" fmla="*/ 17031 h 18072"/>
              <a:gd name="connsiteX10" fmla="*/ 15619 w 19597"/>
              <a:gd name="connsiteY10" fmla="*/ 16855 h 18072"/>
              <a:gd name="connsiteX11" fmla="*/ 19152 w 19597"/>
              <a:gd name="connsiteY11" fmla="*/ 15924 h 18072"/>
              <a:gd name="connsiteX12" fmla="*/ 19594 w 19597"/>
              <a:gd name="connsiteY12" fmla="*/ 10685 h 18072"/>
              <a:gd name="connsiteX13" fmla="*/ 19347 w 19597"/>
              <a:gd name="connsiteY13" fmla="*/ 8393 h 18072"/>
              <a:gd name="connsiteX14" fmla="*/ 18963 w 19597"/>
              <a:gd name="connsiteY14" fmla="*/ 3401 h 18072"/>
              <a:gd name="connsiteX15" fmla="*/ 15213 w 19597"/>
              <a:gd name="connsiteY15" fmla="*/ 859 h 18072"/>
              <a:gd name="connsiteX16" fmla="*/ 11479 w 19597"/>
              <a:gd name="connsiteY16" fmla="*/ 23 h 18072"/>
              <a:gd name="connsiteX0" fmla="*/ 11479 w 19468"/>
              <a:gd name="connsiteY0" fmla="*/ 23 h 18072"/>
              <a:gd name="connsiteX1" fmla="*/ 5717 w 19468"/>
              <a:gd name="connsiteY1" fmla="*/ 1085 h 18072"/>
              <a:gd name="connsiteX2" fmla="*/ 1234 w 19468"/>
              <a:gd name="connsiteY2" fmla="*/ 5155 h 18072"/>
              <a:gd name="connsiteX3" fmla="*/ 50 w 19468"/>
              <a:gd name="connsiteY3" fmla="*/ 9089 h 18072"/>
              <a:gd name="connsiteX4" fmla="*/ 367 w 19468"/>
              <a:gd name="connsiteY4" fmla="*/ 13412 h 18072"/>
              <a:gd name="connsiteX5" fmla="*/ 1961 w 19468"/>
              <a:gd name="connsiteY5" fmla="*/ 16736 h 18072"/>
              <a:gd name="connsiteX6" fmla="*/ 6196 w 19468"/>
              <a:gd name="connsiteY6" fmla="*/ 17438 h 18072"/>
              <a:gd name="connsiteX7" fmla="*/ 8646 w 19468"/>
              <a:gd name="connsiteY7" fmla="*/ 17760 h 18072"/>
              <a:gd name="connsiteX8" fmla="*/ 11014 w 19468"/>
              <a:gd name="connsiteY8" fmla="*/ 18044 h 18072"/>
              <a:gd name="connsiteX9" fmla="*/ 13912 w 19468"/>
              <a:gd name="connsiteY9" fmla="*/ 17031 h 18072"/>
              <a:gd name="connsiteX10" fmla="*/ 15619 w 19468"/>
              <a:gd name="connsiteY10" fmla="*/ 16855 h 18072"/>
              <a:gd name="connsiteX11" fmla="*/ 19152 w 19468"/>
              <a:gd name="connsiteY11" fmla="*/ 15924 h 18072"/>
              <a:gd name="connsiteX12" fmla="*/ 19319 w 19468"/>
              <a:gd name="connsiteY12" fmla="*/ 12038 h 18072"/>
              <a:gd name="connsiteX13" fmla="*/ 19347 w 19468"/>
              <a:gd name="connsiteY13" fmla="*/ 8393 h 18072"/>
              <a:gd name="connsiteX14" fmla="*/ 18963 w 19468"/>
              <a:gd name="connsiteY14" fmla="*/ 3401 h 18072"/>
              <a:gd name="connsiteX15" fmla="*/ 15213 w 19468"/>
              <a:gd name="connsiteY15" fmla="*/ 859 h 18072"/>
              <a:gd name="connsiteX16" fmla="*/ 11479 w 19468"/>
              <a:gd name="connsiteY16" fmla="*/ 23 h 18072"/>
              <a:gd name="connsiteX0" fmla="*/ 11470 w 19459"/>
              <a:gd name="connsiteY0" fmla="*/ 23 h 18072"/>
              <a:gd name="connsiteX1" fmla="*/ 5708 w 19459"/>
              <a:gd name="connsiteY1" fmla="*/ 1085 h 18072"/>
              <a:gd name="connsiteX2" fmla="*/ 1225 w 19459"/>
              <a:gd name="connsiteY2" fmla="*/ 5155 h 18072"/>
              <a:gd name="connsiteX3" fmla="*/ 41 w 19459"/>
              <a:gd name="connsiteY3" fmla="*/ 9089 h 18072"/>
              <a:gd name="connsiteX4" fmla="*/ 358 w 19459"/>
              <a:gd name="connsiteY4" fmla="*/ 13412 h 18072"/>
              <a:gd name="connsiteX5" fmla="*/ 1494 w 19459"/>
              <a:gd name="connsiteY5" fmla="*/ 15993 h 18072"/>
              <a:gd name="connsiteX6" fmla="*/ 6187 w 19459"/>
              <a:gd name="connsiteY6" fmla="*/ 17438 h 18072"/>
              <a:gd name="connsiteX7" fmla="*/ 8637 w 19459"/>
              <a:gd name="connsiteY7" fmla="*/ 17760 h 18072"/>
              <a:gd name="connsiteX8" fmla="*/ 11005 w 19459"/>
              <a:gd name="connsiteY8" fmla="*/ 18044 h 18072"/>
              <a:gd name="connsiteX9" fmla="*/ 13903 w 19459"/>
              <a:gd name="connsiteY9" fmla="*/ 17031 h 18072"/>
              <a:gd name="connsiteX10" fmla="*/ 15610 w 19459"/>
              <a:gd name="connsiteY10" fmla="*/ 16855 h 18072"/>
              <a:gd name="connsiteX11" fmla="*/ 19143 w 19459"/>
              <a:gd name="connsiteY11" fmla="*/ 15924 h 18072"/>
              <a:gd name="connsiteX12" fmla="*/ 19310 w 19459"/>
              <a:gd name="connsiteY12" fmla="*/ 12038 h 18072"/>
              <a:gd name="connsiteX13" fmla="*/ 19338 w 19459"/>
              <a:gd name="connsiteY13" fmla="*/ 8393 h 18072"/>
              <a:gd name="connsiteX14" fmla="*/ 18954 w 19459"/>
              <a:gd name="connsiteY14" fmla="*/ 3401 h 18072"/>
              <a:gd name="connsiteX15" fmla="*/ 15204 w 19459"/>
              <a:gd name="connsiteY15" fmla="*/ 859 h 18072"/>
              <a:gd name="connsiteX16" fmla="*/ 11470 w 19459"/>
              <a:gd name="connsiteY16" fmla="*/ 23 h 18072"/>
              <a:gd name="connsiteX0" fmla="*/ 11470 w 19459"/>
              <a:gd name="connsiteY0" fmla="*/ 23 h 18072"/>
              <a:gd name="connsiteX1" fmla="*/ 5708 w 19459"/>
              <a:gd name="connsiteY1" fmla="*/ 1085 h 18072"/>
              <a:gd name="connsiteX2" fmla="*/ 1225 w 19459"/>
              <a:gd name="connsiteY2" fmla="*/ 5155 h 18072"/>
              <a:gd name="connsiteX3" fmla="*/ 41 w 19459"/>
              <a:gd name="connsiteY3" fmla="*/ 9089 h 18072"/>
              <a:gd name="connsiteX4" fmla="*/ 358 w 19459"/>
              <a:gd name="connsiteY4" fmla="*/ 13412 h 18072"/>
              <a:gd name="connsiteX5" fmla="*/ 1494 w 19459"/>
              <a:gd name="connsiteY5" fmla="*/ 15993 h 18072"/>
              <a:gd name="connsiteX6" fmla="*/ 6187 w 19459"/>
              <a:gd name="connsiteY6" fmla="*/ 17438 h 18072"/>
              <a:gd name="connsiteX7" fmla="*/ 8637 w 19459"/>
              <a:gd name="connsiteY7" fmla="*/ 17760 h 18072"/>
              <a:gd name="connsiteX8" fmla="*/ 11005 w 19459"/>
              <a:gd name="connsiteY8" fmla="*/ 18044 h 18072"/>
              <a:gd name="connsiteX9" fmla="*/ 13903 w 19459"/>
              <a:gd name="connsiteY9" fmla="*/ 17031 h 18072"/>
              <a:gd name="connsiteX10" fmla="*/ 15610 w 19459"/>
              <a:gd name="connsiteY10" fmla="*/ 16855 h 18072"/>
              <a:gd name="connsiteX11" fmla="*/ 19143 w 19459"/>
              <a:gd name="connsiteY11" fmla="*/ 15924 h 18072"/>
              <a:gd name="connsiteX12" fmla="*/ 19310 w 19459"/>
              <a:gd name="connsiteY12" fmla="*/ 12038 h 18072"/>
              <a:gd name="connsiteX13" fmla="*/ 19338 w 19459"/>
              <a:gd name="connsiteY13" fmla="*/ 8393 h 18072"/>
              <a:gd name="connsiteX14" fmla="*/ 18954 w 19459"/>
              <a:gd name="connsiteY14" fmla="*/ 3401 h 18072"/>
              <a:gd name="connsiteX15" fmla="*/ 15204 w 19459"/>
              <a:gd name="connsiteY15" fmla="*/ 859 h 18072"/>
              <a:gd name="connsiteX16" fmla="*/ 11470 w 19459"/>
              <a:gd name="connsiteY16" fmla="*/ 23 h 18072"/>
              <a:gd name="connsiteX0" fmla="*/ 11465 w 19454"/>
              <a:gd name="connsiteY0" fmla="*/ 23 h 18072"/>
              <a:gd name="connsiteX1" fmla="*/ 5703 w 19454"/>
              <a:gd name="connsiteY1" fmla="*/ 1085 h 18072"/>
              <a:gd name="connsiteX2" fmla="*/ 1220 w 19454"/>
              <a:gd name="connsiteY2" fmla="*/ 5155 h 18072"/>
              <a:gd name="connsiteX3" fmla="*/ 36 w 19454"/>
              <a:gd name="connsiteY3" fmla="*/ 9089 h 18072"/>
              <a:gd name="connsiteX4" fmla="*/ 353 w 19454"/>
              <a:gd name="connsiteY4" fmla="*/ 13412 h 18072"/>
              <a:gd name="connsiteX5" fmla="*/ 1192 w 19454"/>
              <a:gd name="connsiteY5" fmla="*/ 15940 h 18072"/>
              <a:gd name="connsiteX6" fmla="*/ 6182 w 19454"/>
              <a:gd name="connsiteY6" fmla="*/ 17438 h 18072"/>
              <a:gd name="connsiteX7" fmla="*/ 8632 w 19454"/>
              <a:gd name="connsiteY7" fmla="*/ 17760 h 18072"/>
              <a:gd name="connsiteX8" fmla="*/ 11000 w 19454"/>
              <a:gd name="connsiteY8" fmla="*/ 18044 h 18072"/>
              <a:gd name="connsiteX9" fmla="*/ 13898 w 19454"/>
              <a:gd name="connsiteY9" fmla="*/ 17031 h 18072"/>
              <a:gd name="connsiteX10" fmla="*/ 15605 w 19454"/>
              <a:gd name="connsiteY10" fmla="*/ 16855 h 18072"/>
              <a:gd name="connsiteX11" fmla="*/ 19138 w 19454"/>
              <a:gd name="connsiteY11" fmla="*/ 15924 h 18072"/>
              <a:gd name="connsiteX12" fmla="*/ 19305 w 19454"/>
              <a:gd name="connsiteY12" fmla="*/ 12038 h 18072"/>
              <a:gd name="connsiteX13" fmla="*/ 19333 w 19454"/>
              <a:gd name="connsiteY13" fmla="*/ 8393 h 18072"/>
              <a:gd name="connsiteX14" fmla="*/ 18949 w 19454"/>
              <a:gd name="connsiteY14" fmla="*/ 3401 h 18072"/>
              <a:gd name="connsiteX15" fmla="*/ 15199 w 19454"/>
              <a:gd name="connsiteY15" fmla="*/ 859 h 18072"/>
              <a:gd name="connsiteX16" fmla="*/ 11465 w 19454"/>
              <a:gd name="connsiteY16" fmla="*/ 23 h 18072"/>
              <a:gd name="connsiteX0" fmla="*/ 11465 w 19454"/>
              <a:gd name="connsiteY0" fmla="*/ 23 h 18091"/>
              <a:gd name="connsiteX1" fmla="*/ 5703 w 19454"/>
              <a:gd name="connsiteY1" fmla="*/ 1085 h 18091"/>
              <a:gd name="connsiteX2" fmla="*/ 1220 w 19454"/>
              <a:gd name="connsiteY2" fmla="*/ 5155 h 18091"/>
              <a:gd name="connsiteX3" fmla="*/ 36 w 19454"/>
              <a:gd name="connsiteY3" fmla="*/ 9089 h 18091"/>
              <a:gd name="connsiteX4" fmla="*/ 353 w 19454"/>
              <a:gd name="connsiteY4" fmla="*/ 13412 h 18091"/>
              <a:gd name="connsiteX5" fmla="*/ 1192 w 19454"/>
              <a:gd name="connsiteY5" fmla="*/ 15940 h 18091"/>
              <a:gd name="connsiteX6" fmla="*/ 6228 w 19454"/>
              <a:gd name="connsiteY6" fmla="*/ 16324 h 18091"/>
              <a:gd name="connsiteX7" fmla="*/ 8632 w 19454"/>
              <a:gd name="connsiteY7" fmla="*/ 17760 h 18091"/>
              <a:gd name="connsiteX8" fmla="*/ 11000 w 19454"/>
              <a:gd name="connsiteY8" fmla="*/ 18044 h 18091"/>
              <a:gd name="connsiteX9" fmla="*/ 13898 w 19454"/>
              <a:gd name="connsiteY9" fmla="*/ 17031 h 18091"/>
              <a:gd name="connsiteX10" fmla="*/ 15605 w 19454"/>
              <a:gd name="connsiteY10" fmla="*/ 16855 h 18091"/>
              <a:gd name="connsiteX11" fmla="*/ 19138 w 19454"/>
              <a:gd name="connsiteY11" fmla="*/ 15924 h 18091"/>
              <a:gd name="connsiteX12" fmla="*/ 19305 w 19454"/>
              <a:gd name="connsiteY12" fmla="*/ 12038 h 18091"/>
              <a:gd name="connsiteX13" fmla="*/ 19333 w 19454"/>
              <a:gd name="connsiteY13" fmla="*/ 8393 h 18091"/>
              <a:gd name="connsiteX14" fmla="*/ 18949 w 19454"/>
              <a:gd name="connsiteY14" fmla="*/ 3401 h 18091"/>
              <a:gd name="connsiteX15" fmla="*/ 15199 w 19454"/>
              <a:gd name="connsiteY15" fmla="*/ 859 h 18091"/>
              <a:gd name="connsiteX16" fmla="*/ 11465 w 19454"/>
              <a:gd name="connsiteY16" fmla="*/ 23 h 18091"/>
              <a:gd name="connsiteX0" fmla="*/ 11465 w 19454"/>
              <a:gd name="connsiteY0" fmla="*/ 23 h 18091"/>
              <a:gd name="connsiteX1" fmla="*/ 5703 w 19454"/>
              <a:gd name="connsiteY1" fmla="*/ 1085 h 18091"/>
              <a:gd name="connsiteX2" fmla="*/ 1220 w 19454"/>
              <a:gd name="connsiteY2" fmla="*/ 5155 h 18091"/>
              <a:gd name="connsiteX3" fmla="*/ 36 w 19454"/>
              <a:gd name="connsiteY3" fmla="*/ 9089 h 18091"/>
              <a:gd name="connsiteX4" fmla="*/ 353 w 19454"/>
              <a:gd name="connsiteY4" fmla="*/ 13412 h 18091"/>
              <a:gd name="connsiteX5" fmla="*/ 1192 w 19454"/>
              <a:gd name="connsiteY5" fmla="*/ 15940 h 18091"/>
              <a:gd name="connsiteX6" fmla="*/ 6228 w 19454"/>
              <a:gd name="connsiteY6" fmla="*/ 16324 h 18091"/>
              <a:gd name="connsiteX7" fmla="*/ 8632 w 19454"/>
              <a:gd name="connsiteY7" fmla="*/ 17760 h 18091"/>
              <a:gd name="connsiteX8" fmla="*/ 11000 w 19454"/>
              <a:gd name="connsiteY8" fmla="*/ 18044 h 18091"/>
              <a:gd name="connsiteX9" fmla="*/ 13898 w 19454"/>
              <a:gd name="connsiteY9" fmla="*/ 17031 h 18091"/>
              <a:gd name="connsiteX10" fmla="*/ 15605 w 19454"/>
              <a:gd name="connsiteY10" fmla="*/ 16855 h 18091"/>
              <a:gd name="connsiteX11" fmla="*/ 19138 w 19454"/>
              <a:gd name="connsiteY11" fmla="*/ 15924 h 18091"/>
              <a:gd name="connsiteX12" fmla="*/ 19305 w 19454"/>
              <a:gd name="connsiteY12" fmla="*/ 12038 h 18091"/>
              <a:gd name="connsiteX13" fmla="*/ 19333 w 19454"/>
              <a:gd name="connsiteY13" fmla="*/ 8393 h 18091"/>
              <a:gd name="connsiteX14" fmla="*/ 18949 w 19454"/>
              <a:gd name="connsiteY14" fmla="*/ 3401 h 18091"/>
              <a:gd name="connsiteX15" fmla="*/ 15199 w 19454"/>
              <a:gd name="connsiteY15" fmla="*/ 859 h 18091"/>
              <a:gd name="connsiteX16" fmla="*/ 11465 w 19454"/>
              <a:gd name="connsiteY16" fmla="*/ 23 h 18091"/>
              <a:gd name="connsiteX0" fmla="*/ 11465 w 19454"/>
              <a:gd name="connsiteY0" fmla="*/ 23 h 18044"/>
              <a:gd name="connsiteX1" fmla="*/ 5703 w 19454"/>
              <a:gd name="connsiteY1" fmla="*/ 1085 h 18044"/>
              <a:gd name="connsiteX2" fmla="*/ 1220 w 19454"/>
              <a:gd name="connsiteY2" fmla="*/ 5155 h 18044"/>
              <a:gd name="connsiteX3" fmla="*/ 36 w 19454"/>
              <a:gd name="connsiteY3" fmla="*/ 9089 h 18044"/>
              <a:gd name="connsiteX4" fmla="*/ 353 w 19454"/>
              <a:gd name="connsiteY4" fmla="*/ 13412 h 18044"/>
              <a:gd name="connsiteX5" fmla="*/ 1192 w 19454"/>
              <a:gd name="connsiteY5" fmla="*/ 15940 h 18044"/>
              <a:gd name="connsiteX6" fmla="*/ 6228 w 19454"/>
              <a:gd name="connsiteY6" fmla="*/ 16324 h 18044"/>
              <a:gd name="connsiteX7" fmla="*/ 8792 w 19454"/>
              <a:gd name="connsiteY7" fmla="*/ 16911 h 18044"/>
              <a:gd name="connsiteX8" fmla="*/ 11000 w 19454"/>
              <a:gd name="connsiteY8" fmla="*/ 18044 h 18044"/>
              <a:gd name="connsiteX9" fmla="*/ 13898 w 19454"/>
              <a:gd name="connsiteY9" fmla="*/ 17031 h 18044"/>
              <a:gd name="connsiteX10" fmla="*/ 15605 w 19454"/>
              <a:gd name="connsiteY10" fmla="*/ 16855 h 18044"/>
              <a:gd name="connsiteX11" fmla="*/ 19138 w 19454"/>
              <a:gd name="connsiteY11" fmla="*/ 15924 h 18044"/>
              <a:gd name="connsiteX12" fmla="*/ 19305 w 19454"/>
              <a:gd name="connsiteY12" fmla="*/ 12038 h 18044"/>
              <a:gd name="connsiteX13" fmla="*/ 19333 w 19454"/>
              <a:gd name="connsiteY13" fmla="*/ 8393 h 18044"/>
              <a:gd name="connsiteX14" fmla="*/ 18949 w 19454"/>
              <a:gd name="connsiteY14" fmla="*/ 3401 h 18044"/>
              <a:gd name="connsiteX15" fmla="*/ 15199 w 19454"/>
              <a:gd name="connsiteY15" fmla="*/ 859 h 18044"/>
              <a:gd name="connsiteX16" fmla="*/ 11465 w 19454"/>
              <a:gd name="connsiteY16" fmla="*/ 23 h 18044"/>
              <a:gd name="connsiteX0" fmla="*/ 11465 w 19454"/>
              <a:gd name="connsiteY0" fmla="*/ 23 h 17034"/>
              <a:gd name="connsiteX1" fmla="*/ 5703 w 19454"/>
              <a:gd name="connsiteY1" fmla="*/ 1085 h 17034"/>
              <a:gd name="connsiteX2" fmla="*/ 1220 w 19454"/>
              <a:gd name="connsiteY2" fmla="*/ 5155 h 17034"/>
              <a:gd name="connsiteX3" fmla="*/ 36 w 19454"/>
              <a:gd name="connsiteY3" fmla="*/ 9089 h 17034"/>
              <a:gd name="connsiteX4" fmla="*/ 353 w 19454"/>
              <a:gd name="connsiteY4" fmla="*/ 13412 h 17034"/>
              <a:gd name="connsiteX5" fmla="*/ 1192 w 19454"/>
              <a:gd name="connsiteY5" fmla="*/ 15940 h 17034"/>
              <a:gd name="connsiteX6" fmla="*/ 6228 w 19454"/>
              <a:gd name="connsiteY6" fmla="*/ 16324 h 17034"/>
              <a:gd name="connsiteX7" fmla="*/ 8792 w 19454"/>
              <a:gd name="connsiteY7" fmla="*/ 16911 h 17034"/>
              <a:gd name="connsiteX8" fmla="*/ 11183 w 19454"/>
              <a:gd name="connsiteY8" fmla="*/ 16797 h 17034"/>
              <a:gd name="connsiteX9" fmla="*/ 13898 w 19454"/>
              <a:gd name="connsiteY9" fmla="*/ 17031 h 17034"/>
              <a:gd name="connsiteX10" fmla="*/ 15605 w 19454"/>
              <a:gd name="connsiteY10" fmla="*/ 16855 h 17034"/>
              <a:gd name="connsiteX11" fmla="*/ 19138 w 19454"/>
              <a:gd name="connsiteY11" fmla="*/ 15924 h 17034"/>
              <a:gd name="connsiteX12" fmla="*/ 19305 w 19454"/>
              <a:gd name="connsiteY12" fmla="*/ 12038 h 17034"/>
              <a:gd name="connsiteX13" fmla="*/ 19333 w 19454"/>
              <a:gd name="connsiteY13" fmla="*/ 8393 h 17034"/>
              <a:gd name="connsiteX14" fmla="*/ 18949 w 19454"/>
              <a:gd name="connsiteY14" fmla="*/ 3401 h 17034"/>
              <a:gd name="connsiteX15" fmla="*/ 15199 w 19454"/>
              <a:gd name="connsiteY15" fmla="*/ 859 h 17034"/>
              <a:gd name="connsiteX16" fmla="*/ 11465 w 19454"/>
              <a:gd name="connsiteY16" fmla="*/ 23 h 17034"/>
              <a:gd name="connsiteX0" fmla="*/ 11465 w 19454"/>
              <a:gd name="connsiteY0" fmla="*/ 23 h 16937"/>
              <a:gd name="connsiteX1" fmla="*/ 5703 w 19454"/>
              <a:gd name="connsiteY1" fmla="*/ 1085 h 16937"/>
              <a:gd name="connsiteX2" fmla="*/ 1220 w 19454"/>
              <a:gd name="connsiteY2" fmla="*/ 5155 h 16937"/>
              <a:gd name="connsiteX3" fmla="*/ 36 w 19454"/>
              <a:gd name="connsiteY3" fmla="*/ 9089 h 16937"/>
              <a:gd name="connsiteX4" fmla="*/ 353 w 19454"/>
              <a:gd name="connsiteY4" fmla="*/ 13412 h 16937"/>
              <a:gd name="connsiteX5" fmla="*/ 1192 w 19454"/>
              <a:gd name="connsiteY5" fmla="*/ 15940 h 16937"/>
              <a:gd name="connsiteX6" fmla="*/ 6228 w 19454"/>
              <a:gd name="connsiteY6" fmla="*/ 16324 h 16937"/>
              <a:gd name="connsiteX7" fmla="*/ 8792 w 19454"/>
              <a:gd name="connsiteY7" fmla="*/ 16911 h 16937"/>
              <a:gd name="connsiteX8" fmla="*/ 11183 w 19454"/>
              <a:gd name="connsiteY8" fmla="*/ 16797 h 16937"/>
              <a:gd name="connsiteX9" fmla="*/ 13806 w 19454"/>
              <a:gd name="connsiteY9" fmla="*/ 16448 h 16937"/>
              <a:gd name="connsiteX10" fmla="*/ 15605 w 19454"/>
              <a:gd name="connsiteY10" fmla="*/ 16855 h 16937"/>
              <a:gd name="connsiteX11" fmla="*/ 19138 w 19454"/>
              <a:gd name="connsiteY11" fmla="*/ 15924 h 16937"/>
              <a:gd name="connsiteX12" fmla="*/ 19305 w 19454"/>
              <a:gd name="connsiteY12" fmla="*/ 12038 h 16937"/>
              <a:gd name="connsiteX13" fmla="*/ 19333 w 19454"/>
              <a:gd name="connsiteY13" fmla="*/ 8393 h 16937"/>
              <a:gd name="connsiteX14" fmla="*/ 18949 w 19454"/>
              <a:gd name="connsiteY14" fmla="*/ 3401 h 16937"/>
              <a:gd name="connsiteX15" fmla="*/ 15199 w 19454"/>
              <a:gd name="connsiteY15" fmla="*/ 859 h 16937"/>
              <a:gd name="connsiteX16" fmla="*/ 11465 w 19454"/>
              <a:gd name="connsiteY16" fmla="*/ 23 h 16937"/>
              <a:gd name="connsiteX0" fmla="*/ 11465 w 19445"/>
              <a:gd name="connsiteY0" fmla="*/ 23 h 16937"/>
              <a:gd name="connsiteX1" fmla="*/ 5703 w 19445"/>
              <a:gd name="connsiteY1" fmla="*/ 1085 h 16937"/>
              <a:gd name="connsiteX2" fmla="*/ 1220 w 19445"/>
              <a:gd name="connsiteY2" fmla="*/ 5155 h 16937"/>
              <a:gd name="connsiteX3" fmla="*/ 36 w 19445"/>
              <a:gd name="connsiteY3" fmla="*/ 9089 h 16937"/>
              <a:gd name="connsiteX4" fmla="*/ 353 w 19445"/>
              <a:gd name="connsiteY4" fmla="*/ 13412 h 16937"/>
              <a:gd name="connsiteX5" fmla="*/ 1192 w 19445"/>
              <a:gd name="connsiteY5" fmla="*/ 15940 h 16937"/>
              <a:gd name="connsiteX6" fmla="*/ 6228 w 19445"/>
              <a:gd name="connsiteY6" fmla="*/ 16324 h 16937"/>
              <a:gd name="connsiteX7" fmla="*/ 8792 w 19445"/>
              <a:gd name="connsiteY7" fmla="*/ 16911 h 16937"/>
              <a:gd name="connsiteX8" fmla="*/ 11183 w 19445"/>
              <a:gd name="connsiteY8" fmla="*/ 16797 h 16937"/>
              <a:gd name="connsiteX9" fmla="*/ 13806 w 19445"/>
              <a:gd name="connsiteY9" fmla="*/ 16448 h 16937"/>
              <a:gd name="connsiteX10" fmla="*/ 15719 w 19445"/>
              <a:gd name="connsiteY10" fmla="*/ 16033 h 16937"/>
              <a:gd name="connsiteX11" fmla="*/ 19138 w 19445"/>
              <a:gd name="connsiteY11" fmla="*/ 15924 h 16937"/>
              <a:gd name="connsiteX12" fmla="*/ 19305 w 19445"/>
              <a:gd name="connsiteY12" fmla="*/ 12038 h 16937"/>
              <a:gd name="connsiteX13" fmla="*/ 19333 w 19445"/>
              <a:gd name="connsiteY13" fmla="*/ 8393 h 16937"/>
              <a:gd name="connsiteX14" fmla="*/ 18949 w 19445"/>
              <a:gd name="connsiteY14" fmla="*/ 3401 h 16937"/>
              <a:gd name="connsiteX15" fmla="*/ 15199 w 19445"/>
              <a:gd name="connsiteY15" fmla="*/ 859 h 16937"/>
              <a:gd name="connsiteX16" fmla="*/ 11465 w 19445"/>
              <a:gd name="connsiteY16" fmla="*/ 23 h 16937"/>
              <a:gd name="connsiteX0" fmla="*/ 11465 w 19445"/>
              <a:gd name="connsiteY0" fmla="*/ 23 h 16953"/>
              <a:gd name="connsiteX1" fmla="*/ 5703 w 19445"/>
              <a:gd name="connsiteY1" fmla="*/ 1085 h 16953"/>
              <a:gd name="connsiteX2" fmla="*/ 1220 w 19445"/>
              <a:gd name="connsiteY2" fmla="*/ 5155 h 16953"/>
              <a:gd name="connsiteX3" fmla="*/ 36 w 19445"/>
              <a:gd name="connsiteY3" fmla="*/ 9089 h 16953"/>
              <a:gd name="connsiteX4" fmla="*/ 353 w 19445"/>
              <a:gd name="connsiteY4" fmla="*/ 13412 h 16953"/>
              <a:gd name="connsiteX5" fmla="*/ 1192 w 19445"/>
              <a:gd name="connsiteY5" fmla="*/ 15940 h 16953"/>
              <a:gd name="connsiteX6" fmla="*/ 6228 w 19445"/>
              <a:gd name="connsiteY6" fmla="*/ 16324 h 16953"/>
              <a:gd name="connsiteX7" fmla="*/ 8792 w 19445"/>
              <a:gd name="connsiteY7" fmla="*/ 16911 h 16953"/>
              <a:gd name="connsiteX8" fmla="*/ 11183 w 19445"/>
              <a:gd name="connsiteY8" fmla="*/ 16797 h 16953"/>
              <a:gd name="connsiteX9" fmla="*/ 13806 w 19445"/>
              <a:gd name="connsiteY9" fmla="*/ 15918 h 16953"/>
              <a:gd name="connsiteX10" fmla="*/ 15719 w 19445"/>
              <a:gd name="connsiteY10" fmla="*/ 16033 h 16953"/>
              <a:gd name="connsiteX11" fmla="*/ 19138 w 19445"/>
              <a:gd name="connsiteY11" fmla="*/ 15924 h 16953"/>
              <a:gd name="connsiteX12" fmla="*/ 19305 w 19445"/>
              <a:gd name="connsiteY12" fmla="*/ 12038 h 16953"/>
              <a:gd name="connsiteX13" fmla="*/ 19333 w 19445"/>
              <a:gd name="connsiteY13" fmla="*/ 8393 h 16953"/>
              <a:gd name="connsiteX14" fmla="*/ 18949 w 19445"/>
              <a:gd name="connsiteY14" fmla="*/ 3401 h 16953"/>
              <a:gd name="connsiteX15" fmla="*/ 15199 w 19445"/>
              <a:gd name="connsiteY15" fmla="*/ 859 h 16953"/>
              <a:gd name="connsiteX16" fmla="*/ 11465 w 19445"/>
              <a:gd name="connsiteY16" fmla="*/ 23 h 16953"/>
              <a:gd name="connsiteX0" fmla="*/ 11465 w 19445"/>
              <a:gd name="connsiteY0" fmla="*/ 23 h 16917"/>
              <a:gd name="connsiteX1" fmla="*/ 5703 w 19445"/>
              <a:gd name="connsiteY1" fmla="*/ 1085 h 16917"/>
              <a:gd name="connsiteX2" fmla="*/ 1220 w 19445"/>
              <a:gd name="connsiteY2" fmla="*/ 5155 h 16917"/>
              <a:gd name="connsiteX3" fmla="*/ 36 w 19445"/>
              <a:gd name="connsiteY3" fmla="*/ 9089 h 16917"/>
              <a:gd name="connsiteX4" fmla="*/ 353 w 19445"/>
              <a:gd name="connsiteY4" fmla="*/ 13412 h 16917"/>
              <a:gd name="connsiteX5" fmla="*/ 1192 w 19445"/>
              <a:gd name="connsiteY5" fmla="*/ 15940 h 16917"/>
              <a:gd name="connsiteX6" fmla="*/ 6228 w 19445"/>
              <a:gd name="connsiteY6" fmla="*/ 16324 h 16917"/>
              <a:gd name="connsiteX7" fmla="*/ 8792 w 19445"/>
              <a:gd name="connsiteY7" fmla="*/ 16911 h 16917"/>
              <a:gd name="connsiteX8" fmla="*/ 11000 w 19445"/>
              <a:gd name="connsiteY8" fmla="*/ 15895 h 16917"/>
              <a:gd name="connsiteX9" fmla="*/ 13806 w 19445"/>
              <a:gd name="connsiteY9" fmla="*/ 15918 h 16917"/>
              <a:gd name="connsiteX10" fmla="*/ 15719 w 19445"/>
              <a:gd name="connsiteY10" fmla="*/ 16033 h 16917"/>
              <a:gd name="connsiteX11" fmla="*/ 19138 w 19445"/>
              <a:gd name="connsiteY11" fmla="*/ 15924 h 16917"/>
              <a:gd name="connsiteX12" fmla="*/ 19305 w 19445"/>
              <a:gd name="connsiteY12" fmla="*/ 12038 h 16917"/>
              <a:gd name="connsiteX13" fmla="*/ 19333 w 19445"/>
              <a:gd name="connsiteY13" fmla="*/ 8393 h 16917"/>
              <a:gd name="connsiteX14" fmla="*/ 18949 w 19445"/>
              <a:gd name="connsiteY14" fmla="*/ 3401 h 16917"/>
              <a:gd name="connsiteX15" fmla="*/ 15199 w 19445"/>
              <a:gd name="connsiteY15" fmla="*/ 859 h 16917"/>
              <a:gd name="connsiteX16" fmla="*/ 11465 w 19445"/>
              <a:gd name="connsiteY16" fmla="*/ 23 h 16917"/>
              <a:gd name="connsiteX0" fmla="*/ 11465 w 19445"/>
              <a:gd name="connsiteY0" fmla="*/ 23 h 16917"/>
              <a:gd name="connsiteX1" fmla="*/ 5703 w 19445"/>
              <a:gd name="connsiteY1" fmla="*/ 1085 h 16917"/>
              <a:gd name="connsiteX2" fmla="*/ 1220 w 19445"/>
              <a:gd name="connsiteY2" fmla="*/ 5155 h 16917"/>
              <a:gd name="connsiteX3" fmla="*/ 36 w 19445"/>
              <a:gd name="connsiteY3" fmla="*/ 9089 h 16917"/>
              <a:gd name="connsiteX4" fmla="*/ 353 w 19445"/>
              <a:gd name="connsiteY4" fmla="*/ 13412 h 16917"/>
              <a:gd name="connsiteX5" fmla="*/ 1192 w 19445"/>
              <a:gd name="connsiteY5" fmla="*/ 15940 h 16917"/>
              <a:gd name="connsiteX6" fmla="*/ 6228 w 19445"/>
              <a:gd name="connsiteY6" fmla="*/ 16324 h 16917"/>
              <a:gd name="connsiteX7" fmla="*/ 8792 w 19445"/>
              <a:gd name="connsiteY7" fmla="*/ 16911 h 16917"/>
              <a:gd name="connsiteX8" fmla="*/ 11000 w 19445"/>
              <a:gd name="connsiteY8" fmla="*/ 15895 h 16917"/>
              <a:gd name="connsiteX9" fmla="*/ 13829 w 19445"/>
              <a:gd name="connsiteY9" fmla="*/ 15573 h 16917"/>
              <a:gd name="connsiteX10" fmla="*/ 15719 w 19445"/>
              <a:gd name="connsiteY10" fmla="*/ 16033 h 16917"/>
              <a:gd name="connsiteX11" fmla="*/ 19138 w 19445"/>
              <a:gd name="connsiteY11" fmla="*/ 15924 h 16917"/>
              <a:gd name="connsiteX12" fmla="*/ 19305 w 19445"/>
              <a:gd name="connsiteY12" fmla="*/ 12038 h 16917"/>
              <a:gd name="connsiteX13" fmla="*/ 19333 w 19445"/>
              <a:gd name="connsiteY13" fmla="*/ 8393 h 16917"/>
              <a:gd name="connsiteX14" fmla="*/ 18949 w 19445"/>
              <a:gd name="connsiteY14" fmla="*/ 3401 h 16917"/>
              <a:gd name="connsiteX15" fmla="*/ 15199 w 19445"/>
              <a:gd name="connsiteY15" fmla="*/ 859 h 16917"/>
              <a:gd name="connsiteX16" fmla="*/ 11465 w 19445"/>
              <a:gd name="connsiteY16" fmla="*/ 23 h 16917"/>
              <a:gd name="connsiteX0" fmla="*/ 11465 w 19445"/>
              <a:gd name="connsiteY0" fmla="*/ 23 h 16917"/>
              <a:gd name="connsiteX1" fmla="*/ 5703 w 19445"/>
              <a:gd name="connsiteY1" fmla="*/ 1085 h 16917"/>
              <a:gd name="connsiteX2" fmla="*/ 1220 w 19445"/>
              <a:gd name="connsiteY2" fmla="*/ 5155 h 16917"/>
              <a:gd name="connsiteX3" fmla="*/ 36 w 19445"/>
              <a:gd name="connsiteY3" fmla="*/ 9089 h 16917"/>
              <a:gd name="connsiteX4" fmla="*/ 353 w 19445"/>
              <a:gd name="connsiteY4" fmla="*/ 13412 h 16917"/>
              <a:gd name="connsiteX5" fmla="*/ 1192 w 19445"/>
              <a:gd name="connsiteY5" fmla="*/ 15940 h 16917"/>
              <a:gd name="connsiteX6" fmla="*/ 6228 w 19445"/>
              <a:gd name="connsiteY6" fmla="*/ 16324 h 16917"/>
              <a:gd name="connsiteX7" fmla="*/ 8792 w 19445"/>
              <a:gd name="connsiteY7" fmla="*/ 16911 h 16917"/>
              <a:gd name="connsiteX8" fmla="*/ 11000 w 19445"/>
              <a:gd name="connsiteY8" fmla="*/ 15895 h 16917"/>
              <a:gd name="connsiteX9" fmla="*/ 13829 w 19445"/>
              <a:gd name="connsiteY9" fmla="*/ 15573 h 16917"/>
              <a:gd name="connsiteX10" fmla="*/ 15719 w 19445"/>
              <a:gd name="connsiteY10" fmla="*/ 15715 h 16917"/>
              <a:gd name="connsiteX11" fmla="*/ 19138 w 19445"/>
              <a:gd name="connsiteY11" fmla="*/ 15924 h 16917"/>
              <a:gd name="connsiteX12" fmla="*/ 19305 w 19445"/>
              <a:gd name="connsiteY12" fmla="*/ 12038 h 16917"/>
              <a:gd name="connsiteX13" fmla="*/ 19333 w 19445"/>
              <a:gd name="connsiteY13" fmla="*/ 8393 h 16917"/>
              <a:gd name="connsiteX14" fmla="*/ 18949 w 19445"/>
              <a:gd name="connsiteY14" fmla="*/ 3401 h 16917"/>
              <a:gd name="connsiteX15" fmla="*/ 15199 w 19445"/>
              <a:gd name="connsiteY15" fmla="*/ 859 h 16917"/>
              <a:gd name="connsiteX16" fmla="*/ 11465 w 19445"/>
              <a:gd name="connsiteY16" fmla="*/ 23 h 16917"/>
              <a:gd name="connsiteX0" fmla="*/ 11465 w 19390"/>
              <a:gd name="connsiteY0" fmla="*/ 23 h 16917"/>
              <a:gd name="connsiteX1" fmla="*/ 5703 w 19390"/>
              <a:gd name="connsiteY1" fmla="*/ 1085 h 16917"/>
              <a:gd name="connsiteX2" fmla="*/ 1220 w 19390"/>
              <a:gd name="connsiteY2" fmla="*/ 5155 h 16917"/>
              <a:gd name="connsiteX3" fmla="*/ 36 w 19390"/>
              <a:gd name="connsiteY3" fmla="*/ 9089 h 16917"/>
              <a:gd name="connsiteX4" fmla="*/ 353 w 19390"/>
              <a:gd name="connsiteY4" fmla="*/ 13412 h 16917"/>
              <a:gd name="connsiteX5" fmla="*/ 1192 w 19390"/>
              <a:gd name="connsiteY5" fmla="*/ 15940 h 16917"/>
              <a:gd name="connsiteX6" fmla="*/ 6228 w 19390"/>
              <a:gd name="connsiteY6" fmla="*/ 16324 h 16917"/>
              <a:gd name="connsiteX7" fmla="*/ 8792 w 19390"/>
              <a:gd name="connsiteY7" fmla="*/ 16911 h 16917"/>
              <a:gd name="connsiteX8" fmla="*/ 11000 w 19390"/>
              <a:gd name="connsiteY8" fmla="*/ 15895 h 16917"/>
              <a:gd name="connsiteX9" fmla="*/ 13829 w 19390"/>
              <a:gd name="connsiteY9" fmla="*/ 15573 h 16917"/>
              <a:gd name="connsiteX10" fmla="*/ 15719 w 19390"/>
              <a:gd name="connsiteY10" fmla="*/ 15715 h 16917"/>
              <a:gd name="connsiteX11" fmla="*/ 18543 w 19390"/>
              <a:gd name="connsiteY11" fmla="*/ 15924 h 16917"/>
              <a:gd name="connsiteX12" fmla="*/ 19305 w 19390"/>
              <a:gd name="connsiteY12" fmla="*/ 12038 h 16917"/>
              <a:gd name="connsiteX13" fmla="*/ 19333 w 19390"/>
              <a:gd name="connsiteY13" fmla="*/ 8393 h 16917"/>
              <a:gd name="connsiteX14" fmla="*/ 18949 w 19390"/>
              <a:gd name="connsiteY14" fmla="*/ 3401 h 16917"/>
              <a:gd name="connsiteX15" fmla="*/ 15199 w 19390"/>
              <a:gd name="connsiteY15" fmla="*/ 859 h 16917"/>
              <a:gd name="connsiteX16" fmla="*/ 11465 w 19390"/>
              <a:gd name="connsiteY16" fmla="*/ 23 h 16917"/>
              <a:gd name="connsiteX0" fmla="*/ 11465 w 19390"/>
              <a:gd name="connsiteY0" fmla="*/ 23 h 16917"/>
              <a:gd name="connsiteX1" fmla="*/ 5703 w 19390"/>
              <a:gd name="connsiteY1" fmla="*/ 1085 h 16917"/>
              <a:gd name="connsiteX2" fmla="*/ 1220 w 19390"/>
              <a:gd name="connsiteY2" fmla="*/ 5155 h 16917"/>
              <a:gd name="connsiteX3" fmla="*/ 36 w 19390"/>
              <a:gd name="connsiteY3" fmla="*/ 9089 h 16917"/>
              <a:gd name="connsiteX4" fmla="*/ 353 w 19390"/>
              <a:gd name="connsiteY4" fmla="*/ 13412 h 16917"/>
              <a:gd name="connsiteX5" fmla="*/ 1192 w 19390"/>
              <a:gd name="connsiteY5" fmla="*/ 15940 h 16917"/>
              <a:gd name="connsiteX6" fmla="*/ 6228 w 19390"/>
              <a:gd name="connsiteY6" fmla="*/ 16324 h 16917"/>
              <a:gd name="connsiteX7" fmla="*/ 8792 w 19390"/>
              <a:gd name="connsiteY7" fmla="*/ 16911 h 16917"/>
              <a:gd name="connsiteX8" fmla="*/ 11000 w 19390"/>
              <a:gd name="connsiteY8" fmla="*/ 15895 h 16917"/>
              <a:gd name="connsiteX9" fmla="*/ 13829 w 19390"/>
              <a:gd name="connsiteY9" fmla="*/ 15573 h 16917"/>
              <a:gd name="connsiteX10" fmla="*/ 15719 w 19390"/>
              <a:gd name="connsiteY10" fmla="*/ 15715 h 16917"/>
              <a:gd name="connsiteX11" fmla="*/ 18543 w 19390"/>
              <a:gd name="connsiteY11" fmla="*/ 15924 h 16917"/>
              <a:gd name="connsiteX12" fmla="*/ 19305 w 19390"/>
              <a:gd name="connsiteY12" fmla="*/ 12038 h 16917"/>
              <a:gd name="connsiteX13" fmla="*/ 19333 w 19390"/>
              <a:gd name="connsiteY13" fmla="*/ 8393 h 16917"/>
              <a:gd name="connsiteX14" fmla="*/ 18949 w 19390"/>
              <a:gd name="connsiteY14" fmla="*/ 3401 h 16917"/>
              <a:gd name="connsiteX15" fmla="*/ 15199 w 19390"/>
              <a:gd name="connsiteY15" fmla="*/ 859 h 16917"/>
              <a:gd name="connsiteX16" fmla="*/ 11465 w 19390"/>
              <a:gd name="connsiteY16" fmla="*/ 23 h 16917"/>
              <a:gd name="connsiteX0" fmla="*/ 11465 w 19390"/>
              <a:gd name="connsiteY0" fmla="*/ 23 h 16917"/>
              <a:gd name="connsiteX1" fmla="*/ 5703 w 19390"/>
              <a:gd name="connsiteY1" fmla="*/ 1085 h 16917"/>
              <a:gd name="connsiteX2" fmla="*/ 1220 w 19390"/>
              <a:gd name="connsiteY2" fmla="*/ 5155 h 16917"/>
              <a:gd name="connsiteX3" fmla="*/ 36 w 19390"/>
              <a:gd name="connsiteY3" fmla="*/ 9089 h 16917"/>
              <a:gd name="connsiteX4" fmla="*/ 353 w 19390"/>
              <a:gd name="connsiteY4" fmla="*/ 13412 h 16917"/>
              <a:gd name="connsiteX5" fmla="*/ 1192 w 19390"/>
              <a:gd name="connsiteY5" fmla="*/ 15940 h 16917"/>
              <a:gd name="connsiteX6" fmla="*/ 6228 w 19390"/>
              <a:gd name="connsiteY6" fmla="*/ 16324 h 16917"/>
              <a:gd name="connsiteX7" fmla="*/ 8792 w 19390"/>
              <a:gd name="connsiteY7" fmla="*/ 16911 h 16917"/>
              <a:gd name="connsiteX8" fmla="*/ 11000 w 19390"/>
              <a:gd name="connsiteY8" fmla="*/ 15895 h 16917"/>
              <a:gd name="connsiteX9" fmla="*/ 13829 w 19390"/>
              <a:gd name="connsiteY9" fmla="*/ 15573 h 16917"/>
              <a:gd name="connsiteX10" fmla="*/ 15719 w 19390"/>
              <a:gd name="connsiteY10" fmla="*/ 15715 h 16917"/>
              <a:gd name="connsiteX11" fmla="*/ 18543 w 19390"/>
              <a:gd name="connsiteY11" fmla="*/ 15924 h 16917"/>
              <a:gd name="connsiteX12" fmla="*/ 19305 w 19390"/>
              <a:gd name="connsiteY12" fmla="*/ 12038 h 16917"/>
              <a:gd name="connsiteX13" fmla="*/ 19333 w 19390"/>
              <a:gd name="connsiteY13" fmla="*/ 8393 h 16917"/>
              <a:gd name="connsiteX14" fmla="*/ 18949 w 19390"/>
              <a:gd name="connsiteY14" fmla="*/ 3401 h 16917"/>
              <a:gd name="connsiteX15" fmla="*/ 15199 w 19390"/>
              <a:gd name="connsiteY15" fmla="*/ 859 h 16917"/>
              <a:gd name="connsiteX16" fmla="*/ 11465 w 19390"/>
              <a:gd name="connsiteY16" fmla="*/ 23 h 16917"/>
              <a:gd name="connsiteX0" fmla="*/ 11465 w 19379"/>
              <a:gd name="connsiteY0" fmla="*/ 23 h 16917"/>
              <a:gd name="connsiteX1" fmla="*/ 5703 w 19379"/>
              <a:gd name="connsiteY1" fmla="*/ 1085 h 16917"/>
              <a:gd name="connsiteX2" fmla="*/ 1220 w 19379"/>
              <a:gd name="connsiteY2" fmla="*/ 5155 h 16917"/>
              <a:gd name="connsiteX3" fmla="*/ 36 w 19379"/>
              <a:gd name="connsiteY3" fmla="*/ 9089 h 16917"/>
              <a:gd name="connsiteX4" fmla="*/ 353 w 19379"/>
              <a:gd name="connsiteY4" fmla="*/ 13412 h 16917"/>
              <a:gd name="connsiteX5" fmla="*/ 1192 w 19379"/>
              <a:gd name="connsiteY5" fmla="*/ 15940 h 16917"/>
              <a:gd name="connsiteX6" fmla="*/ 6228 w 19379"/>
              <a:gd name="connsiteY6" fmla="*/ 16324 h 16917"/>
              <a:gd name="connsiteX7" fmla="*/ 8792 w 19379"/>
              <a:gd name="connsiteY7" fmla="*/ 16911 h 16917"/>
              <a:gd name="connsiteX8" fmla="*/ 11000 w 19379"/>
              <a:gd name="connsiteY8" fmla="*/ 15895 h 16917"/>
              <a:gd name="connsiteX9" fmla="*/ 13829 w 19379"/>
              <a:gd name="connsiteY9" fmla="*/ 15573 h 16917"/>
              <a:gd name="connsiteX10" fmla="*/ 15719 w 19379"/>
              <a:gd name="connsiteY10" fmla="*/ 15715 h 16917"/>
              <a:gd name="connsiteX11" fmla="*/ 18543 w 19379"/>
              <a:gd name="connsiteY11" fmla="*/ 15924 h 16917"/>
              <a:gd name="connsiteX12" fmla="*/ 19305 w 19379"/>
              <a:gd name="connsiteY12" fmla="*/ 12038 h 16917"/>
              <a:gd name="connsiteX13" fmla="*/ 19310 w 19379"/>
              <a:gd name="connsiteY13" fmla="*/ 8976 h 16917"/>
              <a:gd name="connsiteX14" fmla="*/ 18949 w 19379"/>
              <a:gd name="connsiteY14" fmla="*/ 3401 h 16917"/>
              <a:gd name="connsiteX15" fmla="*/ 15199 w 19379"/>
              <a:gd name="connsiteY15" fmla="*/ 859 h 16917"/>
              <a:gd name="connsiteX16" fmla="*/ 11465 w 19379"/>
              <a:gd name="connsiteY16" fmla="*/ 23 h 16917"/>
              <a:gd name="connsiteX0" fmla="*/ 11465 w 19372"/>
              <a:gd name="connsiteY0" fmla="*/ 23 h 16917"/>
              <a:gd name="connsiteX1" fmla="*/ 5703 w 19372"/>
              <a:gd name="connsiteY1" fmla="*/ 1085 h 16917"/>
              <a:gd name="connsiteX2" fmla="*/ 1220 w 19372"/>
              <a:gd name="connsiteY2" fmla="*/ 5155 h 16917"/>
              <a:gd name="connsiteX3" fmla="*/ 36 w 19372"/>
              <a:gd name="connsiteY3" fmla="*/ 9089 h 16917"/>
              <a:gd name="connsiteX4" fmla="*/ 353 w 19372"/>
              <a:gd name="connsiteY4" fmla="*/ 13412 h 16917"/>
              <a:gd name="connsiteX5" fmla="*/ 1192 w 19372"/>
              <a:gd name="connsiteY5" fmla="*/ 15940 h 16917"/>
              <a:gd name="connsiteX6" fmla="*/ 6228 w 19372"/>
              <a:gd name="connsiteY6" fmla="*/ 16324 h 16917"/>
              <a:gd name="connsiteX7" fmla="*/ 8792 w 19372"/>
              <a:gd name="connsiteY7" fmla="*/ 16911 h 16917"/>
              <a:gd name="connsiteX8" fmla="*/ 11000 w 19372"/>
              <a:gd name="connsiteY8" fmla="*/ 15895 h 16917"/>
              <a:gd name="connsiteX9" fmla="*/ 13829 w 19372"/>
              <a:gd name="connsiteY9" fmla="*/ 15573 h 16917"/>
              <a:gd name="connsiteX10" fmla="*/ 15719 w 19372"/>
              <a:gd name="connsiteY10" fmla="*/ 15715 h 16917"/>
              <a:gd name="connsiteX11" fmla="*/ 18543 w 19372"/>
              <a:gd name="connsiteY11" fmla="*/ 15924 h 16917"/>
              <a:gd name="connsiteX12" fmla="*/ 19305 w 19372"/>
              <a:gd name="connsiteY12" fmla="*/ 12038 h 16917"/>
              <a:gd name="connsiteX13" fmla="*/ 19310 w 19372"/>
              <a:gd name="connsiteY13" fmla="*/ 8976 h 16917"/>
              <a:gd name="connsiteX14" fmla="*/ 18949 w 19372"/>
              <a:gd name="connsiteY14" fmla="*/ 3401 h 16917"/>
              <a:gd name="connsiteX15" fmla="*/ 15199 w 19372"/>
              <a:gd name="connsiteY15" fmla="*/ 859 h 16917"/>
              <a:gd name="connsiteX16" fmla="*/ 11465 w 19372"/>
              <a:gd name="connsiteY16" fmla="*/ 23 h 16917"/>
              <a:gd name="connsiteX0" fmla="*/ 11465 w 19318"/>
              <a:gd name="connsiteY0" fmla="*/ 23 h 16917"/>
              <a:gd name="connsiteX1" fmla="*/ 5703 w 19318"/>
              <a:gd name="connsiteY1" fmla="*/ 1085 h 16917"/>
              <a:gd name="connsiteX2" fmla="*/ 1220 w 19318"/>
              <a:gd name="connsiteY2" fmla="*/ 5155 h 16917"/>
              <a:gd name="connsiteX3" fmla="*/ 36 w 19318"/>
              <a:gd name="connsiteY3" fmla="*/ 9089 h 16917"/>
              <a:gd name="connsiteX4" fmla="*/ 353 w 19318"/>
              <a:gd name="connsiteY4" fmla="*/ 13412 h 16917"/>
              <a:gd name="connsiteX5" fmla="*/ 1192 w 19318"/>
              <a:gd name="connsiteY5" fmla="*/ 15940 h 16917"/>
              <a:gd name="connsiteX6" fmla="*/ 6228 w 19318"/>
              <a:gd name="connsiteY6" fmla="*/ 16324 h 16917"/>
              <a:gd name="connsiteX7" fmla="*/ 8792 w 19318"/>
              <a:gd name="connsiteY7" fmla="*/ 16911 h 16917"/>
              <a:gd name="connsiteX8" fmla="*/ 11000 w 19318"/>
              <a:gd name="connsiteY8" fmla="*/ 15895 h 16917"/>
              <a:gd name="connsiteX9" fmla="*/ 13829 w 19318"/>
              <a:gd name="connsiteY9" fmla="*/ 15573 h 16917"/>
              <a:gd name="connsiteX10" fmla="*/ 15719 w 19318"/>
              <a:gd name="connsiteY10" fmla="*/ 15715 h 16917"/>
              <a:gd name="connsiteX11" fmla="*/ 18543 w 19318"/>
              <a:gd name="connsiteY11" fmla="*/ 15924 h 16917"/>
              <a:gd name="connsiteX12" fmla="*/ 19099 w 19318"/>
              <a:gd name="connsiteY12" fmla="*/ 12224 h 16917"/>
              <a:gd name="connsiteX13" fmla="*/ 19310 w 19318"/>
              <a:gd name="connsiteY13" fmla="*/ 8976 h 16917"/>
              <a:gd name="connsiteX14" fmla="*/ 18949 w 19318"/>
              <a:gd name="connsiteY14" fmla="*/ 3401 h 16917"/>
              <a:gd name="connsiteX15" fmla="*/ 15199 w 19318"/>
              <a:gd name="connsiteY15" fmla="*/ 859 h 16917"/>
              <a:gd name="connsiteX16" fmla="*/ 11465 w 19318"/>
              <a:gd name="connsiteY16" fmla="*/ 23 h 16917"/>
              <a:gd name="connsiteX0" fmla="*/ 11465 w 19167"/>
              <a:gd name="connsiteY0" fmla="*/ 23 h 16917"/>
              <a:gd name="connsiteX1" fmla="*/ 5703 w 19167"/>
              <a:gd name="connsiteY1" fmla="*/ 1085 h 16917"/>
              <a:gd name="connsiteX2" fmla="*/ 1220 w 19167"/>
              <a:gd name="connsiteY2" fmla="*/ 5155 h 16917"/>
              <a:gd name="connsiteX3" fmla="*/ 36 w 19167"/>
              <a:gd name="connsiteY3" fmla="*/ 9089 h 16917"/>
              <a:gd name="connsiteX4" fmla="*/ 353 w 19167"/>
              <a:gd name="connsiteY4" fmla="*/ 13412 h 16917"/>
              <a:gd name="connsiteX5" fmla="*/ 1192 w 19167"/>
              <a:gd name="connsiteY5" fmla="*/ 15940 h 16917"/>
              <a:gd name="connsiteX6" fmla="*/ 6228 w 19167"/>
              <a:gd name="connsiteY6" fmla="*/ 16324 h 16917"/>
              <a:gd name="connsiteX7" fmla="*/ 8792 w 19167"/>
              <a:gd name="connsiteY7" fmla="*/ 16911 h 16917"/>
              <a:gd name="connsiteX8" fmla="*/ 11000 w 19167"/>
              <a:gd name="connsiteY8" fmla="*/ 15895 h 16917"/>
              <a:gd name="connsiteX9" fmla="*/ 13829 w 19167"/>
              <a:gd name="connsiteY9" fmla="*/ 15573 h 16917"/>
              <a:gd name="connsiteX10" fmla="*/ 15719 w 19167"/>
              <a:gd name="connsiteY10" fmla="*/ 15715 h 16917"/>
              <a:gd name="connsiteX11" fmla="*/ 18543 w 19167"/>
              <a:gd name="connsiteY11" fmla="*/ 15924 h 16917"/>
              <a:gd name="connsiteX12" fmla="*/ 19099 w 19167"/>
              <a:gd name="connsiteY12" fmla="*/ 12224 h 16917"/>
              <a:gd name="connsiteX13" fmla="*/ 18944 w 19167"/>
              <a:gd name="connsiteY13" fmla="*/ 9029 h 16917"/>
              <a:gd name="connsiteX14" fmla="*/ 18949 w 19167"/>
              <a:gd name="connsiteY14" fmla="*/ 3401 h 16917"/>
              <a:gd name="connsiteX15" fmla="*/ 15199 w 19167"/>
              <a:gd name="connsiteY15" fmla="*/ 859 h 16917"/>
              <a:gd name="connsiteX16" fmla="*/ 11465 w 19167"/>
              <a:gd name="connsiteY16" fmla="*/ 23 h 16917"/>
              <a:gd name="connsiteX0" fmla="*/ 11465 w 19242"/>
              <a:gd name="connsiteY0" fmla="*/ 23 h 16917"/>
              <a:gd name="connsiteX1" fmla="*/ 5703 w 19242"/>
              <a:gd name="connsiteY1" fmla="*/ 1085 h 16917"/>
              <a:gd name="connsiteX2" fmla="*/ 1220 w 19242"/>
              <a:gd name="connsiteY2" fmla="*/ 5155 h 16917"/>
              <a:gd name="connsiteX3" fmla="*/ 36 w 19242"/>
              <a:gd name="connsiteY3" fmla="*/ 9089 h 16917"/>
              <a:gd name="connsiteX4" fmla="*/ 353 w 19242"/>
              <a:gd name="connsiteY4" fmla="*/ 13412 h 16917"/>
              <a:gd name="connsiteX5" fmla="*/ 1192 w 19242"/>
              <a:gd name="connsiteY5" fmla="*/ 15940 h 16917"/>
              <a:gd name="connsiteX6" fmla="*/ 6228 w 19242"/>
              <a:gd name="connsiteY6" fmla="*/ 16324 h 16917"/>
              <a:gd name="connsiteX7" fmla="*/ 8792 w 19242"/>
              <a:gd name="connsiteY7" fmla="*/ 16911 h 16917"/>
              <a:gd name="connsiteX8" fmla="*/ 11000 w 19242"/>
              <a:gd name="connsiteY8" fmla="*/ 15895 h 16917"/>
              <a:gd name="connsiteX9" fmla="*/ 13829 w 19242"/>
              <a:gd name="connsiteY9" fmla="*/ 15573 h 16917"/>
              <a:gd name="connsiteX10" fmla="*/ 15719 w 19242"/>
              <a:gd name="connsiteY10" fmla="*/ 15715 h 16917"/>
              <a:gd name="connsiteX11" fmla="*/ 18543 w 19242"/>
              <a:gd name="connsiteY11" fmla="*/ 15924 h 16917"/>
              <a:gd name="connsiteX12" fmla="*/ 19099 w 19242"/>
              <a:gd name="connsiteY12" fmla="*/ 12224 h 16917"/>
              <a:gd name="connsiteX13" fmla="*/ 19173 w 19242"/>
              <a:gd name="connsiteY13" fmla="*/ 9029 h 16917"/>
              <a:gd name="connsiteX14" fmla="*/ 18949 w 19242"/>
              <a:gd name="connsiteY14" fmla="*/ 3401 h 16917"/>
              <a:gd name="connsiteX15" fmla="*/ 15199 w 19242"/>
              <a:gd name="connsiteY15" fmla="*/ 859 h 16917"/>
              <a:gd name="connsiteX16" fmla="*/ 11465 w 19242"/>
              <a:gd name="connsiteY16" fmla="*/ 23 h 16917"/>
              <a:gd name="connsiteX0" fmla="*/ 11465 w 19188"/>
              <a:gd name="connsiteY0" fmla="*/ 23 h 16917"/>
              <a:gd name="connsiteX1" fmla="*/ 5703 w 19188"/>
              <a:gd name="connsiteY1" fmla="*/ 1085 h 16917"/>
              <a:gd name="connsiteX2" fmla="*/ 1220 w 19188"/>
              <a:gd name="connsiteY2" fmla="*/ 5155 h 16917"/>
              <a:gd name="connsiteX3" fmla="*/ 36 w 19188"/>
              <a:gd name="connsiteY3" fmla="*/ 9089 h 16917"/>
              <a:gd name="connsiteX4" fmla="*/ 353 w 19188"/>
              <a:gd name="connsiteY4" fmla="*/ 13412 h 16917"/>
              <a:gd name="connsiteX5" fmla="*/ 1192 w 19188"/>
              <a:gd name="connsiteY5" fmla="*/ 15940 h 16917"/>
              <a:gd name="connsiteX6" fmla="*/ 6228 w 19188"/>
              <a:gd name="connsiteY6" fmla="*/ 16324 h 16917"/>
              <a:gd name="connsiteX7" fmla="*/ 8792 w 19188"/>
              <a:gd name="connsiteY7" fmla="*/ 16911 h 16917"/>
              <a:gd name="connsiteX8" fmla="*/ 11000 w 19188"/>
              <a:gd name="connsiteY8" fmla="*/ 15895 h 16917"/>
              <a:gd name="connsiteX9" fmla="*/ 13829 w 19188"/>
              <a:gd name="connsiteY9" fmla="*/ 15573 h 16917"/>
              <a:gd name="connsiteX10" fmla="*/ 15719 w 19188"/>
              <a:gd name="connsiteY10" fmla="*/ 15715 h 16917"/>
              <a:gd name="connsiteX11" fmla="*/ 18543 w 19188"/>
              <a:gd name="connsiteY11" fmla="*/ 15924 h 16917"/>
              <a:gd name="connsiteX12" fmla="*/ 19099 w 19188"/>
              <a:gd name="connsiteY12" fmla="*/ 12224 h 16917"/>
              <a:gd name="connsiteX13" fmla="*/ 19173 w 19188"/>
              <a:gd name="connsiteY13" fmla="*/ 9029 h 16917"/>
              <a:gd name="connsiteX14" fmla="*/ 18949 w 19188"/>
              <a:gd name="connsiteY14" fmla="*/ 3401 h 16917"/>
              <a:gd name="connsiteX15" fmla="*/ 15199 w 19188"/>
              <a:gd name="connsiteY15" fmla="*/ 859 h 16917"/>
              <a:gd name="connsiteX16" fmla="*/ 11465 w 19188"/>
              <a:gd name="connsiteY16" fmla="*/ 23 h 16917"/>
              <a:gd name="connsiteX0" fmla="*/ 11465 w 19188"/>
              <a:gd name="connsiteY0" fmla="*/ 23 h 16917"/>
              <a:gd name="connsiteX1" fmla="*/ 5703 w 19188"/>
              <a:gd name="connsiteY1" fmla="*/ 1085 h 16917"/>
              <a:gd name="connsiteX2" fmla="*/ 1220 w 19188"/>
              <a:gd name="connsiteY2" fmla="*/ 5155 h 16917"/>
              <a:gd name="connsiteX3" fmla="*/ 36 w 19188"/>
              <a:gd name="connsiteY3" fmla="*/ 9089 h 16917"/>
              <a:gd name="connsiteX4" fmla="*/ 353 w 19188"/>
              <a:gd name="connsiteY4" fmla="*/ 13412 h 16917"/>
              <a:gd name="connsiteX5" fmla="*/ 1192 w 19188"/>
              <a:gd name="connsiteY5" fmla="*/ 15940 h 16917"/>
              <a:gd name="connsiteX6" fmla="*/ 6228 w 19188"/>
              <a:gd name="connsiteY6" fmla="*/ 16324 h 16917"/>
              <a:gd name="connsiteX7" fmla="*/ 8792 w 19188"/>
              <a:gd name="connsiteY7" fmla="*/ 16911 h 16917"/>
              <a:gd name="connsiteX8" fmla="*/ 11000 w 19188"/>
              <a:gd name="connsiteY8" fmla="*/ 15895 h 16917"/>
              <a:gd name="connsiteX9" fmla="*/ 13829 w 19188"/>
              <a:gd name="connsiteY9" fmla="*/ 15573 h 16917"/>
              <a:gd name="connsiteX10" fmla="*/ 15719 w 19188"/>
              <a:gd name="connsiteY10" fmla="*/ 15715 h 16917"/>
              <a:gd name="connsiteX11" fmla="*/ 18543 w 19188"/>
              <a:gd name="connsiteY11" fmla="*/ 15924 h 16917"/>
              <a:gd name="connsiteX12" fmla="*/ 19099 w 19188"/>
              <a:gd name="connsiteY12" fmla="*/ 12224 h 16917"/>
              <a:gd name="connsiteX13" fmla="*/ 19173 w 19188"/>
              <a:gd name="connsiteY13" fmla="*/ 9029 h 16917"/>
              <a:gd name="connsiteX14" fmla="*/ 19145 w 19188"/>
              <a:gd name="connsiteY14" fmla="*/ 3629 h 16917"/>
              <a:gd name="connsiteX15" fmla="*/ 15199 w 19188"/>
              <a:gd name="connsiteY15" fmla="*/ 859 h 16917"/>
              <a:gd name="connsiteX16" fmla="*/ 11465 w 19188"/>
              <a:gd name="connsiteY16" fmla="*/ 23 h 16917"/>
              <a:gd name="connsiteX0" fmla="*/ 11465 w 19188"/>
              <a:gd name="connsiteY0" fmla="*/ 23 h 16917"/>
              <a:gd name="connsiteX1" fmla="*/ 5703 w 19188"/>
              <a:gd name="connsiteY1" fmla="*/ 1085 h 16917"/>
              <a:gd name="connsiteX2" fmla="*/ 1220 w 19188"/>
              <a:gd name="connsiteY2" fmla="*/ 5155 h 16917"/>
              <a:gd name="connsiteX3" fmla="*/ 36 w 19188"/>
              <a:gd name="connsiteY3" fmla="*/ 9089 h 16917"/>
              <a:gd name="connsiteX4" fmla="*/ 353 w 19188"/>
              <a:gd name="connsiteY4" fmla="*/ 13412 h 16917"/>
              <a:gd name="connsiteX5" fmla="*/ 1192 w 19188"/>
              <a:gd name="connsiteY5" fmla="*/ 15940 h 16917"/>
              <a:gd name="connsiteX6" fmla="*/ 6228 w 19188"/>
              <a:gd name="connsiteY6" fmla="*/ 16324 h 16917"/>
              <a:gd name="connsiteX7" fmla="*/ 8792 w 19188"/>
              <a:gd name="connsiteY7" fmla="*/ 16911 h 16917"/>
              <a:gd name="connsiteX8" fmla="*/ 11000 w 19188"/>
              <a:gd name="connsiteY8" fmla="*/ 15895 h 16917"/>
              <a:gd name="connsiteX9" fmla="*/ 13829 w 19188"/>
              <a:gd name="connsiteY9" fmla="*/ 15573 h 16917"/>
              <a:gd name="connsiteX10" fmla="*/ 15719 w 19188"/>
              <a:gd name="connsiteY10" fmla="*/ 15715 h 16917"/>
              <a:gd name="connsiteX11" fmla="*/ 18543 w 19188"/>
              <a:gd name="connsiteY11" fmla="*/ 15924 h 16917"/>
              <a:gd name="connsiteX12" fmla="*/ 19099 w 19188"/>
              <a:gd name="connsiteY12" fmla="*/ 12224 h 16917"/>
              <a:gd name="connsiteX13" fmla="*/ 19173 w 19188"/>
              <a:gd name="connsiteY13" fmla="*/ 9029 h 16917"/>
              <a:gd name="connsiteX14" fmla="*/ 19145 w 19188"/>
              <a:gd name="connsiteY14" fmla="*/ 3629 h 16917"/>
              <a:gd name="connsiteX15" fmla="*/ 15199 w 19188"/>
              <a:gd name="connsiteY15" fmla="*/ 859 h 16917"/>
              <a:gd name="connsiteX16" fmla="*/ 11465 w 19188"/>
              <a:gd name="connsiteY16" fmla="*/ 23 h 16917"/>
              <a:gd name="connsiteX0" fmla="*/ 11465 w 19198"/>
              <a:gd name="connsiteY0" fmla="*/ 23 h 16917"/>
              <a:gd name="connsiteX1" fmla="*/ 5703 w 19198"/>
              <a:gd name="connsiteY1" fmla="*/ 1085 h 16917"/>
              <a:gd name="connsiteX2" fmla="*/ 1220 w 19198"/>
              <a:gd name="connsiteY2" fmla="*/ 5155 h 16917"/>
              <a:gd name="connsiteX3" fmla="*/ 36 w 19198"/>
              <a:gd name="connsiteY3" fmla="*/ 9089 h 16917"/>
              <a:gd name="connsiteX4" fmla="*/ 353 w 19198"/>
              <a:gd name="connsiteY4" fmla="*/ 13412 h 16917"/>
              <a:gd name="connsiteX5" fmla="*/ 1192 w 19198"/>
              <a:gd name="connsiteY5" fmla="*/ 15940 h 16917"/>
              <a:gd name="connsiteX6" fmla="*/ 6228 w 19198"/>
              <a:gd name="connsiteY6" fmla="*/ 16324 h 16917"/>
              <a:gd name="connsiteX7" fmla="*/ 8792 w 19198"/>
              <a:gd name="connsiteY7" fmla="*/ 16911 h 16917"/>
              <a:gd name="connsiteX8" fmla="*/ 11000 w 19198"/>
              <a:gd name="connsiteY8" fmla="*/ 15895 h 16917"/>
              <a:gd name="connsiteX9" fmla="*/ 13829 w 19198"/>
              <a:gd name="connsiteY9" fmla="*/ 15573 h 16917"/>
              <a:gd name="connsiteX10" fmla="*/ 15719 w 19198"/>
              <a:gd name="connsiteY10" fmla="*/ 15715 h 16917"/>
              <a:gd name="connsiteX11" fmla="*/ 18543 w 19198"/>
              <a:gd name="connsiteY11" fmla="*/ 15924 h 16917"/>
              <a:gd name="connsiteX12" fmla="*/ 19099 w 19198"/>
              <a:gd name="connsiteY12" fmla="*/ 12224 h 16917"/>
              <a:gd name="connsiteX13" fmla="*/ 19173 w 19198"/>
              <a:gd name="connsiteY13" fmla="*/ 9029 h 16917"/>
              <a:gd name="connsiteX14" fmla="*/ 19161 w 19198"/>
              <a:gd name="connsiteY14" fmla="*/ 3610 h 16917"/>
              <a:gd name="connsiteX15" fmla="*/ 15199 w 19198"/>
              <a:gd name="connsiteY15" fmla="*/ 859 h 16917"/>
              <a:gd name="connsiteX16" fmla="*/ 11465 w 19198"/>
              <a:gd name="connsiteY16" fmla="*/ 23 h 16917"/>
              <a:gd name="connsiteX0" fmla="*/ 11465 w 19359"/>
              <a:gd name="connsiteY0" fmla="*/ 23 h 16917"/>
              <a:gd name="connsiteX1" fmla="*/ 5703 w 19359"/>
              <a:gd name="connsiteY1" fmla="*/ 1085 h 16917"/>
              <a:gd name="connsiteX2" fmla="*/ 1220 w 19359"/>
              <a:gd name="connsiteY2" fmla="*/ 5155 h 16917"/>
              <a:gd name="connsiteX3" fmla="*/ 36 w 19359"/>
              <a:gd name="connsiteY3" fmla="*/ 9089 h 16917"/>
              <a:gd name="connsiteX4" fmla="*/ 353 w 19359"/>
              <a:gd name="connsiteY4" fmla="*/ 13412 h 16917"/>
              <a:gd name="connsiteX5" fmla="*/ 1192 w 19359"/>
              <a:gd name="connsiteY5" fmla="*/ 15940 h 16917"/>
              <a:gd name="connsiteX6" fmla="*/ 6228 w 19359"/>
              <a:gd name="connsiteY6" fmla="*/ 16324 h 16917"/>
              <a:gd name="connsiteX7" fmla="*/ 8792 w 19359"/>
              <a:gd name="connsiteY7" fmla="*/ 16911 h 16917"/>
              <a:gd name="connsiteX8" fmla="*/ 11000 w 19359"/>
              <a:gd name="connsiteY8" fmla="*/ 15895 h 16917"/>
              <a:gd name="connsiteX9" fmla="*/ 13829 w 19359"/>
              <a:gd name="connsiteY9" fmla="*/ 15573 h 16917"/>
              <a:gd name="connsiteX10" fmla="*/ 15719 w 19359"/>
              <a:gd name="connsiteY10" fmla="*/ 15715 h 16917"/>
              <a:gd name="connsiteX11" fmla="*/ 19116 w 19359"/>
              <a:gd name="connsiteY11" fmla="*/ 15943 h 16917"/>
              <a:gd name="connsiteX12" fmla="*/ 19099 w 19359"/>
              <a:gd name="connsiteY12" fmla="*/ 12224 h 16917"/>
              <a:gd name="connsiteX13" fmla="*/ 19173 w 19359"/>
              <a:gd name="connsiteY13" fmla="*/ 9029 h 16917"/>
              <a:gd name="connsiteX14" fmla="*/ 19161 w 19359"/>
              <a:gd name="connsiteY14" fmla="*/ 3610 h 16917"/>
              <a:gd name="connsiteX15" fmla="*/ 15199 w 19359"/>
              <a:gd name="connsiteY15" fmla="*/ 859 h 16917"/>
              <a:gd name="connsiteX16" fmla="*/ 11465 w 19359"/>
              <a:gd name="connsiteY16" fmla="*/ 23 h 16917"/>
              <a:gd name="connsiteX0" fmla="*/ 11465 w 19198"/>
              <a:gd name="connsiteY0" fmla="*/ 23 h 16917"/>
              <a:gd name="connsiteX1" fmla="*/ 5703 w 19198"/>
              <a:gd name="connsiteY1" fmla="*/ 1085 h 16917"/>
              <a:gd name="connsiteX2" fmla="*/ 1220 w 19198"/>
              <a:gd name="connsiteY2" fmla="*/ 5155 h 16917"/>
              <a:gd name="connsiteX3" fmla="*/ 36 w 19198"/>
              <a:gd name="connsiteY3" fmla="*/ 9089 h 16917"/>
              <a:gd name="connsiteX4" fmla="*/ 353 w 19198"/>
              <a:gd name="connsiteY4" fmla="*/ 13412 h 16917"/>
              <a:gd name="connsiteX5" fmla="*/ 1192 w 19198"/>
              <a:gd name="connsiteY5" fmla="*/ 15940 h 16917"/>
              <a:gd name="connsiteX6" fmla="*/ 6228 w 19198"/>
              <a:gd name="connsiteY6" fmla="*/ 16324 h 16917"/>
              <a:gd name="connsiteX7" fmla="*/ 8792 w 19198"/>
              <a:gd name="connsiteY7" fmla="*/ 16911 h 16917"/>
              <a:gd name="connsiteX8" fmla="*/ 11000 w 19198"/>
              <a:gd name="connsiteY8" fmla="*/ 15895 h 16917"/>
              <a:gd name="connsiteX9" fmla="*/ 13829 w 19198"/>
              <a:gd name="connsiteY9" fmla="*/ 15573 h 16917"/>
              <a:gd name="connsiteX10" fmla="*/ 15719 w 19198"/>
              <a:gd name="connsiteY10" fmla="*/ 15715 h 16917"/>
              <a:gd name="connsiteX11" fmla="*/ 19116 w 19198"/>
              <a:gd name="connsiteY11" fmla="*/ 15943 h 16917"/>
              <a:gd name="connsiteX12" fmla="*/ 19099 w 19198"/>
              <a:gd name="connsiteY12" fmla="*/ 12224 h 16917"/>
              <a:gd name="connsiteX13" fmla="*/ 19173 w 19198"/>
              <a:gd name="connsiteY13" fmla="*/ 9029 h 16917"/>
              <a:gd name="connsiteX14" fmla="*/ 19161 w 19198"/>
              <a:gd name="connsiteY14" fmla="*/ 3610 h 16917"/>
              <a:gd name="connsiteX15" fmla="*/ 15199 w 19198"/>
              <a:gd name="connsiteY15" fmla="*/ 859 h 16917"/>
              <a:gd name="connsiteX16" fmla="*/ 11465 w 19198"/>
              <a:gd name="connsiteY16" fmla="*/ 23 h 16917"/>
              <a:gd name="connsiteX0" fmla="*/ 11465 w 19198"/>
              <a:gd name="connsiteY0" fmla="*/ 23 h 16917"/>
              <a:gd name="connsiteX1" fmla="*/ 5703 w 19198"/>
              <a:gd name="connsiteY1" fmla="*/ 1085 h 16917"/>
              <a:gd name="connsiteX2" fmla="*/ 1220 w 19198"/>
              <a:gd name="connsiteY2" fmla="*/ 5155 h 16917"/>
              <a:gd name="connsiteX3" fmla="*/ 36 w 19198"/>
              <a:gd name="connsiteY3" fmla="*/ 9089 h 16917"/>
              <a:gd name="connsiteX4" fmla="*/ 353 w 19198"/>
              <a:gd name="connsiteY4" fmla="*/ 13412 h 16917"/>
              <a:gd name="connsiteX5" fmla="*/ 1192 w 19198"/>
              <a:gd name="connsiteY5" fmla="*/ 15940 h 16917"/>
              <a:gd name="connsiteX6" fmla="*/ 6228 w 19198"/>
              <a:gd name="connsiteY6" fmla="*/ 16324 h 16917"/>
              <a:gd name="connsiteX7" fmla="*/ 8792 w 19198"/>
              <a:gd name="connsiteY7" fmla="*/ 16911 h 16917"/>
              <a:gd name="connsiteX8" fmla="*/ 11000 w 19198"/>
              <a:gd name="connsiteY8" fmla="*/ 15895 h 16917"/>
              <a:gd name="connsiteX9" fmla="*/ 13829 w 19198"/>
              <a:gd name="connsiteY9" fmla="*/ 15573 h 16917"/>
              <a:gd name="connsiteX10" fmla="*/ 15719 w 19198"/>
              <a:gd name="connsiteY10" fmla="*/ 15715 h 16917"/>
              <a:gd name="connsiteX11" fmla="*/ 19177 w 19198"/>
              <a:gd name="connsiteY11" fmla="*/ 15966 h 16917"/>
              <a:gd name="connsiteX12" fmla="*/ 19099 w 19198"/>
              <a:gd name="connsiteY12" fmla="*/ 12224 h 16917"/>
              <a:gd name="connsiteX13" fmla="*/ 19173 w 19198"/>
              <a:gd name="connsiteY13" fmla="*/ 9029 h 16917"/>
              <a:gd name="connsiteX14" fmla="*/ 19161 w 19198"/>
              <a:gd name="connsiteY14" fmla="*/ 3610 h 16917"/>
              <a:gd name="connsiteX15" fmla="*/ 15199 w 19198"/>
              <a:gd name="connsiteY15" fmla="*/ 859 h 16917"/>
              <a:gd name="connsiteX16" fmla="*/ 11465 w 19198"/>
              <a:gd name="connsiteY16" fmla="*/ 23 h 16917"/>
              <a:gd name="connsiteX0" fmla="*/ 11465 w 19434"/>
              <a:gd name="connsiteY0" fmla="*/ 23 h 16917"/>
              <a:gd name="connsiteX1" fmla="*/ 5703 w 19434"/>
              <a:gd name="connsiteY1" fmla="*/ 1085 h 16917"/>
              <a:gd name="connsiteX2" fmla="*/ 1220 w 19434"/>
              <a:gd name="connsiteY2" fmla="*/ 5155 h 16917"/>
              <a:gd name="connsiteX3" fmla="*/ 36 w 19434"/>
              <a:gd name="connsiteY3" fmla="*/ 9089 h 16917"/>
              <a:gd name="connsiteX4" fmla="*/ 353 w 19434"/>
              <a:gd name="connsiteY4" fmla="*/ 13412 h 16917"/>
              <a:gd name="connsiteX5" fmla="*/ 1192 w 19434"/>
              <a:gd name="connsiteY5" fmla="*/ 15940 h 16917"/>
              <a:gd name="connsiteX6" fmla="*/ 6228 w 19434"/>
              <a:gd name="connsiteY6" fmla="*/ 16324 h 16917"/>
              <a:gd name="connsiteX7" fmla="*/ 8792 w 19434"/>
              <a:gd name="connsiteY7" fmla="*/ 16911 h 16917"/>
              <a:gd name="connsiteX8" fmla="*/ 11000 w 19434"/>
              <a:gd name="connsiteY8" fmla="*/ 15895 h 16917"/>
              <a:gd name="connsiteX9" fmla="*/ 13829 w 19434"/>
              <a:gd name="connsiteY9" fmla="*/ 15573 h 16917"/>
              <a:gd name="connsiteX10" fmla="*/ 15719 w 19434"/>
              <a:gd name="connsiteY10" fmla="*/ 15715 h 16917"/>
              <a:gd name="connsiteX11" fmla="*/ 19177 w 19434"/>
              <a:gd name="connsiteY11" fmla="*/ 15966 h 16917"/>
              <a:gd name="connsiteX12" fmla="*/ 19180 w 19434"/>
              <a:gd name="connsiteY12" fmla="*/ 12271 h 16917"/>
              <a:gd name="connsiteX13" fmla="*/ 19173 w 19434"/>
              <a:gd name="connsiteY13" fmla="*/ 9029 h 16917"/>
              <a:gd name="connsiteX14" fmla="*/ 19161 w 19434"/>
              <a:gd name="connsiteY14" fmla="*/ 3610 h 16917"/>
              <a:gd name="connsiteX15" fmla="*/ 15199 w 19434"/>
              <a:gd name="connsiteY15" fmla="*/ 859 h 16917"/>
              <a:gd name="connsiteX16" fmla="*/ 11465 w 19434"/>
              <a:gd name="connsiteY16" fmla="*/ 23 h 16917"/>
              <a:gd name="connsiteX0" fmla="*/ 11465 w 19195"/>
              <a:gd name="connsiteY0" fmla="*/ 23 h 16917"/>
              <a:gd name="connsiteX1" fmla="*/ 5703 w 19195"/>
              <a:gd name="connsiteY1" fmla="*/ 1085 h 16917"/>
              <a:gd name="connsiteX2" fmla="*/ 1220 w 19195"/>
              <a:gd name="connsiteY2" fmla="*/ 5155 h 16917"/>
              <a:gd name="connsiteX3" fmla="*/ 36 w 19195"/>
              <a:gd name="connsiteY3" fmla="*/ 9089 h 16917"/>
              <a:gd name="connsiteX4" fmla="*/ 353 w 19195"/>
              <a:gd name="connsiteY4" fmla="*/ 13412 h 16917"/>
              <a:gd name="connsiteX5" fmla="*/ 1192 w 19195"/>
              <a:gd name="connsiteY5" fmla="*/ 15940 h 16917"/>
              <a:gd name="connsiteX6" fmla="*/ 6228 w 19195"/>
              <a:gd name="connsiteY6" fmla="*/ 16324 h 16917"/>
              <a:gd name="connsiteX7" fmla="*/ 8792 w 19195"/>
              <a:gd name="connsiteY7" fmla="*/ 16911 h 16917"/>
              <a:gd name="connsiteX8" fmla="*/ 11000 w 19195"/>
              <a:gd name="connsiteY8" fmla="*/ 15895 h 16917"/>
              <a:gd name="connsiteX9" fmla="*/ 13829 w 19195"/>
              <a:gd name="connsiteY9" fmla="*/ 15573 h 16917"/>
              <a:gd name="connsiteX10" fmla="*/ 15719 w 19195"/>
              <a:gd name="connsiteY10" fmla="*/ 15715 h 16917"/>
              <a:gd name="connsiteX11" fmla="*/ 19177 w 19195"/>
              <a:gd name="connsiteY11" fmla="*/ 15966 h 16917"/>
              <a:gd name="connsiteX12" fmla="*/ 19180 w 19195"/>
              <a:gd name="connsiteY12" fmla="*/ 12271 h 16917"/>
              <a:gd name="connsiteX13" fmla="*/ 19173 w 19195"/>
              <a:gd name="connsiteY13" fmla="*/ 9029 h 16917"/>
              <a:gd name="connsiteX14" fmla="*/ 19161 w 19195"/>
              <a:gd name="connsiteY14" fmla="*/ 3610 h 16917"/>
              <a:gd name="connsiteX15" fmla="*/ 15199 w 19195"/>
              <a:gd name="connsiteY15" fmla="*/ 859 h 16917"/>
              <a:gd name="connsiteX16" fmla="*/ 11465 w 19195"/>
              <a:gd name="connsiteY16" fmla="*/ 23 h 16917"/>
              <a:gd name="connsiteX0" fmla="*/ 11465 w 19259"/>
              <a:gd name="connsiteY0" fmla="*/ 23 h 16917"/>
              <a:gd name="connsiteX1" fmla="*/ 5703 w 19259"/>
              <a:gd name="connsiteY1" fmla="*/ 1085 h 16917"/>
              <a:gd name="connsiteX2" fmla="*/ 1220 w 19259"/>
              <a:gd name="connsiteY2" fmla="*/ 5155 h 16917"/>
              <a:gd name="connsiteX3" fmla="*/ 36 w 19259"/>
              <a:gd name="connsiteY3" fmla="*/ 9089 h 16917"/>
              <a:gd name="connsiteX4" fmla="*/ 353 w 19259"/>
              <a:gd name="connsiteY4" fmla="*/ 13412 h 16917"/>
              <a:gd name="connsiteX5" fmla="*/ 1192 w 19259"/>
              <a:gd name="connsiteY5" fmla="*/ 15940 h 16917"/>
              <a:gd name="connsiteX6" fmla="*/ 6228 w 19259"/>
              <a:gd name="connsiteY6" fmla="*/ 16324 h 16917"/>
              <a:gd name="connsiteX7" fmla="*/ 8792 w 19259"/>
              <a:gd name="connsiteY7" fmla="*/ 16911 h 16917"/>
              <a:gd name="connsiteX8" fmla="*/ 11000 w 19259"/>
              <a:gd name="connsiteY8" fmla="*/ 15895 h 16917"/>
              <a:gd name="connsiteX9" fmla="*/ 13829 w 19259"/>
              <a:gd name="connsiteY9" fmla="*/ 15573 h 16917"/>
              <a:gd name="connsiteX10" fmla="*/ 15719 w 19259"/>
              <a:gd name="connsiteY10" fmla="*/ 15715 h 16917"/>
              <a:gd name="connsiteX11" fmla="*/ 19177 w 19259"/>
              <a:gd name="connsiteY11" fmla="*/ 15966 h 16917"/>
              <a:gd name="connsiteX12" fmla="*/ 19180 w 19259"/>
              <a:gd name="connsiteY12" fmla="*/ 12271 h 16917"/>
              <a:gd name="connsiteX13" fmla="*/ 19259 w 19259"/>
              <a:gd name="connsiteY13" fmla="*/ 9054 h 16917"/>
              <a:gd name="connsiteX14" fmla="*/ 19161 w 19259"/>
              <a:gd name="connsiteY14" fmla="*/ 3610 h 16917"/>
              <a:gd name="connsiteX15" fmla="*/ 15199 w 19259"/>
              <a:gd name="connsiteY15" fmla="*/ 859 h 16917"/>
              <a:gd name="connsiteX16" fmla="*/ 11465 w 19259"/>
              <a:gd name="connsiteY16" fmla="*/ 23 h 16917"/>
              <a:gd name="connsiteX0" fmla="*/ 11465 w 19263"/>
              <a:gd name="connsiteY0" fmla="*/ 23 h 16917"/>
              <a:gd name="connsiteX1" fmla="*/ 5703 w 19263"/>
              <a:gd name="connsiteY1" fmla="*/ 1085 h 16917"/>
              <a:gd name="connsiteX2" fmla="*/ 1220 w 19263"/>
              <a:gd name="connsiteY2" fmla="*/ 5155 h 16917"/>
              <a:gd name="connsiteX3" fmla="*/ 36 w 19263"/>
              <a:gd name="connsiteY3" fmla="*/ 9089 h 16917"/>
              <a:gd name="connsiteX4" fmla="*/ 353 w 19263"/>
              <a:gd name="connsiteY4" fmla="*/ 13412 h 16917"/>
              <a:gd name="connsiteX5" fmla="*/ 1192 w 19263"/>
              <a:gd name="connsiteY5" fmla="*/ 15940 h 16917"/>
              <a:gd name="connsiteX6" fmla="*/ 6228 w 19263"/>
              <a:gd name="connsiteY6" fmla="*/ 16324 h 16917"/>
              <a:gd name="connsiteX7" fmla="*/ 8792 w 19263"/>
              <a:gd name="connsiteY7" fmla="*/ 16911 h 16917"/>
              <a:gd name="connsiteX8" fmla="*/ 11000 w 19263"/>
              <a:gd name="connsiteY8" fmla="*/ 15895 h 16917"/>
              <a:gd name="connsiteX9" fmla="*/ 13829 w 19263"/>
              <a:gd name="connsiteY9" fmla="*/ 15573 h 16917"/>
              <a:gd name="connsiteX10" fmla="*/ 15719 w 19263"/>
              <a:gd name="connsiteY10" fmla="*/ 15715 h 16917"/>
              <a:gd name="connsiteX11" fmla="*/ 19177 w 19263"/>
              <a:gd name="connsiteY11" fmla="*/ 15966 h 16917"/>
              <a:gd name="connsiteX12" fmla="*/ 19180 w 19263"/>
              <a:gd name="connsiteY12" fmla="*/ 12271 h 16917"/>
              <a:gd name="connsiteX13" fmla="*/ 19259 w 19263"/>
              <a:gd name="connsiteY13" fmla="*/ 9054 h 16917"/>
              <a:gd name="connsiteX14" fmla="*/ 19161 w 19263"/>
              <a:gd name="connsiteY14" fmla="*/ 3610 h 16917"/>
              <a:gd name="connsiteX15" fmla="*/ 15199 w 19263"/>
              <a:gd name="connsiteY15" fmla="*/ 859 h 16917"/>
              <a:gd name="connsiteX16" fmla="*/ 11465 w 19263"/>
              <a:gd name="connsiteY16" fmla="*/ 23 h 16917"/>
              <a:gd name="connsiteX0" fmla="*/ 11465 w 19263"/>
              <a:gd name="connsiteY0" fmla="*/ 23 h 16917"/>
              <a:gd name="connsiteX1" fmla="*/ 5703 w 19263"/>
              <a:gd name="connsiteY1" fmla="*/ 1085 h 16917"/>
              <a:gd name="connsiteX2" fmla="*/ 1220 w 19263"/>
              <a:gd name="connsiteY2" fmla="*/ 5155 h 16917"/>
              <a:gd name="connsiteX3" fmla="*/ 36 w 19263"/>
              <a:gd name="connsiteY3" fmla="*/ 9089 h 16917"/>
              <a:gd name="connsiteX4" fmla="*/ 353 w 19263"/>
              <a:gd name="connsiteY4" fmla="*/ 13412 h 16917"/>
              <a:gd name="connsiteX5" fmla="*/ 1192 w 19263"/>
              <a:gd name="connsiteY5" fmla="*/ 15940 h 16917"/>
              <a:gd name="connsiteX6" fmla="*/ 6228 w 19263"/>
              <a:gd name="connsiteY6" fmla="*/ 16324 h 16917"/>
              <a:gd name="connsiteX7" fmla="*/ 8792 w 19263"/>
              <a:gd name="connsiteY7" fmla="*/ 16911 h 16917"/>
              <a:gd name="connsiteX8" fmla="*/ 11000 w 19263"/>
              <a:gd name="connsiteY8" fmla="*/ 15895 h 16917"/>
              <a:gd name="connsiteX9" fmla="*/ 13829 w 19263"/>
              <a:gd name="connsiteY9" fmla="*/ 15573 h 16917"/>
              <a:gd name="connsiteX10" fmla="*/ 15719 w 19263"/>
              <a:gd name="connsiteY10" fmla="*/ 15715 h 16917"/>
              <a:gd name="connsiteX11" fmla="*/ 19177 w 19263"/>
              <a:gd name="connsiteY11" fmla="*/ 15966 h 16917"/>
              <a:gd name="connsiteX12" fmla="*/ 19180 w 19263"/>
              <a:gd name="connsiteY12" fmla="*/ 12271 h 16917"/>
              <a:gd name="connsiteX13" fmla="*/ 19259 w 19263"/>
              <a:gd name="connsiteY13" fmla="*/ 9054 h 16917"/>
              <a:gd name="connsiteX14" fmla="*/ 19161 w 19263"/>
              <a:gd name="connsiteY14" fmla="*/ 3610 h 16917"/>
              <a:gd name="connsiteX15" fmla="*/ 15199 w 19263"/>
              <a:gd name="connsiteY15" fmla="*/ 859 h 16917"/>
              <a:gd name="connsiteX16" fmla="*/ 11465 w 19263"/>
              <a:gd name="connsiteY16" fmla="*/ 23 h 16917"/>
              <a:gd name="connsiteX0" fmla="*/ 11465 w 19202"/>
              <a:gd name="connsiteY0" fmla="*/ 23 h 16917"/>
              <a:gd name="connsiteX1" fmla="*/ 5703 w 19202"/>
              <a:gd name="connsiteY1" fmla="*/ 1085 h 16917"/>
              <a:gd name="connsiteX2" fmla="*/ 1220 w 19202"/>
              <a:gd name="connsiteY2" fmla="*/ 5155 h 16917"/>
              <a:gd name="connsiteX3" fmla="*/ 36 w 19202"/>
              <a:gd name="connsiteY3" fmla="*/ 9089 h 16917"/>
              <a:gd name="connsiteX4" fmla="*/ 353 w 19202"/>
              <a:gd name="connsiteY4" fmla="*/ 13412 h 16917"/>
              <a:gd name="connsiteX5" fmla="*/ 1192 w 19202"/>
              <a:gd name="connsiteY5" fmla="*/ 15940 h 16917"/>
              <a:gd name="connsiteX6" fmla="*/ 6228 w 19202"/>
              <a:gd name="connsiteY6" fmla="*/ 16324 h 16917"/>
              <a:gd name="connsiteX7" fmla="*/ 8792 w 19202"/>
              <a:gd name="connsiteY7" fmla="*/ 16911 h 16917"/>
              <a:gd name="connsiteX8" fmla="*/ 11000 w 19202"/>
              <a:gd name="connsiteY8" fmla="*/ 15895 h 16917"/>
              <a:gd name="connsiteX9" fmla="*/ 13829 w 19202"/>
              <a:gd name="connsiteY9" fmla="*/ 15573 h 16917"/>
              <a:gd name="connsiteX10" fmla="*/ 15719 w 19202"/>
              <a:gd name="connsiteY10" fmla="*/ 15715 h 16917"/>
              <a:gd name="connsiteX11" fmla="*/ 19177 w 19202"/>
              <a:gd name="connsiteY11" fmla="*/ 15966 h 16917"/>
              <a:gd name="connsiteX12" fmla="*/ 19180 w 19202"/>
              <a:gd name="connsiteY12" fmla="*/ 12271 h 16917"/>
              <a:gd name="connsiteX13" fmla="*/ 18851 w 19202"/>
              <a:gd name="connsiteY13" fmla="*/ 9079 h 16917"/>
              <a:gd name="connsiteX14" fmla="*/ 19161 w 19202"/>
              <a:gd name="connsiteY14" fmla="*/ 3610 h 16917"/>
              <a:gd name="connsiteX15" fmla="*/ 15199 w 19202"/>
              <a:gd name="connsiteY15" fmla="*/ 859 h 16917"/>
              <a:gd name="connsiteX16" fmla="*/ 11465 w 19202"/>
              <a:gd name="connsiteY16" fmla="*/ 23 h 16917"/>
              <a:gd name="connsiteX0" fmla="*/ 11465 w 19186"/>
              <a:gd name="connsiteY0" fmla="*/ 23 h 16917"/>
              <a:gd name="connsiteX1" fmla="*/ 5703 w 19186"/>
              <a:gd name="connsiteY1" fmla="*/ 1085 h 16917"/>
              <a:gd name="connsiteX2" fmla="*/ 1220 w 19186"/>
              <a:gd name="connsiteY2" fmla="*/ 5155 h 16917"/>
              <a:gd name="connsiteX3" fmla="*/ 36 w 19186"/>
              <a:gd name="connsiteY3" fmla="*/ 9089 h 16917"/>
              <a:gd name="connsiteX4" fmla="*/ 353 w 19186"/>
              <a:gd name="connsiteY4" fmla="*/ 13412 h 16917"/>
              <a:gd name="connsiteX5" fmla="*/ 1192 w 19186"/>
              <a:gd name="connsiteY5" fmla="*/ 15940 h 16917"/>
              <a:gd name="connsiteX6" fmla="*/ 6228 w 19186"/>
              <a:gd name="connsiteY6" fmla="*/ 16324 h 16917"/>
              <a:gd name="connsiteX7" fmla="*/ 8792 w 19186"/>
              <a:gd name="connsiteY7" fmla="*/ 16911 h 16917"/>
              <a:gd name="connsiteX8" fmla="*/ 11000 w 19186"/>
              <a:gd name="connsiteY8" fmla="*/ 15895 h 16917"/>
              <a:gd name="connsiteX9" fmla="*/ 13829 w 19186"/>
              <a:gd name="connsiteY9" fmla="*/ 15573 h 16917"/>
              <a:gd name="connsiteX10" fmla="*/ 15719 w 19186"/>
              <a:gd name="connsiteY10" fmla="*/ 15715 h 16917"/>
              <a:gd name="connsiteX11" fmla="*/ 19177 w 19186"/>
              <a:gd name="connsiteY11" fmla="*/ 15966 h 16917"/>
              <a:gd name="connsiteX12" fmla="*/ 19180 w 19186"/>
              <a:gd name="connsiteY12" fmla="*/ 12271 h 16917"/>
              <a:gd name="connsiteX13" fmla="*/ 19152 w 19186"/>
              <a:gd name="connsiteY13" fmla="*/ 9129 h 16917"/>
              <a:gd name="connsiteX14" fmla="*/ 19161 w 19186"/>
              <a:gd name="connsiteY14" fmla="*/ 3610 h 16917"/>
              <a:gd name="connsiteX15" fmla="*/ 15199 w 19186"/>
              <a:gd name="connsiteY15" fmla="*/ 859 h 16917"/>
              <a:gd name="connsiteX16" fmla="*/ 11465 w 19186"/>
              <a:gd name="connsiteY16" fmla="*/ 23 h 16917"/>
              <a:gd name="connsiteX0" fmla="*/ 11465 w 19203"/>
              <a:gd name="connsiteY0" fmla="*/ 23 h 16917"/>
              <a:gd name="connsiteX1" fmla="*/ 5703 w 19203"/>
              <a:gd name="connsiteY1" fmla="*/ 1085 h 16917"/>
              <a:gd name="connsiteX2" fmla="*/ 1220 w 19203"/>
              <a:gd name="connsiteY2" fmla="*/ 5155 h 16917"/>
              <a:gd name="connsiteX3" fmla="*/ 36 w 19203"/>
              <a:gd name="connsiteY3" fmla="*/ 9089 h 16917"/>
              <a:gd name="connsiteX4" fmla="*/ 353 w 19203"/>
              <a:gd name="connsiteY4" fmla="*/ 13412 h 16917"/>
              <a:gd name="connsiteX5" fmla="*/ 1192 w 19203"/>
              <a:gd name="connsiteY5" fmla="*/ 15940 h 16917"/>
              <a:gd name="connsiteX6" fmla="*/ 6228 w 19203"/>
              <a:gd name="connsiteY6" fmla="*/ 16324 h 16917"/>
              <a:gd name="connsiteX7" fmla="*/ 8792 w 19203"/>
              <a:gd name="connsiteY7" fmla="*/ 16911 h 16917"/>
              <a:gd name="connsiteX8" fmla="*/ 11000 w 19203"/>
              <a:gd name="connsiteY8" fmla="*/ 15895 h 16917"/>
              <a:gd name="connsiteX9" fmla="*/ 13829 w 19203"/>
              <a:gd name="connsiteY9" fmla="*/ 15573 h 16917"/>
              <a:gd name="connsiteX10" fmla="*/ 15719 w 19203"/>
              <a:gd name="connsiteY10" fmla="*/ 15715 h 16917"/>
              <a:gd name="connsiteX11" fmla="*/ 19177 w 19203"/>
              <a:gd name="connsiteY11" fmla="*/ 15966 h 16917"/>
              <a:gd name="connsiteX12" fmla="*/ 19180 w 19203"/>
              <a:gd name="connsiteY12" fmla="*/ 12271 h 16917"/>
              <a:gd name="connsiteX13" fmla="*/ 19195 w 19203"/>
              <a:gd name="connsiteY13" fmla="*/ 9129 h 16917"/>
              <a:gd name="connsiteX14" fmla="*/ 19161 w 19203"/>
              <a:gd name="connsiteY14" fmla="*/ 3610 h 16917"/>
              <a:gd name="connsiteX15" fmla="*/ 15199 w 19203"/>
              <a:gd name="connsiteY15" fmla="*/ 859 h 16917"/>
              <a:gd name="connsiteX16" fmla="*/ 11465 w 19203"/>
              <a:gd name="connsiteY16" fmla="*/ 23 h 16917"/>
              <a:gd name="connsiteX0" fmla="*/ 11465 w 19203"/>
              <a:gd name="connsiteY0" fmla="*/ 23 h 16917"/>
              <a:gd name="connsiteX1" fmla="*/ 5703 w 19203"/>
              <a:gd name="connsiteY1" fmla="*/ 1085 h 16917"/>
              <a:gd name="connsiteX2" fmla="*/ 1220 w 19203"/>
              <a:gd name="connsiteY2" fmla="*/ 5155 h 16917"/>
              <a:gd name="connsiteX3" fmla="*/ 36 w 19203"/>
              <a:gd name="connsiteY3" fmla="*/ 9089 h 16917"/>
              <a:gd name="connsiteX4" fmla="*/ 353 w 19203"/>
              <a:gd name="connsiteY4" fmla="*/ 13412 h 16917"/>
              <a:gd name="connsiteX5" fmla="*/ 1192 w 19203"/>
              <a:gd name="connsiteY5" fmla="*/ 15940 h 16917"/>
              <a:gd name="connsiteX6" fmla="*/ 6228 w 19203"/>
              <a:gd name="connsiteY6" fmla="*/ 16324 h 16917"/>
              <a:gd name="connsiteX7" fmla="*/ 8792 w 19203"/>
              <a:gd name="connsiteY7" fmla="*/ 16911 h 16917"/>
              <a:gd name="connsiteX8" fmla="*/ 11000 w 19203"/>
              <a:gd name="connsiteY8" fmla="*/ 15895 h 16917"/>
              <a:gd name="connsiteX9" fmla="*/ 13829 w 19203"/>
              <a:gd name="connsiteY9" fmla="*/ 15573 h 16917"/>
              <a:gd name="connsiteX10" fmla="*/ 15719 w 19203"/>
              <a:gd name="connsiteY10" fmla="*/ 15715 h 16917"/>
              <a:gd name="connsiteX11" fmla="*/ 19177 w 19203"/>
              <a:gd name="connsiteY11" fmla="*/ 15966 h 16917"/>
              <a:gd name="connsiteX12" fmla="*/ 19180 w 19203"/>
              <a:gd name="connsiteY12" fmla="*/ 12271 h 16917"/>
              <a:gd name="connsiteX13" fmla="*/ 19195 w 19203"/>
              <a:gd name="connsiteY13" fmla="*/ 9129 h 16917"/>
              <a:gd name="connsiteX14" fmla="*/ 19161 w 19203"/>
              <a:gd name="connsiteY14" fmla="*/ 3610 h 16917"/>
              <a:gd name="connsiteX15" fmla="*/ 15199 w 19203"/>
              <a:gd name="connsiteY15" fmla="*/ 859 h 16917"/>
              <a:gd name="connsiteX16" fmla="*/ 11465 w 19203"/>
              <a:gd name="connsiteY16" fmla="*/ 23 h 16917"/>
              <a:gd name="connsiteX0" fmla="*/ 11465 w 19203"/>
              <a:gd name="connsiteY0" fmla="*/ 23 h 16917"/>
              <a:gd name="connsiteX1" fmla="*/ 5703 w 19203"/>
              <a:gd name="connsiteY1" fmla="*/ 1085 h 16917"/>
              <a:gd name="connsiteX2" fmla="*/ 1220 w 19203"/>
              <a:gd name="connsiteY2" fmla="*/ 5155 h 16917"/>
              <a:gd name="connsiteX3" fmla="*/ 36 w 19203"/>
              <a:gd name="connsiteY3" fmla="*/ 9089 h 16917"/>
              <a:gd name="connsiteX4" fmla="*/ 353 w 19203"/>
              <a:gd name="connsiteY4" fmla="*/ 13412 h 16917"/>
              <a:gd name="connsiteX5" fmla="*/ 1192 w 19203"/>
              <a:gd name="connsiteY5" fmla="*/ 15940 h 16917"/>
              <a:gd name="connsiteX6" fmla="*/ 6228 w 19203"/>
              <a:gd name="connsiteY6" fmla="*/ 16324 h 16917"/>
              <a:gd name="connsiteX7" fmla="*/ 8792 w 19203"/>
              <a:gd name="connsiteY7" fmla="*/ 16911 h 16917"/>
              <a:gd name="connsiteX8" fmla="*/ 11000 w 19203"/>
              <a:gd name="connsiteY8" fmla="*/ 15895 h 16917"/>
              <a:gd name="connsiteX9" fmla="*/ 13829 w 19203"/>
              <a:gd name="connsiteY9" fmla="*/ 15573 h 16917"/>
              <a:gd name="connsiteX10" fmla="*/ 15719 w 19203"/>
              <a:gd name="connsiteY10" fmla="*/ 15715 h 16917"/>
              <a:gd name="connsiteX11" fmla="*/ 19177 w 19203"/>
              <a:gd name="connsiteY11" fmla="*/ 15966 h 16917"/>
              <a:gd name="connsiteX12" fmla="*/ 19180 w 19203"/>
              <a:gd name="connsiteY12" fmla="*/ 12271 h 16917"/>
              <a:gd name="connsiteX13" fmla="*/ 19195 w 19203"/>
              <a:gd name="connsiteY13" fmla="*/ 9129 h 16917"/>
              <a:gd name="connsiteX14" fmla="*/ 19161 w 19203"/>
              <a:gd name="connsiteY14" fmla="*/ 3610 h 16917"/>
              <a:gd name="connsiteX15" fmla="*/ 15199 w 19203"/>
              <a:gd name="connsiteY15" fmla="*/ 859 h 16917"/>
              <a:gd name="connsiteX16" fmla="*/ 11465 w 19203"/>
              <a:gd name="connsiteY16" fmla="*/ 23 h 16917"/>
              <a:gd name="connsiteX0" fmla="*/ 11465 w 19203"/>
              <a:gd name="connsiteY0" fmla="*/ 23 h 16917"/>
              <a:gd name="connsiteX1" fmla="*/ 5703 w 19203"/>
              <a:gd name="connsiteY1" fmla="*/ 1085 h 16917"/>
              <a:gd name="connsiteX2" fmla="*/ 1220 w 19203"/>
              <a:gd name="connsiteY2" fmla="*/ 5155 h 16917"/>
              <a:gd name="connsiteX3" fmla="*/ 36 w 19203"/>
              <a:gd name="connsiteY3" fmla="*/ 9089 h 16917"/>
              <a:gd name="connsiteX4" fmla="*/ 353 w 19203"/>
              <a:gd name="connsiteY4" fmla="*/ 13412 h 16917"/>
              <a:gd name="connsiteX5" fmla="*/ 1192 w 19203"/>
              <a:gd name="connsiteY5" fmla="*/ 15940 h 16917"/>
              <a:gd name="connsiteX6" fmla="*/ 6228 w 19203"/>
              <a:gd name="connsiteY6" fmla="*/ 16324 h 16917"/>
              <a:gd name="connsiteX7" fmla="*/ 8792 w 19203"/>
              <a:gd name="connsiteY7" fmla="*/ 16911 h 16917"/>
              <a:gd name="connsiteX8" fmla="*/ 11000 w 19203"/>
              <a:gd name="connsiteY8" fmla="*/ 15895 h 16917"/>
              <a:gd name="connsiteX9" fmla="*/ 13786 w 19203"/>
              <a:gd name="connsiteY9" fmla="*/ 15872 h 16917"/>
              <a:gd name="connsiteX10" fmla="*/ 15719 w 19203"/>
              <a:gd name="connsiteY10" fmla="*/ 15715 h 16917"/>
              <a:gd name="connsiteX11" fmla="*/ 19177 w 19203"/>
              <a:gd name="connsiteY11" fmla="*/ 15966 h 16917"/>
              <a:gd name="connsiteX12" fmla="*/ 19180 w 19203"/>
              <a:gd name="connsiteY12" fmla="*/ 12271 h 16917"/>
              <a:gd name="connsiteX13" fmla="*/ 19195 w 19203"/>
              <a:gd name="connsiteY13" fmla="*/ 9129 h 16917"/>
              <a:gd name="connsiteX14" fmla="*/ 19161 w 19203"/>
              <a:gd name="connsiteY14" fmla="*/ 3610 h 16917"/>
              <a:gd name="connsiteX15" fmla="*/ 15199 w 19203"/>
              <a:gd name="connsiteY15" fmla="*/ 859 h 16917"/>
              <a:gd name="connsiteX16" fmla="*/ 11465 w 19203"/>
              <a:gd name="connsiteY16" fmla="*/ 23 h 16917"/>
              <a:gd name="connsiteX0" fmla="*/ 11465 w 19439"/>
              <a:gd name="connsiteY0" fmla="*/ 23 h 16917"/>
              <a:gd name="connsiteX1" fmla="*/ 5703 w 19439"/>
              <a:gd name="connsiteY1" fmla="*/ 1085 h 16917"/>
              <a:gd name="connsiteX2" fmla="*/ 1220 w 19439"/>
              <a:gd name="connsiteY2" fmla="*/ 5155 h 16917"/>
              <a:gd name="connsiteX3" fmla="*/ 36 w 19439"/>
              <a:gd name="connsiteY3" fmla="*/ 9089 h 16917"/>
              <a:gd name="connsiteX4" fmla="*/ 353 w 19439"/>
              <a:gd name="connsiteY4" fmla="*/ 13412 h 16917"/>
              <a:gd name="connsiteX5" fmla="*/ 1192 w 19439"/>
              <a:gd name="connsiteY5" fmla="*/ 15940 h 16917"/>
              <a:gd name="connsiteX6" fmla="*/ 6228 w 19439"/>
              <a:gd name="connsiteY6" fmla="*/ 16324 h 16917"/>
              <a:gd name="connsiteX7" fmla="*/ 8792 w 19439"/>
              <a:gd name="connsiteY7" fmla="*/ 16911 h 16917"/>
              <a:gd name="connsiteX8" fmla="*/ 11000 w 19439"/>
              <a:gd name="connsiteY8" fmla="*/ 15895 h 16917"/>
              <a:gd name="connsiteX9" fmla="*/ 13786 w 19439"/>
              <a:gd name="connsiteY9" fmla="*/ 15872 h 16917"/>
              <a:gd name="connsiteX10" fmla="*/ 15633 w 19439"/>
              <a:gd name="connsiteY10" fmla="*/ 15840 h 16917"/>
              <a:gd name="connsiteX11" fmla="*/ 19177 w 19439"/>
              <a:gd name="connsiteY11" fmla="*/ 15966 h 16917"/>
              <a:gd name="connsiteX12" fmla="*/ 19180 w 19439"/>
              <a:gd name="connsiteY12" fmla="*/ 12271 h 16917"/>
              <a:gd name="connsiteX13" fmla="*/ 19195 w 19439"/>
              <a:gd name="connsiteY13" fmla="*/ 9129 h 16917"/>
              <a:gd name="connsiteX14" fmla="*/ 19161 w 19439"/>
              <a:gd name="connsiteY14" fmla="*/ 3610 h 16917"/>
              <a:gd name="connsiteX15" fmla="*/ 15199 w 19439"/>
              <a:gd name="connsiteY15" fmla="*/ 859 h 16917"/>
              <a:gd name="connsiteX16" fmla="*/ 11465 w 19439"/>
              <a:gd name="connsiteY16" fmla="*/ 23 h 16917"/>
              <a:gd name="connsiteX0" fmla="*/ 11465 w 19203"/>
              <a:gd name="connsiteY0" fmla="*/ 23 h 16917"/>
              <a:gd name="connsiteX1" fmla="*/ 5703 w 19203"/>
              <a:gd name="connsiteY1" fmla="*/ 1085 h 16917"/>
              <a:gd name="connsiteX2" fmla="*/ 1220 w 19203"/>
              <a:gd name="connsiteY2" fmla="*/ 5155 h 16917"/>
              <a:gd name="connsiteX3" fmla="*/ 36 w 19203"/>
              <a:gd name="connsiteY3" fmla="*/ 9089 h 16917"/>
              <a:gd name="connsiteX4" fmla="*/ 353 w 19203"/>
              <a:gd name="connsiteY4" fmla="*/ 13412 h 16917"/>
              <a:gd name="connsiteX5" fmla="*/ 1192 w 19203"/>
              <a:gd name="connsiteY5" fmla="*/ 15940 h 16917"/>
              <a:gd name="connsiteX6" fmla="*/ 6228 w 19203"/>
              <a:gd name="connsiteY6" fmla="*/ 16324 h 16917"/>
              <a:gd name="connsiteX7" fmla="*/ 8792 w 19203"/>
              <a:gd name="connsiteY7" fmla="*/ 16911 h 16917"/>
              <a:gd name="connsiteX8" fmla="*/ 11000 w 19203"/>
              <a:gd name="connsiteY8" fmla="*/ 15895 h 16917"/>
              <a:gd name="connsiteX9" fmla="*/ 13786 w 19203"/>
              <a:gd name="connsiteY9" fmla="*/ 15872 h 16917"/>
              <a:gd name="connsiteX10" fmla="*/ 15633 w 19203"/>
              <a:gd name="connsiteY10" fmla="*/ 15840 h 16917"/>
              <a:gd name="connsiteX11" fmla="*/ 19177 w 19203"/>
              <a:gd name="connsiteY11" fmla="*/ 15966 h 16917"/>
              <a:gd name="connsiteX12" fmla="*/ 19180 w 19203"/>
              <a:gd name="connsiteY12" fmla="*/ 12271 h 16917"/>
              <a:gd name="connsiteX13" fmla="*/ 19195 w 19203"/>
              <a:gd name="connsiteY13" fmla="*/ 9129 h 16917"/>
              <a:gd name="connsiteX14" fmla="*/ 19161 w 19203"/>
              <a:gd name="connsiteY14" fmla="*/ 3610 h 16917"/>
              <a:gd name="connsiteX15" fmla="*/ 15199 w 19203"/>
              <a:gd name="connsiteY15" fmla="*/ 859 h 16917"/>
              <a:gd name="connsiteX16" fmla="*/ 11465 w 19203"/>
              <a:gd name="connsiteY16" fmla="*/ 23 h 16917"/>
              <a:gd name="connsiteX0" fmla="*/ 11465 w 19203"/>
              <a:gd name="connsiteY0" fmla="*/ 23 h 16335"/>
              <a:gd name="connsiteX1" fmla="*/ 5703 w 19203"/>
              <a:gd name="connsiteY1" fmla="*/ 1085 h 16335"/>
              <a:gd name="connsiteX2" fmla="*/ 1220 w 19203"/>
              <a:gd name="connsiteY2" fmla="*/ 5155 h 16335"/>
              <a:gd name="connsiteX3" fmla="*/ 36 w 19203"/>
              <a:gd name="connsiteY3" fmla="*/ 9089 h 16335"/>
              <a:gd name="connsiteX4" fmla="*/ 353 w 19203"/>
              <a:gd name="connsiteY4" fmla="*/ 13412 h 16335"/>
              <a:gd name="connsiteX5" fmla="*/ 1192 w 19203"/>
              <a:gd name="connsiteY5" fmla="*/ 15940 h 16335"/>
              <a:gd name="connsiteX6" fmla="*/ 6228 w 19203"/>
              <a:gd name="connsiteY6" fmla="*/ 16324 h 16335"/>
              <a:gd name="connsiteX7" fmla="*/ 8678 w 19203"/>
              <a:gd name="connsiteY7" fmla="*/ 15903 h 16335"/>
              <a:gd name="connsiteX8" fmla="*/ 11000 w 19203"/>
              <a:gd name="connsiteY8" fmla="*/ 15895 h 16335"/>
              <a:gd name="connsiteX9" fmla="*/ 13786 w 19203"/>
              <a:gd name="connsiteY9" fmla="*/ 15872 h 16335"/>
              <a:gd name="connsiteX10" fmla="*/ 15633 w 19203"/>
              <a:gd name="connsiteY10" fmla="*/ 15840 h 16335"/>
              <a:gd name="connsiteX11" fmla="*/ 19177 w 19203"/>
              <a:gd name="connsiteY11" fmla="*/ 15966 h 16335"/>
              <a:gd name="connsiteX12" fmla="*/ 19180 w 19203"/>
              <a:gd name="connsiteY12" fmla="*/ 12271 h 16335"/>
              <a:gd name="connsiteX13" fmla="*/ 19195 w 19203"/>
              <a:gd name="connsiteY13" fmla="*/ 9129 h 16335"/>
              <a:gd name="connsiteX14" fmla="*/ 19161 w 19203"/>
              <a:gd name="connsiteY14" fmla="*/ 3610 h 16335"/>
              <a:gd name="connsiteX15" fmla="*/ 15199 w 19203"/>
              <a:gd name="connsiteY15" fmla="*/ 859 h 16335"/>
              <a:gd name="connsiteX16" fmla="*/ 11465 w 19203"/>
              <a:gd name="connsiteY16" fmla="*/ 23 h 16335"/>
              <a:gd name="connsiteX0" fmla="*/ 11465 w 19203"/>
              <a:gd name="connsiteY0" fmla="*/ 23 h 16330"/>
              <a:gd name="connsiteX1" fmla="*/ 5703 w 19203"/>
              <a:gd name="connsiteY1" fmla="*/ 1085 h 16330"/>
              <a:gd name="connsiteX2" fmla="*/ 1220 w 19203"/>
              <a:gd name="connsiteY2" fmla="*/ 5155 h 16330"/>
              <a:gd name="connsiteX3" fmla="*/ 36 w 19203"/>
              <a:gd name="connsiteY3" fmla="*/ 9089 h 16330"/>
              <a:gd name="connsiteX4" fmla="*/ 353 w 19203"/>
              <a:gd name="connsiteY4" fmla="*/ 13412 h 16330"/>
              <a:gd name="connsiteX5" fmla="*/ 1192 w 19203"/>
              <a:gd name="connsiteY5" fmla="*/ 15940 h 16330"/>
              <a:gd name="connsiteX6" fmla="*/ 6228 w 19203"/>
              <a:gd name="connsiteY6" fmla="*/ 16324 h 16330"/>
              <a:gd name="connsiteX7" fmla="*/ 8678 w 19203"/>
              <a:gd name="connsiteY7" fmla="*/ 15903 h 16330"/>
              <a:gd name="connsiteX8" fmla="*/ 11000 w 19203"/>
              <a:gd name="connsiteY8" fmla="*/ 15895 h 16330"/>
              <a:gd name="connsiteX9" fmla="*/ 13786 w 19203"/>
              <a:gd name="connsiteY9" fmla="*/ 15872 h 16330"/>
              <a:gd name="connsiteX10" fmla="*/ 15633 w 19203"/>
              <a:gd name="connsiteY10" fmla="*/ 15840 h 16330"/>
              <a:gd name="connsiteX11" fmla="*/ 19177 w 19203"/>
              <a:gd name="connsiteY11" fmla="*/ 15966 h 16330"/>
              <a:gd name="connsiteX12" fmla="*/ 19180 w 19203"/>
              <a:gd name="connsiteY12" fmla="*/ 12271 h 16330"/>
              <a:gd name="connsiteX13" fmla="*/ 19195 w 19203"/>
              <a:gd name="connsiteY13" fmla="*/ 9129 h 16330"/>
              <a:gd name="connsiteX14" fmla="*/ 19161 w 19203"/>
              <a:gd name="connsiteY14" fmla="*/ 3610 h 16330"/>
              <a:gd name="connsiteX15" fmla="*/ 15199 w 19203"/>
              <a:gd name="connsiteY15" fmla="*/ 859 h 16330"/>
              <a:gd name="connsiteX16" fmla="*/ 11465 w 19203"/>
              <a:gd name="connsiteY16" fmla="*/ 23 h 16330"/>
              <a:gd name="connsiteX0" fmla="*/ 11465 w 19203"/>
              <a:gd name="connsiteY0" fmla="*/ 23 h 16142"/>
              <a:gd name="connsiteX1" fmla="*/ 5703 w 19203"/>
              <a:gd name="connsiteY1" fmla="*/ 1085 h 16142"/>
              <a:gd name="connsiteX2" fmla="*/ 1220 w 19203"/>
              <a:gd name="connsiteY2" fmla="*/ 5155 h 16142"/>
              <a:gd name="connsiteX3" fmla="*/ 36 w 19203"/>
              <a:gd name="connsiteY3" fmla="*/ 9089 h 16142"/>
              <a:gd name="connsiteX4" fmla="*/ 353 w 19203"/>
              <a:gd name="connsiteY4" fmla="*/ 13412 h 16142"/>
              <a:gd name="connsiteX5" fmla="*/ 1192 w 19203"/>
              <a:gd name="connsiteY5" fmla="*/ 15940 h 16142"/>
              <a:gd name="connsiteX6" fmla="*/ 5793 w 19203"/>
              <a:gd name="connsiteY6" fmla="*/ 15979 h 16142"/>
              <a:gd name="connsiteX7" fmla="*/ 8678 w 19203"/>
              <a:gd name="connsiteY7" fmla="*/ 15903 h 16142"/>
              <a:gd name="connsiteX8" fmla="*/ 11000 w 19203"/>
              <a:gd name="connsiteY8" fmla="*/ 15895 h 16142"/>
              <a:gd name="connsiteX9" fmla="*/ 13786 w 19203"/>
              <a:gd name="connsiteY9" fmla="*/ 15872 h 16142"/>
              <a:gd name="connsiteX10" fmla="*/ 15633 w 19203"/>
              <a:gd name="connsiteY10" fmla="*/ 15840 h 16142"/>
              <a:gd name="connsiteX11" fmla="*/ 19177 w 19203"/>
              <a:gd name="connsiteY11" fmla="*/ 15966 h 16142"/>
              <a:gd name="connsiteX12" fmla="*/ 19180 w 19203"/>
              <a:gd name="connsiteY12" fmla="*/ 12271 h 16142"/>
              <a:gd name="connsiteX13" fmla="*/ 19195 w 19203"/>
              <a:gd name="connsiteY13" fmla="*/ 9129 h 16142"/>
              <a:gd name="connsiteX14" fmla="*/ 19161 w 19203"/>
              <a:gd name="connsiteY14" fmla="*/ 3610 h 16142"/>
              <a:gd name="connsiteX15" fmla="*/ 15199 w 19203"/>
              <a:gd name="connsiteY15" fmla="*/ 859 h 16142"/>
              <a:gd name="connsiteX16" fmla="*/ 11465 w 19203"/>
              <a:gd name="connsiteY16" fmla="*/ 23 h 16142"/>
              <a:gd name="connsiteX0" fmla="*/ 11465 w 19203"/>
              <a:gd name="connsiteY0" fmla="*/ 23 h 16118"/>
              <a:gd name="connsiteX1" fmla="*/ 5703 w 19203"/>
              <a:gd name="connsiteY1" fmla="*/ 1085 h 16118"/>
              <a:gd name="connsiteX2" fmla="*/ 1220 w 19203"/>
              <a:gd name="connsiteY2" fmla="*/ 5155 h 16118"/>
              <a:gd name="connsiteX3" fmla="*/ 36 w 19203"/>
              <a:gd name="connsiteY3" fmla="*/ 9089 h 16118"/>
              <a:gd name="connsiteX4" fmla="*/ 353 w 19203"/>
              <a:gd name="connsiteY4" fmla="*/ 13412 h 16118"/>
              <a:gd name="connsiteX5" fmla="*/ 1192 w 19203"/>
              <a:gd name="connsiteY5" fmla="*/ 15940 h 16118"/>
              <a:gd name="connsiteX6" fmla="*/ 5793 w 19203"/>
              <a:gd name="connsiteY6" fmla="*/ 15979 h 16118"/>
              <a:gd name="connsiteX7" fmla="*/ 8678 w 19203"/>
              <a:gd name="connsiteY7" fmla="*/ 15903 h 16118"/>
              <a:gd name="connsiteX8" fmla="*/ 11000 w 19203"/>
              <a:gd name="connsiteY8" fmla="*/ 15895 h 16118"/>
              <a:gd name="connsiteX9" fmla="*/ 13786 w 19203"/>
              <a:gd name="connsiteY9" fmla="*/ 15872 h 16118"/>
              <a:gd name="connsiteX10" fmla="*/ 15633 w 19203"/>
              <a:gd name="connsiteY10" fmla="*/ 15840 h 16118"/>
              <a:gd name="connsiteX11" fmla="*/ 19177 w 19203"/>
              <a:gd name="connsiteY11" fmla="*/ 15966 h 16118"/>
              <a:gd name="connsiteX12" fmla="*/ 19180 w 19203"/>
              <a:gd name="connsiteY12" fmla="*/ 12271 h 16118"/>
              <a:gd name="connsiteX13" fmla="*/ 19195 w 19203"/>
              <a:gd name="connsiteY13" fmla="*/ 9129 h 16118"/>
              <a:gd name="connsiteX14" fmla="*/ 19161 w 19203"/>
              <a:gd name="connsiteY14" fmla="*/ 3610 h 16118"/>
              <a:gd name="connsiteX15" fmla="*/ 15199 w 19203"/>
              <a:gd name="connsiteY15" fmla="*/ 859 h 16118"/>
              <a:gd name="connsiteX16" fmla="*/ 11465 w 19203"/>
              <a:gd name="connsiteY16" fmla="*/ 23 h 16118"/>
              <a:gd name="connsiteX0" fmla="*/ 11465 w 19203"/>
              <a:gd name="connsiteY0" fmla="*/ 23 h 16130"/>
              <a:gd name="connsiteX1" fmla="*/ 5703 w 19203"/>
              <a:gd name="connsiteY1" fmla="*/ 1085 h 16130"/>
              <a:gd name="connsiteX2" fmla="*/ 1220 w 19203"/>
              <a:gd name="connsiteY2" fmla="*/ 5155 h 16130"/>
              <a:gd name="connsiteX3" fmla="*/ 36 w 19203"/>
              <a:gd name="connsiteY3" fmla="*/ 9089 h 16130"/>
              <a:gd name="connsiteX4" fmla="*/ 353 w 19203"/>
              <a:gd name="connsiteY4" fmla="*/ 13412 h 16130"/>
              <a:gd name="connsiteX5" fmla="*/ 1192 w 19203"/>
              <a:gd name="connsiteY5" fmla="*/ 15940 h 16130"/>
              <a:gd name="connsiteX6" fmla="*/ 5793 w 19203"/>
              <a:gd name="connsiteY6" fmla="*/ 15979 h 16130"/>
              <a:gd name="connsiteX7" fmla="*/ 8678 w 19203"/>
              <a:gd name="connsiteY7" fmla="*/ 15903 h 16130"/>
              <a:gd name="connsiteX8" fmla="*/ 11000 w 19203"/>
              <a:gd name="connsiteY8" fmla="*/ 15895 h 16130"/>
              <a:gd name="connsiteX9" fmla="*/ 13786 w 19203"/>
              <a:gd name="connsiteY9" fmla="*/ 15872 h 16130"/>
              <a:gd name="connsiteX10" fmla="*/ 15633 w 19203"/>
              <a:gd name="connsiteY10" fmla="*/ 15840 h 16130"/>
              <a:gd name="connsiteX11" fmla="*/ 19177 w 19203"/>
              <a:gd name="connsiteY11" fmla="*/ 15966 h 16130"/>
              <a:gd name="connsiteX12" fmla="*/ 19180 w 19203"/>
              <a:gd name="connsiteY12" fmla="*/ 12271 h 16130"/>
              <a:gd name="connsiteX13" fmla="*/ 19195 w 19203"/>
              <a:gd name="connsiteY13" fmla="*/ 9129 h 16130"/>
              <a:gd name="connsiteX14" fmla="*/ 19161 w 19203"/>
              <a:gd name="connsiteY14" fmla="*/ 3610 h 16130"/>
              <a:gd name="connsiteX15" fmla="*/ 15199 w 19203"/>
              <a:gd name="connsiteY15" fmla="*/ 859 h 16130"/>
              <a:gd name="connsiteX16" fmla="*/ 11465 w 19203"/>
              <a:gd name="connsiteY16" fmla="*/ 23 h 16130"/>
              <a:gd name="connsiteX0" fmla="*/ 11465 w 19203"/>
              <a:gd name="connsiteY0" fmla="*/ 23 h 16014"/>
              <a:gd name="connsiteX1" fmla="*/ 5703 w 19203"/>
              <a:gd name="connsiteY1" fmla="*/ 1085 h 16014"/>
              <a:gd name="connsiteX2" fmla="*/ 1220 w 19203"/>
              <a:gd name="connsiteY2" fmla="*/ 5155 h 16014"/>
              <a:gd name="connsiteX3" fmla="*/ 36 w 19203"/>
              <a:gd name="connsiteY3" fmla="*/ 9089 h 16014"/>
              <a:gd name="connsiteX4" fmla="*/ 353 w 19203"/>
              <a:gd name="connsiteY4" fmla="*/ 13412 h 16014"/>
              <a:gd name="connsiteX5" fmla="*/ 1192 w 19203"/>
              <a:gd name="connsiteY5" fmla="*/ 15940 h 16014"/>
              <a:gd name="connsiteX6" fmla="*/ 5793 w 19203"/>
              <a:gd name="connsiteY6" fmla="*/ 15979 h 16014"/>
              <a:gd name="connsiteX7" fmla="*/ 8678 w 19203"/>
              <a:gd name="connsiteY7" fmla="*/ 15903 h 16014"/>
              <a:gd name="connsiteX8" fmla="*/ 11000 w 19203"/>
              <a:gd name="connsiteY8" fmla="*/ 15895 h 16014"/>
              <a:gd name="connsiteX9" fmla="*/ 13786 w 19203"/>
              <a:gd name="connsiteY9" fmla="*/ 15872 h 16014"/>
              <a:gd name="connsiteX10" fmla="*/ 15633 w 19203"/>
              <a:gd name="connsiteY10" fmla="*/ 15840 h 16014"/>
              <a:gd name="connsiteX11" fmla="*/ 19177 w 19203"/>
              <a:gd name="connsiteY11" fmla="*/ 15966 h 16014"/>
              <a:gd name="connsiteX12" fmla="*/ 19180 w 19203"/>
              <a:gd name="connsiteY12" fmla="*/ 12271 h 16014"/>
              <a:gd name="connsiteX13" fmla="*/ 19195 w 19203"/>
              <a:gd name="connsiteY13" fmla="*/ 9129 h 16014"/>
              <a:gd name="connsiteX14" fmla="*/ 19161 w 19203"/>
              <a:gd name="connsiteY14" fmla="*/ 3610 h 16014"/>
              <a:gd name="connsiteX15" fmla="*/ 15199 w 19203"/>
              <a:gd name="connsiteY15" fmla="*/ 859 h 16014"/>
              <a:gd name="connsiteX16" fmla="*/ 11465 w 19203"/>
              <a:gd name="connsiteY16" fmla="*/ 23 h 16014"/>
              <a:gd name="connsiteX0" fmla="*/ 11465 w 19203"/>
              <a:gd name="connsiteY0" fmla="*/ 23 h 16061"/>
              <a:gd name="connsiteX1" fmla="*/ 5703 w 19203"/>
              <a:gd name="connsiteY1" fmla="*/ 1085 h 16061"/>
              <a:gd name="connsiteX2" fmla="*/ 1220 w 19203"/>
              <a:gd name="connsiteY2" fmla="*/ 5155 h 16061"/>
              <a:gd name="connsiteX3" fmla="*/ 36 w 19203"/>
              <a:gd name="connsiteY3" fmla="*/ 9089 h 16061"/>
              <a:gd name="connsiteX4" fmla="*/ 353 w 19203"/>
              <a:gd name="connsiteY4" fmla="*/ 13412 h 16061"/>
              <a:gd name="connsiteX5" fmla="*/ 1192 w 19203"/>
              <a:gd name="connsiteY5" fmla="*/ 15940 h 16061"/>
              <a:gd name="connsiteX6" fmla="*/ 5793 w 19203"/>
              <a:gd name="connsiteY6" fmla="*/ 15687 h 16061"/>
              <a:gd name="connsiteX7" fmla="*/ 8678 w 19203"/>
              <a:gd name="connsiteY7" fmla="*/ 15903 h 16061"/>
              <a:gd name="connsiteX8" fmla="*/ 11000 w 19203"/>
              <a:gd name="connsiteY8" fmla="*/ 15895 h 16061"/>
              <a:gd name="connsiteX9" fmla="*/ 13786 w 19203"/>
              <a:gd name="connsiteY9" fmla="*/ 15872 h 16061"/>
              <a:gd name="connsiteX10" fmla="*/ 15633 w 19203"/>
              <a:gd name="connsiteY10" fmla="*/ 15840 h 16061"/>
              <a:gd name="connsiteX11" fmla="*/ 19177 w 19203"/>
              <a:gd name="connsiteY11" fmla="*/ 15966 h 16061"/>
              <a:gd name="connsiteX12" fmla="*/ 19180 w 19203"/>
              <a:gd name="connsiteY12" fmla="*/ 12271 h 16061"/>
              <a:gd name="connsiteX13" fmla="*/ 19195 w 19203"/>
              <a:gd name="connsiteY13" fmla="*/ 9129 h 16061"/>
              <a:gd name="connsiteX14" fmla="*/ 19161 w 19203"/>
              <a:gd name="connsiteY14" fmla="*/ 3610 h 16061"/>
              <a:gd name="connsiteX15" fmla="*/ 15199 w 19203"/>
              <a:gd name="connsiteY15" fmla="*/ 859 h 16061"/>
              <a:gd name="connsiteX16" fmla="*/ 11465 w 19203"/>
              <a:gd name="connsiteY16" fmla="*/ 23 h 16061"/>
              <a:gd name="connsiteX0" fmla="*/ 11465 w 19203"/>
              <a:gd name="connsiteY0" fmla="*/ 23 h 16107"/>
              <a:gd name="connsiteX1" fmla="*/ 5703 w 19203"/>
              <a:gd name="connsiteY1" fmla="*/ 1085 h 16107"/>
              <a:gd name="connsiteX2" fmla="*/ 1220 w 19203"/>
              <a:gd name="connsiteY2" fmla="*/ 5155 h 16107"/>
              <a:gd name="connsiteX3" fmla="*/ 36 w 19203"/>
              <a:gd name="connsiteY3" fmla="*/ 9089 h 16107"/>
              <a:gd name="connsiteX4" fmla="*/ 353 w 19203"/>
              <a:gd name="connsiteY4" fmla="*/ 13412 h 16107"/>
              <a:gd name="connsiteX5" fmla="*/ 1192 w 19203"/>
              <a:gd name="connsiteY5" fmla="*/ 15940 h 16107"/>
              <a:gd name="connsiteX6" fmla="*/ 5793 w 19203"/>
              <a:gd name="connsiteY6" fmla="*/ 15873 h 16107"/>
              <a:gd name="connsiteX7" fmla="*/ 8678 w 19203"/>
              <a:gd name="connsiteY7" fmla="*/ 15903 h 16107"/>
              <a:gd name="connsiteX8" fmla="*/ 11000 w 19203"/>
              <a:gd name="connsiteY8" fmla="*/ 15895 h 16107"/>
              <a:gd name="connsiteX9" fmla="*/ 13786 w 19203"/>
              <a:gd name="connsiteY9" fmla="*/ 15872 h 16107"/>
              <a:gd name="connsiteX10" fmla="*/ 15633 w 19203"/>
              <a:gd name="connsiteY10" fmla="*/ 15840 h 16107"/>
              <a:gd name="connsiteX11" fmla="*/ 19177 w 19203"/>
              <a:gd name="connsiteY11" fmla="*/ 15966 h 16107"/>
              <a:gd name="connsiteX12" fmla="*/ 19180 w 19203"/>
              <a:gd name="connsiteY12" fmla="*/ 12271 h 16107"/>
              <a:gd name="connsiteX13" fmla="*/ 19195 w 19203"/>
              <a:gd name="connsiteY13" fmla="*/ 9129 h 16107"/>
              <a:gd name="connsiteX14" fmla="*/ 19161 w 19203"/>
              <a:gd name="connsiteY14" fmla="*/ 3610 h 16107"/>
              <a:gd name="connsiteX15" fmla="*/ 15199 w 19203"/>
              <a:gd name="connsiteY15" fmla="*/ 859 h 16107"/>
              <a:gd name="connsiteX16" fmla="*/ 11465 w 19203"/>
              <a:gd name="connsiteY16" fmla="*/ 23 h 16107"/>
              <a:gd name="connsiteX0" fmla="*/ 11469 w 19207"/>
              <a:gd name="connsiteY0" fmla="*/ 23 h 15966"/>
              <a:gd name="connsiteX1" fmla="*/ 5707 w 19207"/>
              <a:gd name="connsiteY1" fmla="*/ 1085 h 15966"/>
              <a:gd name="connsiteX2" fmla="*/ 1224 w 19207"/>
              <a:gd name="connsiteY2" fmla="*/ 5155 h 15966"/>
              <a:gd name="connsiteX3" fmla="*/ 40 w 19207"/>
              <a:gd name="connsiteY3" fmla="*/ 9089 h 15966"/>
              <a:gd name="connsiteX4" fmla="*/ 357 w 19207"/>
              <a:gd name="connsiteY4" fmla="*/ 13412 h 15966"/>
              <a:gd name="connsiteX5" fmla="*/ 1448 w 19207"/>
              <a:gd name="connsiteY5" fmla="*/ 15463 h 15966"/>
              <a:gd name="connsiteX6" fmla="*/ 5797 w 19207"/>
              <a:gd name="connsiteY6" fmla="*/ 15873 h 15966"/>
              <a:gd name="connsiteX7" fmla="*/ 8682 w 19207"/>
              <a:gd name="connsiteY7" fmla="*/ 15903 h 15966"/>
              <a:gd name="connsiteX8" fmla="*/ 11004 w 19207"/>
              <a:gd name="connsiteY8" fmla="*/ 15895 h 15966"/>
              <a:gd name="connsiteX9" fmla="*/ 13790 w 19207"/>
              <a:gd name="connsiteY9" fmla="*/ 15872 h 15966"/>
              <a:gd name="connsiteX10" fmla="*/ 15637 w 19207"/>
              <a:gd name="connsiteY10" fmla="*/ 15840 h 15966"/>
              <a:gd name="connsiteX11" fmla="*/ 19181 w 19207"/>
              <a:gd name="connsiteY11" fmla="*/ 15966 h 15966"/>
              <a:gd name="connsiteX12" fmla="*/ 19184 w 19207"/>
              <a:gd name="connsiteY12" fmla="*/ 12271 h 15966"/>
              <a:gd name="connsiteX13" fmla="*/ 19199 w 19207"/>
              <a:gd name="connsiteY13" fmla="*/ 9129 h 15966"/>
              <a:gd name="connsiteX14" fmla="*/ 19165 w 19207"/>
              <a:gd name="connsiteY14" fmla="*/ 3610 h 15966"/>
              <a:gd name="connsiteX15" fmla="*/ 15203 w 19207"/>
              <a:gd name="connsiteY15" fmla="*/ 859 h 15966"/>
              <a:gd name="connsiteX16" fmla="*/ 11469 w 19207"/>
              <a:gd name="connsiteY16" fmla="*/ 23 h 15966"/>
              <a:gd name="connsiteX0" fmla="*/ 11469 w 19207"/>
              <a:gd name="connsiteY0" fmla="*/ 23 h 15966"/>
              <a:gd name="connsiteX1" fmla="*/ 5707 w 19207"/>
              <a:gd name="connsiteY1" fmla="*/ 1085 h 15966"/>
              <a:gd name="connsiteX2" fmla="*/ 1224 w 19207"/>
              <a:gd name="connsiteY2" fmla="*/ 5155 h 15966"/>
              <a:gd name="connsiteX3" fmla="*/ 40 w 19207"/>
              <a:gd name="connsiteY3" fmla="*/ 9089 h 15966"/>
              <a:gd name="connsiteX4" fmla="*/ 357 w 19207"/>
              <a:gd name="connsiteY4" fmla="*/ 13412 h 15966"/>
              <a:gd name="connsiteX5" fmla="*/ 1448 w 19207"/>
              <a:gd name="connsiteY5" fmla="*/ 15463 h 15966"/>
              <a:gd name="connsiteX6" fmla="*/ 5797 w 19207"/>
              <a:gd name="connsiteY6" fmla="*/ 15873 h 15966"/>
              <a:gd name="connsiteX7" fmla="*/ 8682 w 19207"/>
              <a:gd name="connsiteY7" fmla="*/ 15903 h 15966"/>
              <a:gd name="connsiteX8" fmla="*/ 11004 w 19207"/>
              <a:gd name="connsiteY8" fmla="*/ 15895 h 15966"/>
              <a:gd name="connsiteX9" fmla="*/ 13790 w 19207"/>
              <a:gd name="connsiteY9" fmla="*/ 15872 h 15966"/>
              <a:gd name="connsiteX10" fmla="*/ 15637 w 19207"/>
              <a:gd name="connsiteY10" fmla="*/ 15840 h 15966"/>
              <a:gd name="connsiteX11" fmla="*/ 19181 w 19207"/>
              <a:gd name="connsiteY11" fmla="*/ 15966 h 15966"/>
              <a:gd name="connsiteX12" fmla="*/ 19184 w 19207"/>
              <a:gd name="connsiteY12" fmla="*/ 12271 h 15966"/>
              <a:gd name="connsiteX13" fmla="*/ 19199 w 19207"/>
              <a:gd name="connsiteY13" fmla="*/ 9129 h 15966"/>
              <a:gd name="connsiteX14" fmla="*/ 19165 w 19207"/>
              <a:gd name="connsiteY14" fmla="*/ 3610 h 15966"/>
              <a:gd name="connsiteX15" fmla="*/ 15203 w 19207"/>
              <a:gd name="connsiteY15" fmla="*/ 859 h 15966"/>
              <a:gd name="connsiteX16" fmla="*/ 11469 w 19207"/>
              <a:gd name="connsiteY16" fmla="*/ 23 h 15966"/>
              <a:gd name="connsiteX0" fmla="*/ 11468 w 19206"/>
              <a:gd name="connsiteY0" fmla="*/ 23 h 15966"/>
              <a:gd name="connsiteX1" fmla="*/ 5706 w 19206"/>
              <a:gd name="connsiteY1" fmla="*/ 1085 h 15966"/>
              <a:gd name="connsiteX2" fmla="*/ 1223 w 19206"/>
              <a:gd name="connsiteY2" fmla="*/ 5155 h 15966"/>
              <a:gd name="connsiteX3" fmla="*/ 39 w 19206"/>
              <a:gd name="connsiteY3" fmla="*/ 9089 h 15966"/>
              <a:gd name="connsiteX4" fmla="*/ 356 w 19206"/>
              <a:gd name="connsiteY4" fmla="*/ 13412 h 15966"/>
              <a:gd name="connsiteX5" fmla="*/ 1378 w 19206"/>
              <a:gd name="connsiteY5" fmla="*/ 15755 h 15966"/>
              <a:gd name="connsiteX6" fmla="*/ 5796 w 19206"/>
              <a:gd name="connsiteY6" fmla="*/ 15873 h 15966"/>
              <a:gd name="connsiteX7" fmla="*/ 8681 w 19206"/>
              <a:gd name="connsiteY7" fmla="*/ 15903 h 15966"/>
              <a:gd name="connsiteX8" fmla="*/ 11003 w 19206"/>
              <a:gd name="connsiteY8" fmla="*/ 15895 h 15966"/>
              <a:gd name="connsiteX9" fmla="*/ 13789 w 19206"/>
              <a:gd name="connsiteY9" fmla="*/ 15872 h 15966"/>
              <a:gd name="connsiteX10" fmla="*/ 15636 w 19206"/>
              <a:gd name="connsiteY10" fmla="*/ 15840 h 15966"/>
              <a:gd name="connsiteX11" fmla="*/ 19180 w 19206"/>
              <a:gd name="connsiteY11" fmla="*/ 15966 h 15966"/>
              <a:gd name="connsiteX12" fmla="*/ 19183 w 19206"/>
              <a:gd name="connsiteY12" fmla="*/ 12271 h 15966"/>
              <a:gd name="connsiteX13" fmla="*/ 19198 w 19206"/>
              <a:gd name="connsiteY13" fmla="*/ 9129 h 15966"/>
              <a:gd name="connsiteX14" fmla="*/ 19164 w 19206"/>
              <a:gd name="connsiteY14" fmla="*/ 3610 h 15966"/>
              <a:gd name="connsiteX15" fmla="*/ 15202 w 19206"/>
              <a:gd name="connsiteY15" fmla="*/ 859 h 15966"/>
              <a:gd name="connsiteX16" fmla="*/ 11468 w 19206"/>
              <a:gd name="connsiteY16" fmla="*/ 23 h 15966"/>
              <a:gd name="connsiteX0" fmla="*/ 11468 w 19206"/>
              <a:gd name="connsiteY0" fmla="*/ 23 h 15966"/>
              <a:gd name="connsiteX1" fmla="*/ 5706 w 19206"/>
              <a:gd name="connsiteY1" fmla="*/ 1085 h 15966"/>
              <a:gd name="connsiteX2" fmla="*/ 1223 w 19206"/>
              <a:gd name="connsiteY2" fmla="*/ 5155 h 15966"/>
              <a:gd name="connsiteX3" fmla="*/ 39 w 19206"/>
              <a:gd name="connsiteY3" fmla="*/ 9089 h 15966"/>
              <a:gd name="connsiteX4" fmla="*/ 356 w 19206"/>
              <a:gd name="connsiteY4" fmla="*/ 13412 h 15966"/>
              <a:gd name="connsiteX5" fmla="*/ 1378 w 19206"/>
              <a:gd name="connsiteY5" fmla="*/ 15755 h 15966"/>
              <a:gd name="connsiteX6" fmla="*/ 5796 w 19206"/>
              <a:gd name="connsiteY6" fmla="*/ 15873 h 15966"/>
              <a:gd name="connsiteX7" fmla="*/ 8681 w 19206"/>
              <a:gd name="connsiteY7" fmla="*/ 15903 h 15966"/>
              <a:gd name="connsiteX8" fmla="*/ 11003 w 19206"/>
              <a:gd name="connsiteY8" fmla="*/ 15895 h 15966"/>
              <a:gd name="connsiteX9" fmla="*/ 13789 w 19206"/>
              <a:gd name="connsiteY9" fmla="*/ 15872 h 15966"/>
              <a:gd name="connsiteX10" fmla="*/ 15636 w 19206"/>
              <a:gd name="connsiteY10" fmla="*/ 15840 h 15966"/>
              <a:gd name="connsiteX11" fmla="*/ 19180 w 19206"/>
              <a:gd name="connsiteY11" fmla="*/ 15966 h 15966"/>
              <a:gd name="connsiteX12" fmla="*/ 19183 w 19206"/>
              <a:gd name="connsiteY12" fmla="*/ 12271 h 15966"/>
              <a:gd name="connsiteX13" fmla="*/ 19198 w 19206"/>
              <a:gd name="connsiteY13" fmla="*/ 9129 h 15966"/>
              <a:gd name="connsiteX14" fmla="*/ 19164 w 19206"/>
              <a:gd name="connsiteY14" fmla="*/ 3610 h 15966"/>
              <a:gd name="connsiteX15" fmla="*/ 15202 w 19206"/>
              <a:gd name="connsiteY15" fmla="*/ 859 h 15966"/>
              <a:gd name="connsiteX16" fmla="*/ 11468 w 19206"/>
              <a:gd name="connsiteY16" fmla="*/ 23 h 15966"/>
              <a:gd name="connsiteX0" fmla="*/ 11465 w 19203"/>
              <a:gd name="connsiteY0" fmla="*/ 23 h 15966"/>
              <a:gd name="connsiteX1" fmla="*/ 5703 w 19203"/>
              <a:gd name="connsiteY1" fmla="*/ 1085 h 15966"/>
              <a:gd name="connsiteX2" fmla="*/ 1220 w 19203"/>
              <a:gd name="connsiteY2" fmla="*/ 5155 h 15966"/>
              <a:gd name="connsiteX3" fmla="*/ 36 w 19203"/>
              <a:gd name="connsiteY3" fmla="*/ 9089 h 15966"/>
              <a:gd name="connsiteX4" fmla="*/ 353 w 19203"/>
              <a:gd name="connsiteY4" fmla="*/ 13412 h 15966"/>
              <a:gd name="connsiteX5" fmla="*/ 1146 w 19203"/>
              <a:gd name="connsiteY5" fmla="*/ 15835 h 15966"/>
              <a:gd name="connsiteX6" fmla="*/ 5793 w 19203"/>
              <a:gd name="connsiteY6" fmla="*/ 15873 h 15966"/>
              <a:gd name="connsiteX7" fmla="*/ 8678 w 19203"/>
              <a:gd name="connsiteY7" fmla="*/ 15903 h 15966"/>
              <a:gd name="connsiteX8" fmla="*/ 11000 w 19203"/>
              <a:gd name="connsiteY8" fmla="*/ 15895 h 15966"/>
              <a:gd name="connsiteX9" fmla="*/ 13786 w 19203"/>
              <a:gd name="connsiteY9" fmla="*/ 15872 h 15966"/>
              <a:gd name="connsiteX10" fmla="*/ 15633 w 19203"/>
              <a:gd name="connsiteY10" fmla="*/ 15840 h 15966"/>
              <a:gd name="connsiteX11" fmla="*/ 19177 w 19203"/>
              <a:gd name="connsiteY11" fmla="*/ 15966 h 15966"/>
              <a:gd name="connsiteX12" fmla="*/ 19180 w 19203"/>
              <a:gd name="connsiteY12" fmla="*/ 12271 h 15966"/>
              <a:gd name="connsiteX13" fmla="*/ 19195 w 19203"/>
              <a:gd name="connsiteY13" fmla="*/ 9129 h 15966"/>
              <a:gd name="connsiteX14" fmla="*/ 19161 w 19203"/>
              <a:gd name="connsiteY14" fmla="*/ 3610 h 15966"/>
              <a:gd name="connsiteX15" fmla="*/ 15199 w 19203"/>
              <a:gd name="connsiteY15" fmla="*/ 859 h 15966"/>
              <a:gd name="connsiteX16" fmla="*/ 11465 w 19203"/>
              <a:gd name="connsiteY16" fmla="*/ 23 h 15966"/>
              <a:gd name="connsiteX0" fmla="*/ 11465 w 19203"/>
              <a:gd name="connsiteY0" fmla="*/ 23 h 15903"/>
              <a:gd name="connsiteX1" fmla="*/ 5703 w 19203"/>
              <a:gd name="connsiteY1" fmla="*/ 1085 h 15903"/>
              <a:gd name="connsiteX2" fmla="*/ 1220 w 19203"/>
              <a:gd name="connsiteY2" fmla="*/ 5155 h 15903"/>
              <a:gd name="connsiteX3" fmla="*/ 36 w 19203"/>
              <a:gd name="connsiteY3" fmla="*/ 9089 h 15903"/>
              <a:gd name="connsiteX4" fmla="*/ 353 w 19203"/>
              <a:gd name="connsiteY4" fmla="*/ 13412 h 15903"/>
              <a:gd name="connsiteX5" fmla="*/ 1146 w 19203"/>
              <a:gd name="connsiteY5" fmla="*/ 15835 h 15903"/>
              <a:gd name="connsiteX6" fmla="*/ 5793 w 19203"/>
              <a:gd name="connsiteY6" fmla="*/ 15873 h 15903"/>
              <a:gd name="connsiteX7" fmla="*/ 8678 w 19203"/>
              <a:gd name="connsiteY7" fmla="*/ 15903 h 15903"/>
              <a:gd name="connsiteX8" fmla="*/ 11000 w 19203"/>
              <a:gd name="connsiteY8" fmla="*/ 15895 h 15903"/>
              <a:gd name="connsiteX9" fmla="*/ 13786 w 19203"/>
              <a:gd name="connsiteY9" fmla="*/ 15872 h 15903"/>
              <a:gd name="connsiteX10" fmla="*/ 15633 w 19203"/>
              <a:gd name="connsiteY10" fmla="*/ 15840 h 15903"/>
              <a:gd name="connsiteX11" fmla="*/ 19154 w 19203"/>
              <a:gd name="connsiteY11" fmla="*/ 15515 h 15903"/>
              <a:gd name="connsiteX12" fmla="*/ 19180 w 19203"/>
              <a:gd name="connsiteY12" fmla="*/ 12271 h 15903"/>
              <a:gd name="connsiteX13" fmla="*/ 19195 w 19203"/>
              <a:gd name="connsiteY13" fmla="*/ 9129 h 15903"/>
              <a:gd name="connsiteX14" fmla="*/ 19161 w 19203"/>
              <a:gd name="connsiteY14" fmla="*/ 3610 h 15903"/>
              <a:gd name="connsiteX15" fmla="*/ 15199 w 19203"/>
              <a:gd name="connsiteY15" fmla="*/ 859 h 15903"/>
              <a:gd name="connsiteX16" fmla="*/ 11465 w 19203"/>
              <a:gd name="connsiteY16" fmla="*/ 23 h 15903"/>
              <a:gd name="connsiteX0" fmla="*/ 11465 w 19203"/>
              <a:gd name="connsiteY0" fmla="*/ 23 h 15913"/>
              <a:gd name="connsiteX1" fmla="*/ 5703 w 19203"/>
              <a:gd name="connsiteY1" fmla="*/ 1085 h 15913"/>
              <a:gd name="connsiteX2" fmla="*/ 1220 w 19203"/>
              <a:gd name="connsiteY2" fmla="*/ 5155 h 15913"/>
              <a:gd name="connsiteX3" fmla="*/ 36 w 19203"/>
              <a:gd name="connsiteY3" fmla="*/ 9089 h 15913"/>
              <a:gd name="connsiteX4" fmla="*/ 353 w 19203"/>
              <a:gd name="connsiteY4" fmla="*/ 13412 h 15913"/>
              <a:gd name="connsiteX5" fmla="*/ 1146 w 19203"/>
              <a:gd name="connsiteY5" fmla="*/ 15835 h 15913"/>
              <a:gd name="connsiteX6" fmla="*/ 5793 w 19203"/>
              <a:gd name="connsiteY6" fmla="*/ 15873 h 15913"/>
              <a:gd name="connsiteX7" fmla="*/ 8678 w 19203"/>
              <a:gd name="connsiteY7" fmla="*/ 15903 h 15913"/>
              <a:gd name="connsiteX8" fmla="*/ 11000 w 19203"/>
              <a:gd name="connsiteY8" fmla="*/ 15895 h 15913"/>
              <a:gd name="connsiteX9" fmla="*/ 13786 w 19203"/>
              <a:gd name="connsiteY9" fmla="*/ 15872 h 15913"/>
              <a:gd name="connsiteX10" fmla="*/ 15633 w 19203"/>
              <a:gd name="connsiteY10" fmla="*/ 15840 h 15913"/>
              <a:gd name="connsiteX11" fmla="*/ 19154 w 19203"/>
              <a:gd name="connsiteY11" fmla="*/ 15913 h 15913"/>
              <a:gd name="connsiteX12" fmla="*/ 19180 w 19203"/>
              <a:gd name="connsiteY12" fmla="*/ 12271 h 15913"/>
              <a:gd name="connsiteX13" fmla="*/ 19195 w 19203"/>
              <a:gd name="connsiteY13" fmla="*/ 9129 h 15913"/>
              <a:gd name="connsiteX14" fmla="*/ 19161 w 19203"/>
              <a:gd name="connsiteY14" fmla="*/ 3610 h 15913"/>
              <a:gd name="connsiteX15" fmla="*/ 15199 w 19203"/>
              <a:gd name="connsiteY15" fmla="*/ 859 h 15913"/>
              <a:gd name="connsiteX16" fmla="*/ 11465 w 19203"/>
              <a:gd name="connsiteY16" fmla="*/ 23 h 15913"/>
              <a:gd name="connsiteX0" fmla="*/ 11465 w 19203"/>
              <a:gd name="connsiteY0" fmla="*/ 23 h 15913"/>
              <a:gd name="connsiteX1" fmla="*/ 5703 w 19203"/>
              <a:gd name="connsiteY1" fmla="*/ 1085 h 15913"/>
              <a:gd name="connsiteX2" fmla="*/ 1220 w 19203"/>
              <a:gd name="connsiteY2" fmla="*/ 5155 h 15913"/>
              <a:gd name="connsiteX3" fmla="*/ 36 w 19203"/>
              <a:gd name="connsiteY3" fmla="*/ 9089 h 15913"/>
              <a:gd name="connsiteX4" fmla="*/ 353 w 19203"/>
              <a:gd name="connsiteY4" fmla="*/ 13412 h 15913"/>
              <a:gd name="connsiteX5" fmla="*/ 1146 w 19203"/>
              <a:gd name="connsiteY5" fmla="*/ 15835 h 15913"/>
              <a:gd name="connsiteX6" fmla="*/ 5793 w 19203"/>
              <a:gd name="connsiteY6" fmla="*/ 15873 h 15913"/>
              <a:gd name="connsiteX7" fmla="*/ 8678 w 19203"/>
              <a:gd name="connsiteY7" fmla="*/ 15744 h 15913"/>
              <a:gd name="connsiteX8" fmla="*/ 11000 w 19203"/>
              <a:gd name="connsiteY8" fmla="*/ 15895 h 15913"/>
              <a:gd name="connsiteX9" fmla="*/ 13786 w 19203"/>
              <a:gd name="connsiteY9" fmla="*/ 15872 h 15913"/>
              <a:gd name="connsiteX10" fmla="*/ 15633 w 19203"/>
              <a:gd name="connsiteY10" fmla="*/ 15840 h 15913"/>
              <a:gd name="connsiteX11" fmla="*/ 19154 w 19203"/>
              <a:gd name="connsiteY11" fmla="*/ 15913 h 15913"/>
              <a:gd name="connsiteX12" fmla="*/ 19180 w 19203"/>
              <a:gd name="connsiteY12" fmla="*/ 12271 h 15913"/>
              <a:gd name="connsiteX13" fmla="*/ 19195 w 19203"/>
              <a:gd name="connsiteY13" fmla="*/ 9129 h 15913"/>
              <a:gd name="connsiteX14" fmla="*/ 19161 w 19203"/>
              <a:gd name="connsiteY14" fmla="*/ 3610 h 15913"/>
              <a:gd name="connsiteX15" fmla="*/ 15199 w 19203"/>
              <a:gd name="connsiteY15" fmla="*/ 859 h 15913"/>
              <a:gd name="connsiteX16" fmla="*/ 11465 w 19203"/>
              <a:gd name="connsiteY16" fmla="*/ 23 h 15913"/>
              <a:gd name="connsiteX0" fmla="*/ 11465 w 19203"/>
              <a:gd name="connsiteY0" fmla="*/ 23 h 15913"/>
              <a:gd name="connsiteX1" fmla="*/ 5703 w 19203"/>
              <a:gd name="connsiteY1" fmla="*/ 1085 h 15913"/>
              <a:gd name="connsiteX2" fmla="*/ 1220 w 19203"/>
              <a:gd name="connsiteY2" fmla="*/ 5155 h 15913"/>
              <a:gd name="connsiteX3" fmla="*/ 36 w 19203"/>
              <a:gd name="connsiteY3" fmla="*/ 9089 h 15913"/>
              <a:gd name="connsiteX4" fmla="*/ 353 w 19203"/>
              <a:gd name="connsiteY4" fmla="*/ 13412 h 15913"/>
              <a:gd name="connsiteX5" fmla="*/ 1146 w 19203"/>
              <a:gd name="connsiteY5" fmla="*/ 15835 h 15913"/>
              <a:gd name="connsiteX6" fmla="*/ 5793 w 19203"/>
              <a:gd name="connsiteY6" fmla="*/ 15873 h 15913"/>
              <a:gd name="connsiteX7" fmla="*/ 8678 w 19203"/>
              <a:gd name="connsiteY7" fmla="*/ 15877 h 15913"/>
              <a:gd name="connsiteX8" fmla="*/ 11000 w 19203"/>
              <a:gd name="connsiteY8" fmla="*/ 15895 h 15913"/>
              <a:gd name="connsiteX9" fmla="*/ 13786 w 19203"/>
              <a:gd name="connsiteY9" fmla="*/ 15872 h 15913"/>
              <a:gd name="connsiteX10" fmla="*/ 15633 w 19203"/>
              <a:gd name="connsiteY10" fmla="*/ 15840 h 15913"/>
              <a:gd name="connsiteX11" fmla="*/ 19154 w 19203"/>
              <a:gd name="connsiteY11" fmla="*/ 15913 h 15913"/>
              <a:gd name="connsiteX12" fmla="*/ 19180 w 19203"/>
              <a:gd name="connsiteY12" fmla="*/ 12271 h 15913"/>
              <a:gd name="connsiteX13" fmla="*/ 19195 w 19203"/>
              <a:gd name="connsiteY13" fmla="*/ 9129 h 15913"/>
              <a:gd name="connsiteX14" fmla="*/ 19161 w 19203"/>
              <a:gd name="connsiteY14" fmla="*/ 3610 h 15913"/>
              <a:gd name="connsiteX15" fmla="*/ 15199 w 19203"/>
              <a:gd name="connsiteY15" fmla="*/ 859 h 15913"/>
              <a:gd name="connsiteX16" fmla="*/ 11465 w 19203"/>
              <a:gd name="connsiteY16" fmla="*/ 23 h 15913"/>
              <a:gd name="connsiteX0" fmla="*/ 11465 w 19198"/>
              <a:gd name="connsiteY0" fmla="*/ 23 h 15913"/>
              <a:gd name="connsiteX1" fmla="*/ 5703 w 19198"/>
              <a:gd name="connsiteY1" fmla="*/ 1085 h 15913"/>
              <a:gd name="connsiteX2" fmla="*/ 1220 w 19198"/>
              <a:gd name="connsiteY2" fmla="*/ 5155 h 15913"/>
              <a:gd name="connsiteX3" fmla="*/ 36 w 19198"/>
              <a:gd name="connsiteY3" fmla="*/ 9089 h 15913"/>
              <a:gd name="connsiteX4" fmla="*/ 353 w 19198"/>
              <a:gd name="connsiteY4" fmla="*/ 13412 h 15913"/>
              <a:gd name="connsiteX5" fmla="*/ 1146 w 19198"/>
              <a:gd name="connsiteY5" fmla="*/ 15835 h 15913"/>
              <a:gd name="connsiteX6" fmla="*/ 5793 w 19198"/>
              <a:gd name="connsiteY6" fmla="*/ 15873 h 15913"/>
              <a:gd name="connsiteX7" fmla="*/ 8678 w 19198"/>
              <a:gd name="connsiteY7" fmla="*/ 15877 h 15913"/>
              <a:gd name="connsiteX8" fmla="*/ 11000 w 19198"/>
              <a:gd name="connsiteY8" fmla="*/ 15895 h 15913"/>
              <a:gd name="connsiteX9" fmla="*/ 13786 w 19198"/>
              <a:gd name="connsiteY9" fmla="*/ 15872 h 15913"/>
              <a:gd name="connsiteX10" fmla="*/ 15633 w 19198"/>
              <a:gd name="connsiteY10" fmla="*/ 15840 h 15913"/>
              <a:gd name="connsiteX11" fmla="*/ 19154 w 19198"/>
              <a:gd name="connsiteY11" fmla="*/ 15913 h 15913"/>
              <a:gd name="connsiteX12" fmla="*/ 19180 w 19198"/>
              <a:gd name="connsiteY12" fmla="*/ 12271 h 15913"/>
              <a:gd name="connsiteX13" fmla="*/ 18943 w 19198"/>
              <a:gd name="connsiteY13" fmla="*/ 9182 h 15913"/>
              <a:gd name="connsiteX14" fmla="*/ 19161 w 19198"/>
              <a:gd name="connsiteY14" fmla="*/ 3610 h 15913"/>
              <a:gd name="connsiteX15" fmla="*/ 15199 w 19198"/>
              <a:gd name="connsiteY15" fmla="*/ 859 h 15913"/>
              <a:gd name="connsiteX16" fmla="*/ 11465 w 19198"/>
              <a:gd name="connsiteY16" fmla="*/ 23 h 15913"/>
              <a:gd name="connsiteX0" fmla="*/ 11465 w 19190"/>
              <a:gd name="connsiteY0" fmla="*/ 23 h 15913"/>
              <a:gd name="connsiteX1" fmla="*/ 5703 w 19190"/>
              <a:gd name="connsiteY1" fmla="*/ 1085 h 15913"/>
              <a:gd name="connsiteX2" fmla="*/ 1220 w 19190"/>
              <a:gd name="connsiteY2" fmla="*/ 5155 h 15913"/>
              <a:gd name="connsiteX3" fmla="*/ 36 w 19190"/>
              <a:gd name="connsiteY3" fmla="*/ 9089 h 15913"/>
              <a:gd name="connsiteX4" fmla="*/ 353 w 19190"/>
              <a:gd name="connsiteY4" fmla="*/ 13412 h 15913"/>
              <a:gd name="connsiteX5" fmla="*/ 1146 w 19190"/>
              <a:gd name="connsiteY5" fmla="*/ 15835 h 15913"/>
              <a:gd name="connsiteX6" fmla="*/ 5793 w 19190"/>
              <a:gd name="connsiteY6" fmla="*/ 15873 h 15913"/>
              <a:gd name="connsiteX7" fmla="*/ 8678 w 19190"/>
              <a:gd name="connsiteY7" fmla="*/ 15877 h 15913"/>
              <a:gd name="connsiteX8" fmla="*/ 11000 w 19190"/>
              <a:gd name="connsiteY8" fmla="*/ 15895 h 15913"/>
              <a:gd name="connsiteX9" fmla="*/ 13786 w 19190"/>
              <a:gd name="connsiteY9" fmla="*/ 15872 h 15913"/>
              <a:gd name="connsiteX10" fmla="*/ 15633 w 19190"/>
              <a:gd name="connsiteY10" fmla="*/ 15840 h 15913"/>
              <a:gd name="connsiteX11" fmla="*/ 19154 w 19190"/>
              <a:gd name="connsiteY11" fmla="*/ 15913 h 15913"/>
              <a:gd name="connsiteX12" fmla="*/ 19180 w 19190"/>
              <a:gd name="connsiteY12" fmla="*/ 12271 h 15913"/>
              <a:gd name="connsiteX13" fmla="*/ 19172 w 19190"/>
              <a:gd name="connsiteY13" fmla="*/ 9209 h 15913"/>
              <a:gd name="connsiteX14" fmla="*/ 19161 w 19190"/>
              <a:gd name="connsiteY14" fmla="*/ 3610 h 15913"/>
              <a:gd name="connsiteX15" fmla="*/ 15199 w 19190"/>
              <a:gd name="connsiteY15" fmla="*/ 859 h 15913"/>
              <a:gd name="connsiteX16" fmla="*/ 11465 w 19190"/>
              <a:gd name="connsiteY16" fmla="*/ 23 h 15913"/>
              <a:gd name="connsiteX0" fmla="*/ 11465 w 19190"/>
              <a:gd name="connsiteY0" fmla="*/ 23 h 15905"/>
              <a:gd name="connsiteX1" fmla="*/ 5703 w 19190"/>
              <a:gd name="connsiteY1" fmla="*/ 1085 h 15905"/>
              <a:gd name="connsiteX2" fmla="*/ 1220 w 19190"/>
              <a:gd name="connsiteY2" fmla="*/ 5155 h 15905"/>
              <a:gd name="connsiteX3" fmla="*/ 36 w 19190"/>
              <a:gd name="connsiteY3" fmla="*/ 9089 h 15905"/>
              <a:gd name="connsiteX4" fmla="*/ 353 w 19190"/>
              <a:gd name="connsiteY4" fmla="*/ 13412 h 15905"/>
              <a:gd name="connsiteX5" fmla="*/ 1146 w 19190"/>
              <a:gd name="connsiteY5" fmla="*/ 15835 h 15905"/>
              <a:gd name="connsiteX6" fmla="*/ 5793 w 19190"/>
              <a:gd name="connsiteY6" fmla="*/ 15873 h 15905"/>
              <a:gd name="connsiteX7" fmla="*/ 8678 w 19190"/>
              <a:gd name="connsiteY7" fmla="*/ 15877 h 15905"/>
              <a:gd name="connsiteX8" fmla="*/ 11000 w 19190"/>
              <a:gd name="connsiteY8" fmla="*/ 15895 h 15905"/>
              <a:gd name="connsiteX9" fmla="*/ 13786 w 19190"/>
              <a:gd name="connsiteY9" fmla="*/ 15872 h 15905"/>
              <a:gd name="connsiteX10" fmla="*/ 15633 w 19190"/>
              <a:gd name="connsiteY10" fmla="*/ 15840 h 15905"/>
              <a:gd name="connsiteX11" fmla="*/ 19154 w 19190"/>
              <a:gd name="connsiteY11" fmla="*/ 15860 h 15905"/>
              <a:gd name="connsiteX12" fmla="*/ 19180 w 19190"/>
              <a:gd name="connsiteY12" fmla="*/ 12271 h 15905"/>
              <a:gd name="connsiteX13" fmla="*/ 19172 w 19190"/>
              <a:gd name="connsiteY13" fmla="*/ 9209 h 15905"/>
              <a:gd name="connsiteX14" fmla="*/ 19161 w 19190"/>
              <a:gd name="connsiteY14" fmla="*/ 3610 h 15905"/>
              <a:gd name="connsiteX15" fmla="*/ 15199 w 19190"/>
              <a:gd name="connsiteY15" fmla="*/ 859 h 15905"/>
              <a:gd name="connsiteX16" fmla="*/ 11465 w 19190"/>
              <a:gd name="connsiteY16" fmla="*/ 23 h 15905"/>
              <a:gd name="connsiteX0" fmla="*/ 11480 w 19205"/>
              <a:gd name="connsiteY0" fmla="*/ 23 h 15905"/>
              <a:gd name="connsiteX1" fmla="*/ 5718 w 19205"/>
              <a:gd name="connsiteY1" fmla="*/ 1085 h 15905"/>
              <a:gd name="connsiteX2" fmla="*/ 1235 w 19205"/>
              <a:gd name="connsiteY2" fmla="*/ 5155 h 15905"/>
              <a:gd name="connsiteX3" fmla="*/ 51 w 19205"/>
              <a:gd name="connsiteY3" fmla="*/ 9089 h 15905"/>
              <a:gd name="connsiteX4" fmla="*/ 368 w 19205"/>
              <a:gd name="connsiteY4" fmla="*/ 13412 h 15905"/>
              <a:gd name="connsiteX5" fmla="*/ 1161 w 19205"/>
              <a:gd name="connsiteY5" fmla="*/ 15835 h 15905"/>
              <a:gd name="connsiteX6" fmla="*/ 5808 w 19205"/>
              <a:gd name="connsiteY6" fmla="*/ 15873 h 15905"/>
              <a:gd name="connsiteX7" fmla="*/ 8693 w 19205"/>
              <a:gd name="connsiteY7" fmla="*/ 15877 h 15905"/>
              <a:gd name="connsiteX8" fmla="*/ 11015 w 19205"/>
              <a:gd name="connsiteY8" fmla="*/ 15895 h 15905"/>
              <a:gd name="connsiteX9" fmla="*/ 13801 w 19205"/>
              <a:gd name="connsiteY9" fmla="*/ 15872 h 15905"/>
              <a:gd name="connsiteX10" fmla="*/ 15648 w 19205"/>
              <a:gd name="connsiteY10" fmla="*/ 15840 h 15905"/>
              <a:gd name="connsiteX11" fmla="*/ 19169 w 19205"/>
              <a:gd name="connsiteY11" fmla="*/ 15860 h 15905"/>
              <a:gd name="connsiteX12" fmla="*/ 19195 w 19205"/>
              <a:gd name="connsiteY12" fmla="*/ 12271 h 15905"/>
              <a:gd name="connsiteX13" fmla="*/ 19187 w 19205"/>
              <a:gd name="connsiteY13" fmla="*/ 9209 h 15905"/>
              <a:gd name="connsiteX14" fmla="*/ 19176 w 19205"/>
              <a:gd name="connsiteY14" fmla="*/ 3610 h 15905"/>
              <a:gd name="connsiteX15" fmla="*/ 15214 w 19205"/>
              <a:gd name="connsiteY15" fmla="*/ 859 h 15905"/>
              <a:gd name="connsiteX16" fmla="*/ 11480 w 19205"/>
              <a:gd name="connsiteY16" fmla="*/ 23 h 15905"/>
              <a:gd name="connsiteX0" fmla="*/ 11474 w 19199"/>
              <a:gd name="connsiteY0" fmla="*/ 23 h 15913"/>
              <a:gd name="connsiteX1" fmla="*/ 5712 w 19199"/>
              <a:gd name="connsiteY1" fmla="*/ 1085 h 15913"/>
              <a:gd name="connsiteX2" fmla="*/ 1229 w 19199"/>
              <a:gd name="connsiteY2" fmla="*/ 5155 h 15913"/>
              <a:gd name="connsiteX3" fmla="*/ 45 w 19199"/>
              <a:gd name="connsiteY3" fmla="*/ 9089 h 15913"/>
              <a:gd name="connsiteX4" fmla="*/ 362 w 19199"/>
              <a:gd name="connsiteY4" fmla="*/ 13412 h 15913"/>
              <a:gd name="connsiteX5" fmla="*/ 1703 w 19199"/>
              <a:gd name="connsiteY5" fmla="*/ 15888 h 15913"/>
              <a:gd name="connsiteX6" fmla="*/ 5802 w 19199"/>
              <a:gd name="connsiteY6" fmla="*/ 15873 h 15913"/>
              <a:gd name="connsiteX7" fmla="*/ 8687 w 19199"/>
              <a:gd name="connsiteY7" fmla="*/ 15877 h 15913"/>
              <a:gd name="connsiteX8" fmla="*/ 11009 w 19199"/>
              <a:gd name="connsiteY8" fmla="*/ 15895 h 15913"/>
              <a:gd name="connsiteX9" fmla="*/ 13795 w 19199"/>
              <a:gd name="connsiteY9" fmla="*/ 15872 h 15913"/>
              <a:gd name="connsiteX10" fmla="*/ 15642 w 19199"/>
              <a:gd name="connsiteY10" fmla="*/ 15840 h 15913"/>
              <a:gd name="connsiteX11" fmla="*/ 19163 w 19199"/>
              <a:gd name="connsiteY11" fmla="*/ 15860 h 15913"/>
              <a:gd name="connsiteX12" fmla="*/ 19189 w 19199"/>
              <a:gd name="connsiteY12" fmla="*/ 12271 h 15913"/>
              <a:gd name="connsiteX13" fmla="*/ 19181 w 19199"/>
              <a:gd name="connsiteY13" fmla="*/ 9209 h 15913"/>
              <a:gd name="connsiteX14" fmla="*/ 19170 w 19199"/>
              <a:gd name="connsiteY14" fmla="*/ 3610 h 15913"/>
              <a:gd name="connsiteX15" fmla="*/ 15208 w 19199"/>
              <a:gd name="connsiteY15" fmla="*/ 859 h 15913"/>
              <a:gd name="connsiteX16" fmla="*/ 11474 w 19199"/>
              <a:gd name="connsiteY16" fmla="*/ 23 h 15913"/>
              <a:gd name="connsiteX0" fmla="*/ 11474 w 19199"/>
              <a:gd name="connsiteY0" fmla="*/ 23 h 15905"/>
              <a:gd name="connsiteX1" fmla="*/ 5712 w 19199"/>
              <a:gd name="connsiteY1" fmla="*/ 1085 h 15905"/>
              <a:gd name="connsiteX2" fmla="*/ 1229 w 19199"/>
              <a:gd name="connsiteY2" fmla="*/ 5155 h 15905"/>
              <a:gd name="connsiteX3" fmla="*/ 45 w 19199"/>
              <a:gd name="connsiteY3" fmla="*/ 9089 h 15905"/>
              <a:gd name="connsiteX4" fmla="*/ 362 w 19199"/>
              <a:gd name="connsiteY4" fmla="*/ 13412 h 15905"/>
              <a:gd name="connsiteX5" fmla="*/ 1703 w 19199"/>
              <a:gd name="connsiteY5" fmla="*/ 15888 h 15905"/>
              <a:gd name="connsiteX6" fmla="*/ 5802 w 19199"/>
              <a:gd name="connsiteY6" fmla="*/ 15873 h 15905"/>
              <a:gd name="connsiteX7" fmla="*/ 8687 w 19199"/>
              <a:gd name="connsiteY7" fmla="*/ 15877 h 15905"/>
              <a:gd name="connsiteX8" fmla="*/ 11009 w 19199"/>
              <a:gd name="connsiteY8" fmla="*/ 15895 h 15905"/>
              <a:gd name="connsiteX9" fmla="*/ 13795 w 19199"/>
              <a:gd name="connsiteY9" fmla="*/ 15872 h 15905"/>
              <a:gd name="connsiteX10" fmla="*/ 15642 w 19199"/>
              <a:gd name="connsiteY10" fmla="*/ 15840 h 15905"/>
              <a:gd name="connsiteX11" fmla="*/ 19163 w 19199"/>
              <a:gd name="connsiteY11" fmla="*/ 15860 h 15905"/>
              <a:gd name="connsiteX12" fmla="*/ 19189 w 19199"/>
              <a:gd name="connsiteY12" fmla="*/ 12271 h 15905"/>
              <a:gd name="connsiteX13" fmla="*/ 19181 w 19199"/>
              <a:gd name="connsiteY13" fmla="*/ 9209 h 15905"/>
              <a:gd name="connsiteX14" fmla="*/ 19170 w 19199"/>
              <a:gd name="connsiteY14" fmla="*/ 3610 h 15905"/>
              <a:gd name="connsiteX15" fmla="*/ 15208 w 19199"/>
              <a:gd name="connsiteY15" fmla="*/ 859 h 15905"/>
              <a:gd name="connsiteX16" fmla="*/ 11474 w 19199"/>
              <a:gd name="connsiteY16" fmla="*/ 23 h 15905"/>
              <a:gd name="connsiteX0" fmla="*/ 11474 w 19199"/>
              <a:gd name="connsiteY0" fmla="*/ 23 h 15905"/>
              <a:gd name="connsiteX1" fmla="*/ 5712 w 19199"/>
              <a:gd name="connsiteY1" fmla="*/ 1085 h 15905"/>
              <a:gd name="connsiteX2" fmla="*/ 1229 w 19199"/>
              <a:gd name="connsiteY2" fmla="*/ 5155 h 15905"/>
              <a:gd name="connsiteX3" fmla="*/ 45 w 19199"/>
              <a:gd name="connsiteY3" fmla="*/ 9089 h 15905"/>
              <a:gd name="connsiteX4" fmla="*/ 362 w 19199"/>
              <a:gd name="connsiteY4" fmla="*/ 13412 h 15905"/>
              <a:gd name="connsiteX5" fmla="*/ 1703 w 19199"/>
              <a:gd name="connsiteY5" fmla="*/ 15888 h 15905"/>
              <a:gd name="connsiteX6" fmla="*/ 5802 w 19199"/>
              <a:gd name="connsiteY6" fmla="*/ 15873 h 15905"/>
              <a:gd name="connsiteX7" fmla="*/ 8687 w 19199"/>
              <a:gd name="connsiteY7" fmla="*/ 15877 h 15905"/>
              <a:gd name="connsiteX8" fmla="*/ 11009 w 19199"/>
              <a:gd name="connsiteY8" fmla="*/ 15895 h 15905"/>
              <a:gd name="connsiteX9" fmla="*/ 13795 w 19199"/>
              <a:gd name="connsiteY9" fmla="*/ 15872 h 15905"/>
              <a:gd name="connsiteX10" fmla="*/ 15642 w 19199"/>
              <a:gd name="connsiteY10" fmla="*/ 15840 h 15905"/>
              <a:gd name="connsiteX11" fmla="*/ 19163 w 19199"/>
              <a:gd name="connsiteY11" fmla="*/ 15860 h 15905"/>
              <a:gd name="connsiteX12" fmla="*/ 19189 w 19199"/>
              <a:gd name="connsiteY12" fmla="*/ 12271 h 15905"/>
              <a:gd name="connsiteX13" fmla="*/ 19181 w 19199"/>
              <a:gd name="connsiteY13" fmla="*/ 9209 h 15905"/>
              <a:gd name="connsiteX14" fmla="*/ 19170 w 19199"/>
              <a:gd name="connsiteY14" fmla="*/ 3610 h 15905"/>
              <a:gd name="connsiteX15" fmla="*/ 15208 w 19199"/>
              <a:gd name="connsiteY15" fmla="*/ 859 h 15905"/>
              <a:gd name="connsiteX16" fmla="*/ 11474 w 19199"/>
              <a:gd name="connsiteY16" fmla="*/ 23 h 15905"/>
              <a:gd name="connsiteX0" fmla="*/ 11464 w 19189"/>
              <a:gd name="connsiteY0" fmla="*/ 23 h 15905"/>
              <a:gd name="connsiteX1" fmla="*/ 5702 w 19189"/>
              <a:gd name="connsiteY1" fmla="*/ 1085 h 15905"/>
              <a:gd name="connsiteX2" fmla="*/ 1219 w 19189"/>
              <a:gd name="connsiteY2" fmla="*/ 5155 h 15905"/>
              <a:gd name="connsiteX3" fmla="*/ 35 w 19189"/>
              <a:gd name="connsiteY3" fmla="*/ 9089 h 15905"/>
              <a:gd name="connsiteX4" fmla="*/ 352 w 19189"/>
              <a:gd name="connsiteY4" fmla="*/ 13412 h 15905"/>
              <a:gd name="connsiteX5" fmla="*/ 1099 w 19189"/>
              <a:gd name="connsiteY5" fmla="*/ 15861 h 15905"/>
              <a:gd name="connsiteX6" fmla="*/ 5792 w 19189"/>
              <a:gd name="connsiteY6" fmla="*/ 15873 h 15905"/>
              <a:gd name="connsiteX7" fmla="*/ 8677 w 19189"/>
              <a:gd name="connsiteY7" fmla="*/ 15877 h 15905"/>
              <a:gd name="connsiteX8" fmla="*/ 10999 w 19189"/>
              <a:gd name="connsiteY8" fmla="*/ 15895 h 15905"/>
              <a:gd name="connsiteX9" fmla="*/ 13785 w 19189"/>
              <a:gd name="connsiteY9" fmla="*/ 15872 h 15905"/>
              <a:gd name="connsiteX10" fmla="*/ 15632 w 19189"/>
              <a:gd name="connsiteY10" fmla="*/ 15840 h 15905"/>
              <a:gd name="connsiteX11" fmla="*/ 19153 w 19189"/>
              <a:gd name="connsiteY11" fmla="*/ 15860 h 15905"/>
              <a:gd name="connsiteX12" fmla="*/ 19179 w 19189"/>
              <a:gd name="connsiteY12" fmla="*/ 12271 h 15905"/>
              <a:gd name="connsiteX13" fmla="*/ 19171 w 19189"/>
              <a:gd name="connsiteY13" fmla="*/ 9209 h 15905"/>
              <a:gd name="connsiteX14" fmla="*/ 19160 w 19189"/>
              <a:gd name="connsiteY14" fmla="*/ 3610 h 15905"/>
              <a:gd name="connsiteX15" fmla="*/ 15198 w 19189"/>
              <a:gd name="connsiteY15" fmla="*/ 859 h 15905"/>
              <a:gd name="connsiteX16" fmla="*/ 11464 w 19189"/>
              <a:gd name="connsiteY16" fmla="*/ 23 h 15905"/>
              <a:gd name="connsiteX0" fmla="*/ 11472 w 19197"/>
              <a:gd name="connsiteY0" fmla="*/ 23 h 15905"/>
              <a:gd name="connsiteX1" fmla="*/ 5710 w 19197"/>
              <a:gd name="connsiteY1" fmla="*/ 1085 h 15905"/>
              <a:gd name="connsiteX2" fmla="*/ 1227 w 19197"/>
              <a:gd name="connsiteY2" fmla="*/ 5155 h 15905"/>
              <a:gd name="connsiteX3" fmla="*/ 43 w 19197"/>
              <a:gd name="connsiteY3" fmla="*/ 9089 h 15905"/>
              <a:gd name="connsiteX4" fmla="*/ 360 w 19197"/>
              <a:gd name="connsiteY4" fmla="*/ 13412 h 15905"/>
              <a:gd name="connsiteX5" fmla="*/ 1107 w 19197"/>
              <a:gd name="connsiteY5" fmla="*/ 15861 h 15905"/>
              <a:gd name="connsiteX6" fmla="*/ 5800 w 19197"/>
              <a:gd name="connsiteY6" fmla="*/ 15873 h 15905"/>
              <a:gd name="connsiteX7" fmla="*/ 8685 w 19197"/>
              <a:gd name="connsiteY7" fmla="*/ 15877 h 15905"/>
              <a:gd name="connsiteX8" fmla="*/ 11007 w 19197"/>
              <a:gd name="connsiteY8" fmla="*/ 15895 h 15905"/>
              <a:gd name="connsiteX9" fmla="*/ 13793 w 19197"/>
              <a:gd name="connsiteY9" fmla="*/ 15872 h 15905"/>
              <a:gd name="connsiteX10" fmla="*/ 15640 w 19197"/>
              <a:gd name="connsiteY10" fmla="*/ 15840 h 15905"/>
              <a:gd name="connsiteX11" fmla="*/ 19161 w 19197"/>
              <a:gd name="connsiteY11" fmla="*/ 15860 h 15905"/>
              <a:gd name="connsiteX12" fmla="*/ 19187 w 19197"/>
              <a:gd name="connsiteY12" fmla="*/ 12271 h 15905"/>
              <a:gd name="connsiteX13" fmla="*/ 19179 w 19197"/>
              <a:gd name="connsiteY13" fmla="*/ 9209 h 15905"/>
              <a:gd name="connsiteX14" fmla="*/ 19168 w 19197"/>
              <a:gd name="connsiteY14" fmla="*/ 3610 h 15905"/>
              <a:gd name="connsiteX15" fmla="*/ 15206 w 19197"/>
              <a:gd name="connsiteY15" fmla="*/ 859 h 15905"/>
              <a:gd name="connsiteX16" fmla="*/ 11472 w 19197"/>
              <a:gd name="connsiteY16" fmla="*/ 23 h 15905"/>
              <a:gd name="connsiteX0" fmla="*/ 11472 w 19193"/>
              <a:gd name="connsiteY0" fmla="*/ 23 h 15905"/>
              <a:gd name="connsiteX1" fmla="*/ 5710 w 19193"/>
              <a:gd name="connsiteY1" fmla="*/ 1085 h 15905"/>
              <a:gd name="connsiteX2" fmla="*/ 1227 w 19193"/>
              <a:gd name="connsiteY2" fmla="*/ 5155 h 15905"/>
              <a:gd name="connsiteX3" fmla="*/ 43 w 19193"/>
              <a:gd name="connsiteY3" fmla="*/ 9089 h 15905"/>
              <a:gd name="connsiteX4" fmla="*/ 360 w 19193"/>
              <a:gd name="connsiteY4" fmla="*/ 13412 h 15905"/>
              <a:gd name="connsiteX5" fmla="*/ 1107 w 19193"/>
              <a:gd name="connsiteY5" fmla="*/ 15861 h 15905"/>
              <a:gd name="connsiteX6" fmla="*/ 5800 w 19193"/>
              <a:gd name="connsiteY6" fmla="*/ 15873 h 15905"/>
              <a:gd name="connsiteX7" fmla="*/ 8685 w 19193"/>
              <a:gd name="connsiteY7" fmla="*/ 15877 h 15905"/>
              <a:gd name="connsiteX8" fmla="*/ 11007 w 19193"/>
              <a:gd name="connsiteY8" fmla="*/ 15895 h 15905"/>
              <a:gd name="connsiteX9" fmla="*/ 13793 w 19193"/>
              <a:gd name="connsiteY9" fmla="*/ 15872 h 15905"/>
              <a:gd name="connsiteX10" fmla="*/ 15640 w 19193"/>
              <a:gd name="connsiteY10" fmla="*/ 15840 h 15905"/>
              <a:gd name="connsiteX11" fmla="*/ 19161 w 19193"/>
              <a:gd name="connsiteY11" fmla="*/ 15860 h 15905"/>
              <a:gd name="connsiteX12" fmla="*/ 19187 w 19193"/>
              <a:gd name="connsiteY12" fmla="*/ 12271 h 15905"/>
              <a:gd name="connsiteX13" fmla="*/ 19179 w 19193"/>
              <a:gd name="connsiteY13" fmla="*/ 9209 h 15905"/>
              <a:gd name="connsiteX14" fmla="*/ 19168 w 19193"/>
              <a:gd name="connsiteY14" fmla="*/ 3610 h 15905"/>
              <a:gd name="connsiteX15" fmla="*/ 15206 w 19193"/>
              <a:gd name="connsiteY15" fmla="*/ 859 h 15905"/>
              <a:gd name="connsiteX16" fmla="*/ 11472 w 19193"/>
              <a:gd name="connsiteY16" fmla="*/ 23 h 15905"/>
              <a:gd name="connsiteX0" fmla="*/ 11472 w 19193"/>
              <a:gd name="connsiteY0" fmla="*/ 23 h 15905"/>
              <a:gd name="connsiteX1" fmla="*/ 5710 w 19193"/>
              <a:gd name="connsiteY1" fmla="*/ 1085 h 15905"/>
              <a:gd name="connsiteX2" fmla="*/ 1227 w 19193"/>
              <a:gd name="connsiteY2" fmla="*/ 5155 h 15905"/>
              <a:gd name="connsiteX3" fmla="*/ 43 w 19193"/>
              <a:gd name="connsiteY3" fmla="*/ 9089 h 15905"/>
              <a:gd name="connsiteX4" fmla="*/ 360 w 19193"/>
              <a:gd name="connsiteY4" fmla="*/ 13412 h 15905"/>
              <a:gd name="connsiteX5" fmla="*/ 1107 w 19193"/>
              <a:gd name="connsiteY5" fmla="*/ 15861 h 15905"/>
              <a:gd name="connsiteX6" fmla="*/ 5800 w 19193"/>
              <a:gd name="connsiteY6" fmla="*/ 15873 h 15905"/>
              <a:gd name="connsiteX7" fmla="*/ 8685 w 19193"/>
              <a:gd name="connsiteY7" fmla="*/ 15877 h 15905"/>
              <a:gd name="connsiteX8" fmla="*/ 11007 w 19193"/>
              <a:gd name="connsiteY8" fmla="*/ 15895 h 15905"/>
              <a:gd name="connsiteX9" fmla="*/ 13793 w 19193"/>
              <a:gd name="connsiteY9" fmla="*/ 15872 h 15905"/>
              <a:gd name="connsiteX10" fmla="*/ 15640 w 19193"/>
              <a:gd name="connsiteY10" fmla="*/ 15840 h 15905"/>
              <a:gd name="connsiteX11" fmla="*/ 19161 w 19193"/>
              <a:gd name="connsiteY11" fmla="*/ 15860 h 15905"/>
              <a:gd name="connsiteX12" fmla="*/ 19187 w 19193"/>
              <a:gd name="connsiteY12" fmla="*/ 12271 h 15905"/>
              <a:gd name="connsiteX13" fmla="*/ 19179 w 19193"/>
              <a:gd name="connsiteY13" fmla="*/ 9209 h 15905"/>
              <a:gd name="connsiteX14" fmla="*/ 19168 w 19193"/>
              <a:gd name="connsiteY14" fmla="*/ 3610 h 15905"/>
              <a:gd name="connsiteX15" fmla="*/ 15206 w 19193"/>
              <a:gd name="connsiteY15" fmla="*/ 859 h 15905"/>
              <a:gd name="connsiteX16" fmla="*/ 11472 w 19193"/>
              <a:gd name="connsiteY16" fmla="*/ 23 h 15905"/>
              <a:gd name="connsiteX0" fmla="*/ 11472 w 19467"/>
              <a:gd name="connsiteY0" fmla="*/ 23 h 15905"/>
              <a:gd name="connsiteX1" fmla="*/ 5710 w 19467"/>
              <a:gd name="connsiteY1" fmla="*/ 1085 h 15905"/>
              <a:gd name="connsiteX2" fmla="*/ 1227 w 19467"/>
              <a:gd name="connsiteY2" fmla="*/ 5155 h 15905"/>
              <a:gd name="connsiteX3" fmla="*/ 43 w 19467"/>
              <a:gd name="connsiteY3" fmla="*/ 9089 h 15905"/>
              <a:gd name="connsiteX4" fmla="*/ 360 w 19467"/>
              <a:gd name="connsiteY4" fmla="*/ 13412 h 15905"/>
              <a:gd name="connsiteX5" fmla="*/ 1107 w 19467"/>
              <a:gd name="connsiteY5" fmla="*/ 15861 h 15905"/>
              <a:gd name="connsiteX6" fmla="*/ 5800 w 19467"/>
              <a:gd name="connsiteY6" fmla="*/ 15873 h 15905"/>
              <a:gd name="connsiteX7" fmla="*/ 8685 w 19467"/>
              <a:gd name="connsiteY7" fmla="*/ 15877 h 15905"/>
              <a:gd name="connsiteX8" fmla="*/ 11007 w 19467"/>
              <a:gd name="connsiteY8" fmla="*/ 15895 h 15905"/>
              <a:gd name="connsiteX9" fmla="*/ 13793 w 19467"/>
              <a:gd name="connsiteY9" fmla="*/ 15872 h 15905"/>
              <a:gd name="connsiteX10" fmla="*/ 15640 w 19467"/>
              <a:gd name="connsiteY10" fmla="*/ 15840 h 15905"/>
              <a:gd name="connsiteX11" fmla="*/ 19161 w 19467"/>
              <a:gd name="connsiteY11" fmla="*/ 15860 h 15905"/>
              <a:gd name="connsiteX12" fmla="*/ 19187 w 19467"/>
              <a:gd name="connsiteY12" fmla="*/ 12271 h 15905"/>
              <a:gd name="connsiteX13" fmla="*/ 19168 w 19467"/>
              <a:gd name="connsiteY13" fmla="*/ 3610 h 15905"/>
              <a:gd name="connsiteX14" fmla="*/ 15206 w 19467"/>
              <a:gd name="connsiteY14" fmla="*/ 859 h 15905"/>
              <a:gd name="connsiteX15" fmla="*/ 11472 w 19467"/>
              <a:gd name="connsiteY15" fmla="*/ 23 h 15905"/>
              <a:gd name="connsiteX0" fmla="*/ 11472 w 19189"/>
              <a:gd name="connsiteY0" fmla="*/ 23 h 15905"/>
              <a:gd name="connsiteX1" fmla="*/ 5710 w 19189"/>
              <a:gd name="connsiteY1" fmla="*/ 1085 h 15905"/>
              <a:gd name="connsiteX2" fmla="*/ 1227 w 19189"/>
              <a:gd name="connsiteY2" fmla="*/ 5155 h 15905"/>
              <a:gd name="connsiteX3" fmla="*/ 43 w 19189"/>
              <a:gd name="connsiteY3" fmla="*/ 9089 h 15905"/>
              <a:gd name="connsiteX4" fmla="*/ 360 w 19189"/>
              <a:gd name="connsiteY4" fmla="*/ 13412 h 15905"/>
              <a:gd name="connsiteX5" fmla="*/ 1107 w 19189"/>
              <a:gd name="connsiteY5" fmla="*/ 15861 h 15905"/>
              <a:gd name="connsiteX6" fmla="*/ 5800 w 19189"/>
              <a:gd name="connsiteY6" fmla="*/ 15873 h 15905"/>
              <a:gd name="connsiteX7" fmla="*/ 8685 w 19189"/>
              <a:gd name="connsiteY7" fmla="*/ 15877 h 15905"/>
              <a:gd name="connsiteX8" fmla="*/ 11007 w 19189"/>
              <a:gd name="connsiteY8" fmla="*/ 15895 h 15905"/>
              <a:gd name="connsiteX9" fmla="*/ 13793 w 19189"/>
              <a:gd name="connsiteY9" fmla="*/ 15872 h 15905"/>
              <a:gd name="connsiteX10" fmla="*/ 15640 w 19189"/>
              <a:gd name="connsiteY10" fmla="*/ 15840 h 15905"/>
              <a:gd name="connsiteX11" fmla="*/ 19161 w 19189"/>
              <a:gd name="connsiteY11" fmla="*/ 15860 h 15905"/>
              <a:gd name="connsiteX12" fmla="*/ 19187 w 19189"/>
              <a:gd name="connsiteY12" fmla="*/ 12271 h 15905"/>
              <a:gd name="connsiteX13" fmla="*/ 19168 w 19189"/>
              <a:gd name="connsiteY13" fmla="*/ 3610 h 15905"/>
              <a:gd name="connsiteX14" fmla="*/ 15206 w 19189"/>
              <a:gd name="connsiteY14" fmla="*/ 859 h 15905"/>
              <a:gd name="connsiteX15" fmla="*/ 11472 w 19189"/>
              <a:gd name="connsiteY15" fmla="*/ 23 h 15905"/>
              <a:gd name="connsiteX0" fmla="*/ 11472 w 19190"/>
              <a:gd name="connsiteY0" fmla="*/ 23 h 15905"/>
              <a:gd name="connsiteX1" fmla="*/ 5710 w 19190"/>
              <a:gd name="connsiteY1" fmla="*/ 1085 h 15905"/>
              <a:gd name="connsiteX2" fmla="*/ 1227 w 19190"/>
              <a:gd name="connsiteY2" fmla="*/ 5155 h 15905"/>
              <a:gd name="connsiteX3" fmla="*/ 43 w 19190"/>
              <a:gd name="connsiteY3" fmla="*/ 9089 h 15905"/>
              <a:gd name="connsiteX4" fmla="*/ 360 w 19190"/>
              <a:gd name="connsiteY4" fmla="*/ 13412 h 15905"/>
              <a:gd name="connsiteX5" fmla="*/ 1107 w 19190"/>
              <a:gd name="connsiteY5" fmla="*/ 15861 h 15905"/>
              <a:gd name="connsiteX6" fmla="*/ 5800 w 19190"/>
              <a:gd name="connsiteY6" fmla="*/ 15873 h 15905"/>
              <a:gd name="connsiteX7" fmla="*/ 8685 w 19190"/>
              <a:gd name="connsiteY7" fmla="*/ 15877 h 15905"/>
              <a:gd name="connsiteX8" fmla="*/ 11007 w 19190"/>
              <a:gd name="connsiteY8" fmla="*/ 15895 h 15905"/>
              <a:gd name="connsiteX9" fmla="*/ 13793 w 19190"/>
              <a:gd name="connsiteY9" fmla="*/ 15872 h 15905"/>
              <a:gd name="connsiteX10" fmla="*/ 15640 w 19190"/>
              <a:gd name="connsiteY10" fmla="*/ 15840 h 15905"/>
              <a:gd name="connsiteX11" fmla="*/ 19161 w 19190"/>
              <a:gd name="connsiteY11" fmla="*/ 15860 h 15905"/>
              <a:gd name="connsiteX12" fmla="*/ 19187 w 19190"/>
              <a:gd name="connsiteY12" fmla="*/ 12271 h 15905"/>
              <a:gd name="connsiteX13" fmla="*/ 19148 w 19190"/>
              <a:gd name="connsiteY13" fmla="*/ 3493 h 15905"/>
              <a:gd name="connsiteX14" fmla="*/ 15206 w 19190"/>
              <a:gd name="connsiteY14" fmla="*/ 859 h 15905"/>
              <a:gd name="connsiteX15" fmla="*/ 11472 w 19190"/>
              <a:gd name="connsiteY15" fmla="*/ 23 h 15905"/>
              <a:gd name="connsiteX0" fmla="*/ 11472 w 19190"/>
              <a:gd name="connsiteY0" fmla="*/ 23 h 15905"/>
              <a:gd name="connsiteX1" fmla="*/ 5710 w 19190"/>
              <a:gd name="connsiteY1" fmla="*/ 1085 h 15905"/>
              <a:gd name="connsiteX2" fmla="*/ 1227 w 19190"/>
              <a:gd name="connsiteY2" fmla="*/ 5155 h 15905"/>
              <a:gd name="connsiteX3" fmla="*/ 43 w 19190"/>
              <a:gd name="connsiteY3" fmla="*/ 9089 h 15905"/>
              <a:gd name="connsiteX4" fmla="*/ 360 w 19190"/>
              <a:gd name="connsiteY4" fmla="*/ 13412 h 15905"/>
              <a:gd name="connsiteX5" fmla="*/ 1107 w 19190"/>
              <a:gd name="connsiteY5" fmla="*/ 15861 h 15905"/>
              <a:gd name="connsiteX6" fmla="*/ 5800 w 19190"/>
              <a:gd name="connsiteY6" fmla="*/ 15873 h 15905"/>
              <a:gd name="connsiteX7" fmla="*/ 8685 w 19190"/>
              <a:gd name="connsiteY7" fmla="*/ 15877 h 15905"/>
              <a:gd name="connsiteX8" fmla="*/ 11007 w 19190"/>
              <a:gd name="connsiteY8" fmla="*/ 15895 h 15905"/>
              <a:gd name="connsiteX9" fmla="*/ 13793 w 19190"/>
              <a:gd name="connsiteY9" fmla="*/ 15872 h 15905"/>
              <a:gd name="connsiteX10" fmla="*/ 15640 w 19190"/>
              <a:gd name="connsiteY10" fmla="*/ 15840 h 15905"/>
              <a:gd name="connsiteX11" fmla="*/ 19161 w 19190"/>
              <a:gd name="connsiteY11" fmla="*/ 15860 h 15905"/>
              <a:gd name="connsiteX12" fmla="*/ 19187 w 19190"/>
              <a:gd name="connsiteY12" fmla="*/ 12271 h 15905"/>
              <a:gd name="connsiteX13" fmla="*/ 19148 w 19190"/>
              <a:gd name="connsiteY13" fmla="*/ 3704 h 15905"/>
              <a:gd name="connsiteX14" fmla="*/ 15206 w 19190"/>
              <a:gd name="connsiteY14" fmla="*/ 859 h 15905"/>
              <a:gd name="connsiteX15" fmla="*/ 11472 w 19190"/>
              <a:gd name="connsiteY15" fmla="*/ 23 h 15905"/>
              <a:gd name="connsiteX0" fmla="*/ 11472 w 19190"/>
              <a:gd name="connsiteY0" fmla="*/ 23 h 15905"/>
              <a:gd name="connsiteX1" fmla="*/ 5710 w 19190"/>
              <a:gd name="connsiteY1" fmla="*/ 1085 h 15905"/>
              <a:gd name="connsiteX2" fmla="*/ 1227 w 19190"/>
              <a:gd name="connsiteY2" fmla="*/ 5155 h 15905"/>
              <a:gd name="connsiteX3" fmla="*/ 43 w 19190"/>
              <a:gd name="connsiteY3" fmla="*/ 9089 h 15905"/>
              <a:gd name="connsiteX4" fmla="*/ 360 w 19190"/>
              <a:gd name="connsiteY4" fmla="*/ 13412 h 15905"/>
              <a:gd name="connsiteX5" fmla="*/ 1107 w 19190"/>
              <a:gd name="connsiteY5" fmla="*/ 15861 h 15905"/>
              <a:gd name="connsiteX6" fmla="*/ 5800 w 19190"/>
              <a:gd name="connsiteY6" fmla="*/ 15873 h 15905"/>
              <a:gd name="connsiteX7" fmla="*/ 8685 w 19190"/>
              <a:gd name="connsiteY7" fmla="*/ 15877 h 15905"/>
              <a:gd name="connsiteX8" fmla="*/ 11007 w 19190"/>
              <a:gd name="connsiteY8" fmla="*/ 15895 h 15905"/>
              <a:gd name="connsiteX9" fmla="*/ 13793 w 19190"/>
              <a:gd name="connsiteY9" fmla="*/ 15872 h 15905"/>
              <a:gd name="connsiteX10" fmla="*/ 15640 w 19190"/>
              <a:gd name="connsiteY10" fmla="*/ 15840 h 15905"/>
              <a:gd name="connsiteX11" fmla="*/ 19161 w 19190"/>
              <a:gd name="connsiteY11" fmla="*/ 15860 h 15905"/>
              <a:gd name="connsiteX12" fmla="*/ 19187 w 19190"/>
              <a:gd name="connsiteY12" fmla="*/ 12271 h 15905"/>
              <a:gd name="connsiteX13" fmla="*/ 19148 w 19190"/>
              <a:gd name="connsiteY13" fmla="*/ 3610 h 15905"/>
              <a:gd name="connsiteX14" fmla="*/ 15206 w 19190"/>
              <a:gd name="connsiteY14" fmla="*/ 859 h 15905"/>
              <a:gd name="connsiteX15" fmla="*/ 11472 w 19190"/>
              <a:gd name="connsiteY15" fmla="*/ 23 h 15905"/>
              <a:gd name="connsiteX0" fmla="*/ 11472 w 19190"/>
              <a:gd name="connsiteY0" fmla="*/ 23 h 15905"/>
              <a:gd name="connsiteX1" fmla="*/ 5710 w 19190"/>
              <a:gd name="connsiteY1" fmla="*/ 1085 h 15905"/>
              <a:gd name="connsiteX2" fmla="*/ 1227 w 19190"/>
              <a:gd name="connsiteY2" fmla="*/ 5155 h 15905"/>
              <a:gd name="connsiteX3" fmla="*/ 43 w 19190"/>
              <a:gd name="connsiteY3" fmla="*/ 9089 h 15905"/>
              <a:gd name="connsiteX4" fmla="*/ 360 w 19190"/>
              <a:gd name="connsiteY4" fmla="*/ 13412 h 15905"/>
              <a:gd name="connsiteX5" fmla="*/ 1107 w 19190"/>
              <a:gd name="connsiteY5" fmla="*/ 15861 h 15905"/>
              <a:gd name="connsiteX6" fmla="*/ 5800 w 19190"/>
              <a:gd name="connsiteY6" fmla="*/ 15873 h 15905"/>
              <a:gd name="connsiteX7" fmla="*/ 8685 w 19190"/>
              <a:gd name="connsiteY7" fmla="*/ 15877 h 15905"/>
              <a:gd name="connsiteX8" fmla="*/ 11007 w 19190"/>
              <a:gd name="connsiteY8" fmla="*/ 15895 h 15905"/>
              <a:gd name="connsiteX9" fmla="*/ 13793 w 19190"/>
              <a:gd name="connsiteY9" fmla="*/ 15872 h 15905"/>
              <a:gd name="connsiteX10" fmla="*/ 15640 w 19190"/>
              <a:gd name="connsiteY10" fmla="*/ 15840 h 15905"/>
              <a:gd name="connsiteX11" fmla="*/ 19161 w 19190"/>
              <a:gd name="connsiteY11" fmla="*/ 15860 h 15905"/>
              <a:gd name="connsiteX12" fmla="*/ 19187 w 19190"/>
              <a:gd name="connsiteY12" fmla="*/ 12271 h 15905"/>
              <a:gd name="connsiteX13" fmla="*/ 19148 w 19190"/>
              <a:gd name="connsiteY13" fmla="*/ 3610 h 15905"/>
              <a:gd name="connsiteX14" fmla="*/ 15206 w 19190"/>
              <a:gd name="connsiteY14" fmla="*/ 859 h 15905"/>
              <a:gd name="connsiteX15" fmla="*/ 11472 w 19190"/>
              <a:gd name="connsiteY15" fmla="*/ 23 h 15905"/>
              <a:gd name="connsiteX0" fmla="*/ 11472 w 19190"/>
              <a:gd name="connsiteY0" fmla="*/ 23 h 15905"/>
              <a:gd name="connsiteX1" fmla="*/ 5710 w 19190"/>
              <a:gd name="connsiteY1" fmla="*/ 1085 h 15905"/>
              <a:gd name="connsiteX2" fmla="*/ 1227 w 19190"/>
              <a:gd name="connsiteY2" fmla="*/ 5155 h 15905"/>
              <a:gd name="connsiteX3" fmla="*/ 43 w 19190"/>
              <a:gd name="connsiteY3" fmla="*/ 9089 h 15905"/>
              <a:gd name="connsiteX4" fmla="*/ 360 w 19190"/>
              <a:gd name="connsiteY4" fmla="*/ 13412 h 15905"/>
              <a:gd name="connsiteX5" fmla="*/ 1107 w 19190"/>
              <a:gd name="connsiteY5" fmla="*/ 15861 h 15905"/>
              <a:gd name="connsiteX6" fmla="*/ 5800 w 19190"/>
              <a:gd name="connsiteY6" fmla="*/ 15873 h 15905"/>
              <a:gd name="connsiteX7" fmla="*/ 8685 w 19190"/>
              <a:gd name="connsiteY7" fmla="*/ 15877 h 15905"/>
              <a:gd name="connsiteX8" fmla="*/ 11007 w 19190"/>
              <a:gd name="connsiteY8" fmla="*/ 15895 h 15905"/>
              <a:gd name="connsiteX9" fmla="*/ 13793 w 19190"/>
              <a:gd name="connsiteY9" fmla="*/ 15872 h 15905"/>
              <a:gd name="connsiteX10" fmla="*/ 15640 w 19190"/>
              <a:gd name="connsiteY10" fmla="*/ 15840 h 15905"/>
              <a:gd name="connsiteX11" fmla="*/ 19161 w 19190"/>
              <a:gd name="connsiteY11" fmla="*/ 15860 h 15905"/>
              <a:gd name="connsiteX12" fmla="*/ 19187 w 19190"/>
              <a:gd name="connsiteY12" fmla="*/ 12271 h 15905"/>
              <a:gd name="connsiteX13" fmla="*/ 19148 w 19190"/>
              <a:gd name="connsiteY13" fmla="*/ 3610 h 15905"/>
              <a:gd name="connsiteX14" fmla="*/ 15206 w 19190"/>
              <a:gd name="connsiteY14" fmla="*/ 859 h 15905"/>
              <a:gd name="connsiteX15" fmla="*/ 11472 w 19190"/>
              <a:gd name="connsiteY15" fmla="*/ 23 h 159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9190" h="15905" extrusionOk="0">
                <a:moveTo>
                  <a:pt x="11472" y="23"/>
                </a:moveTo>
                <a:cubicBezTo>
                  <a:pt x="9485" y="-99"/>
                  <a:pt x="7487" y="271"/>
                  <a:pt x="5710" y="1085"/>
                </a:cubicBezTo>
                <a:cubicBezTo>
                  <a:pt x="3906" y="1911"/>
                  <a:pt x="2308" y="3211"/>
                  <a:pt x="1227" y="5155"/>
                </a:cubicBezTo>
                <a:cubicBezTo>
                  <a:pt x="561" y="6353"/>
                  <a:pt x="171" y="7696"/>
                  <a:pt x="43" y="9089"/>
                </a:cubicBezTo>
                <a:cubicBezTo>
                  <a:pt x="-88" y="10520"/>
                  <a:pt x="92" y="12203"/>
                  <a:pt x="360" y="13412"/>
                </a:cubicBezTo>
                <a:cubicBezTo>
                  <a:pt x="607" y="14528"/>
                  <a:pt x="1091" y="15876"/>
                  <a:pt x="1107" y="15861"/>
                </a:cubicBezTo>
                <a:cubicBezTo>
                  <a:pt x="1123" y="15846"/>
                  <a:pt x="4537" y="15870"/>
                  <a:pt x="5800" y="15873"/>
                </a:cubicBezTo>
                <a:cubicBezTo>
                  <a:pt x="7063" y="15876"/>
                  <a:pt x="7723" y="15920"/>
                  <a:pt x="8685" y="15877"/>
                </a:cubicBezTo>
                <a:cubicBezTo>
                  <a:pt x="9459" y="15927"/>
                  <a:pt x="10156" y="15896"/>
                  <a:pt x="11007" y="15895"/>
                </a:cubicBezTo>
                <a:lnTo>
                  <a:pt x="13793" y="15872"/>
                </a:lnTo>
                <a:cubicBezTo>
                  <a:pt x="14565" y="15863"/>
                  <a:pt x="14745" y="15842"/>
                  <a:pt x="15640" y="15840"/>
                </a:cubicBezTo>
                <a:lnTo>
                  <a:pt x="19161" y="15860"/>
                </a:lnTo>
                <a:cubicBezTo>
                  <a:pt x="19203" y="15875"/>
                  <a:pt x="19189" y="14313"/>
                  <a:pt x="19187" y="12271"/>
                </a:cubicBezTo>
                <a:cubicBezTo>
                  <a:pt x="19185" y="10229"/>
                  <a:pt x="19126" y="3682"/>
                  <a:pt x="19148" y="3610"/>
                </a:cubicBezTo>
                <a:cubicBezTo>
                  <a:pt x="18027" y="2331"/>
                  <a:pt x="16672" y="1405"/>
                  <a:pt x="15206" y="859"/>
                </a:cubicBezTo>
                <a:cubicBezTo>
                  <a:pt x="14026" y="396"/>
                  <a:pt x="12761" y="103"/>
                  <a:pt x="11472" y="23"/>
                </a:cubicBezTo>
                <a:close/>
              </a:path>
            </a:pathLst>
          </a:cu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25400">
            <a:noFill/>
            <a:miter lim="400000"/>
          </a:ln>
        </p:spPr>
        <p:txBody>
          <a:bodyPr lIns="25400" tIns="25400" rIns="25400" bIns="25400" anchor="ctr"/>
          <a:lstStyle/>
          <a:p>
            <a:endParaRPr sz="6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D8A21FF-A324-FF17-64D4-ED08C9C47F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6155" t="8764" r="10248" b="19092"/>
          <a:stretch/>
        </p:blipFill>
        <p:spPr>
          <a:xfrm>
            <a:off x="4907666" y="0"/>
            <a:ext cx="7302622" cy="6859764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FF2E1AB-3873-5D40-E9DE-CDBE7B120F9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5A18A9-FB90-4F92-9633-9A2FCB4DF4A0}" type="slidenum">
              <a:rPr lang="pt-PT" smtClean="0"/>
              <a:pPr/>
              <a:t>‹nº›</a:t>
            </a:fld>
            <a:endParaRPr lang="pt-PT" dirty="0"/>
          </a:p>
        </p:txBody>
      </p:sp>
      <p:sp>
        <p:nvSpPr>
          <p:cNvPr id="6" name="Marcador de Posição do Texto 2">
            <a:extLst>
              <a:ext uri="{FF2B5EF4-FFF2-40B4-BE49-F238E27FC236}">
                <a16:creationId xmlns:a16="http://schemas.microsoft.com/office/drawing/2014/main" id="{7D5DA25B-3DA3-EEE1-CEA6-930FC9FBF76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4317" y="2281107"/>
            <a:ext cx="4153056" cy="2445035"/>
          </a:xfrm>
          <a:prstGeom prst="rect">
            <a:avLst/>
          </a:prstGeom>
        </p:spPr>
        <p:txBody>
          <a:bodyPr vert="horz" wrap="none" lIns="0" tIns="45720" rIns="0" bIns="45720" rtlCol="0" anchor="t" anchorCtr="0">
            <a:noAutofit/>
          </a:bodyPr>
          <a:lstStyle>
            <a:lvl1pPr marL="0" indent="0">
              <a:lnSpc>
                <a:spcPts val="3860"/>
              </a:lnSpc>
              <a:buNone/>
              <a:defRPr lang="pt-PT" sz="3200" b="1" baseline="0" dirty="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166682" lvl="0" indent="-342891">
              <a:spcBef>
                <a:spcPct val="0"/>
              </a:spcBef>
            </a:pPr>
            <a:r>
              <a:rPr lang="pt-PT" dirty="0"/>
              <a:t>Título do Separador</a:t>
            </a:r>
          </a:p>
        </p:txBody>
      </p:sp>
      <p:sp useBgFill="1">
        <p:nvSpPr>
          <p:cNvPr id="2" name="Marcador de Posição do Texto 2">
            <a:extLst>
              <a:ext uri="{FF2B5EF4-FFF2-40B4-BE49-F238E27FC236}">
                <a16:creationId xmlns:a16="http://schemas.microsoft.com/office/drawing/2014/main" id="{AB4D22D5-20E4-190F-EB9F-894ACA7E145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6835" y="253243"/>
            <a:ext cx="1771431" cy="1876776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pt-PT" sz="15000" b="1" i="0" baseline="0" dirty="0">
                <a:ln w="22225">
                  <a:solidFill>
                    <a:srgbClr val="FF9E0E"/>
                  </a:solidFill>
                </a:ln>
                <a:noFill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pt-PT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73114225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dor 2_branco_sem imag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FF2E1AB-3873-5D40-E9DE-CDBE7B120F9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5A18A9-FB90-4F92-9633-9A2FCB4DF4A0}" type="slidenum">
              <a:rPr lang="pt-PT" smtClean="0"/>
              <a:pPr/>
              <a:t>‹nº›</a:t>
            </a:fld>
            <a:endParaRPr lang="pt-PT" dirty="0"/>
          </a:p>
        </p:txBody>
      </p:sp>
      <p:sp>
        <p:nvSpPr>
          <p:cNvPr id="6" name="Marcador de Posição do Texto 2">
            <a:extLst>
              <a:ext uri="{FF2B5EF4-FFF2-40B4-BE49-F238E27FC236}">
                <a16:creationId xmlns:a16="http://schemas.microsoft.com/office/drawing/2014/main" id="{7D5DA25B-3DA3-EEE1-CEA6-930FC9FBF76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4317" y="2281107"/>
            <a:ext cx="4153056" cy="2445035"/>
          </a:xfrm>
          <a:prstGeom prst="rect">
            <a:avLst/>
          </a:prstGeom>
        </p:spPr>
        <p:txBody>
          <a:bodyPr vert="horz" wrap="none" lIns="0" tIns="45720" rIns="0" bIns="45720" rtlCol="0" anchor="t" anchorCtr="0">
            <a:noAutofit/>
          </a:bodyPr>
          <a:lstStyle>
            <a:lvl1pPr marL="0" indent="0">
              <a:lnSpc>
                <a:spcPts val="3860"/>
              </a:lnSpc>
              <a:buNone/>
              <a:defRPr lang="pt-PT" sz="3200" b="1" baseline="0" dirty="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166682" lvl="0" indent="-342891">
              <a:spcBef>
                <a:spcPct val="0"/>
              </a:spcBef>
            </a:pPr>
            <a:r>
              <a:rPr lang="pt-PT" dirty="0"/>
              <a:t>Título do Separador</a:t>
            </a:r>
          </a:p>
        </p:txBody>
      </p:sp>
      <p:sp useBgFill="1">
        <p:nvSpPr>
          <p:cNvPr id="2" name="Marcador de Posição do Texto 2">
            <a:extLst>
              <a:ext uri="{FF2B5EF4-FFF2-40B4-BE49-F238E27FC236}">
                <a16:creationId xmlns:a16="http://schemas.microsoft.com/office/drawing/2014/main" id="{AB4D22D5-20E4-190F-EB9F-894ACA7E145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6835" y="253243"/>
            <a:ext cx="1771431" cy="1876776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pt-PT" sz="15000" b="1" i="0" baseline="0" dirty="0">
                <a:ln w="22225">
                  <a:solidFill>
                    <a:srgbClr val="FF9E0E"/>
                  </a:solidFill>
                </a:ln>
                <a:noFill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pt-PT" dirty="0"/>
              <a:t>2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D8A21FF-A324-FF17-64D4-ED08C9C47F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6155" t="8764" r="10248" b="19092"/>
          <a:stretch/>
        </p:blipFill>
        <p:spPr>
          <a:xfrm>
            <a:off x="4907666" y="0"/>
            <a:ext cx="7302622" cy="6859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673802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dor 3_preto_com imagem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hape">
            <a:extLst>
              <a:ext uri="{FF2B5EF4-FFF2-40B4-BE49-F238E27FC236}">
                <a16:creationId xmlns:a16="http://schemas.microsoft.com/office/drawing/2014/main" id="{F30F49C7-6132-E00E-A44B-69AB9ED5261C}"/>
              </a:ext>
            </a:extLst>
          </p:cNvPr>
          <p:cNvSpPr/>
          <p:nvPr userDrawn="1"/>
        </p:nvSpPr>
        <p:spPr>
          <a:xfrm rot="21590702">
            <a:off x="6311924" y="1126726"/>
            <a:ext cx="5886552" cy="5750092"/>
          </a:xfrm>
          <a:custGeom>
            <a:avLst/>
            <a:gdLst>
              <a:gd name="connsiteX0" fmla="*/ 6028 w 21483"/>
              <a:gd name="connsiteY0" fmla="*/ 7799 h 21305"/>
              <a:gd name="connsiteX1" fmla="*/ 3612 w 21483"/>
              <a:gd name="connsiteY1" fmla="*/ 10665 h 21305"/>
              <a:gd name="connsiteX2" fmla="*/ 1285 w 21483"/>
              <a:gd name="connsiteY2" fmla="*/ 13598 h 21305"/>
              <a:gd name="connsiteX3" fmla="*/ 34 w 21483"/>
              <a:gd name="connsiteY3" fmla="*/ 16246 h 21305"/>
              <a:gd name="connsiteX4" fmla="*/ 178 w 21483"/>
              <a:gd name="connsiteY4" fmla="*/ 17532 h 21305"/>
              <a:gd name="connsiteX5" fmla="*/ 910 w 21483"/>
              <a:gd name="connsiteY5" fmla="*/ 18276 h 21305"/>
              <a:gd name="connsiteX6" fmla="*/ 1838 w 21483"/>
              <a:gd name="connsiteY6" fmla="*/ 18780 h 21305"/>
              <a:gd name="connsiteX7" fmla="*/ 5988 w 21483"/>
              <a:gd name="connsiteY7" fmla="*/ 20199 h 21305"/>
              <a:gd name="connsiteX8" fmla="*/ 11701 w 21483"/>
              <a:gd name="connsiteY8" fmla="*/ 21304 h 21305"/>
              <a:gd name="connsiteX9" fmla="*/ 19704 w 21483"/>
              <a:gd name="connsiteY9" fmla="*/ 20435 h 21305"/>
              <a:gd name="connsiteX10" fmla="*/ 20687 w 21483"/>
              <a:gd name="connsiteY10" fmla="*/ 19627 h 21305"/>
              <a:gd name="connsiteX11" fmla="*/ 21147 w 21483"/>
              <a:gd name="connsiteY11" fmla="*/ 18859 h 21305"/>
              <a:gd name="connsiteX12" fmla="*/ 21395 w 21483"/>
              <a:gd name="connsiteY12" fmla="*/ 17913 h 21305"/>
              <a:gd name="connsiteX13" fmla="*/ 21293 w 21483"/>
              <a:gd name="connsiteY13" fmla="*/ 14462 h 21305"/>
              <a:gd name="connsiteX14" fmla="*/ 20149 w 21483"/>
              <a:gd name="connsiteY14" fmla="*/ 9658 h 21305"/>
              <a:gd name="connsiteX15" fmla="*/ 15508 w 21483"/>
              <a:gd name="connsiteY15" fmla="*/ 2919 h 21305"/>
              <a:gd name="connsiteX16" fmla="*/ 15091 w 21483"/>
              <a:gd name="connsiteY16" fmla="*/ 2553 h 21305"/>
              <a:gd name="connsiteX17" fmla="*/ 13043 w 21483"/>
              <a:gd name="connsiteY17" fmla="*/ 1180 h 21305"/>
              <a:gd name="connsiteX18" fmla="*/ 10864 w 21483"/>
              <a:gd name="connsiteY18" fmla="*/ 188 h 21305"/>
              <a:gd name="connsiteX19" fmla="*/ 10345 w 21483"/>
              <a:gd name="connsiteY19" fmla="*/ 63 h 21305"/>
              <a:gd name="connsiteX20" fmla="*/ 9835 w 21483"/>
              <a:gd name="connsiteY20" fmla="*/ 0 h 21305"/>
              <a:gd name="connsiteX21" fmla="*/ 9604 w 21483"/>
              <a:gd name="connsiteY21" fmla="*/ 46 h 21305"/>
              <a:gd name="connsiteX22" fmla="*/ 9497 w 21483"/>
              <a:gd name="connsiteY22" fmla="*/ 174 h 21305"/>
              <a:gd name="connsiteX23" fmla="*/ 9565 w 21483"/>
              <a:gd name="connsiteY23" fmla="*/ 321 h 21305"/>
              <a:gd name="connsiteX24" fmla="*/ 9721 w 21483"/>
              <a:gd name="connsiteY24" fmla="*/ 490 h 21305"/>
              <a:gd name="connsiteX25" fmla="*/ 9943 w 21483"/>
              <a:gd name="connsiteY25" fmla="*/ 1358 h 21305"/>
              <a:gd name="connsiteX26" fmla="*/ 9777 w 21483"/>
              <a:gd name="connsiteY26" fmla="*/ 2309 h 21305"/>
              <a:gd name="connsiteX27" fmla="*/ 8940 w 21483"/>
              <a:gd name="connsiteY27" fmla="*/ 4055 h 21305"/>
              <a:gd name="connsiteX28" fmla="*/ 7534 w 21483"/>
              <a:gd name="connsiteY28" fmla="*/ 6018 h 21305"/>
              <a:gd name="connsiteX29" fmla="*/ 6028 w 21483"/>
              <a:gd name="connsiteY29" fmla="*/ 7799 h 21305"/>
              <a:gd name="connsiteX0" fmla="*/ 6028 w 21483"/>
              <a:gd name="connsiteY0" fmla="*/ 7799 h 21305"/>
              <a:gd name="connsiteX1" fmla="*/ 3612 w 21483"/>
              <a:gd name="connsiteY1" fmla="*/ 10665 h 21305"/>
              <a:gd name="connsiteX2" fmla="*/ 1285 w 21483"/>
              <a:gd name="connsiteY2" fmla="*/ 13598 h 21305"/>
              <a:gd name="connsiteX3" fmla="*/ 34 w 21483"/>
              <a:gd name="connsiteY3" fmla="*/ 16246 h 21305"/>
              <a:gd name="connsiteX4" fmla="*/ 178 w 21483"/>
              <a:gd name="connsiteY4" fmla="*/ 17532 h 21305"/>
              <a:gd name="connsiteX5" fmla="*/ 910 w 21483"/>
              <a:gd name="connsiteY5" fmla="*/ 18276 h 21305"/>
              <a:gd name="connsiteX6" fmla="*/ 1838 w 21483"/>
              <a:gd name="connsiteY6" fmla="*/ 18780 h 21305"/>
              <a:gd name="connsiteX7" fmla="*/ 5988 w 21483"/>
              <a:gd name="connsiteY7" fmla="*/ 20199 h 21305"/>
              <a:gd name="connsiteX8" fmla="*/ 11701 w 21483"/>
              <a:gd name="connsiteY8" fmla="*/ 21304 h 21305"/>
              <a:gd name="connsiteX9" fmla="*/ 19704 w 21483"/>
              <a:gd name="connsiteY9" fmla="*/ 20435 h 21305"/>
              <a:gd name="connsiteX10" fmla="*/ 21147 w 21483"/>
              <a:gd name="connsiteY10" fmla="*/ 18859 h 21305"/>
              <a:gd name="connsiteX11" fmla="*/ 21395 w 21483"/>
              <a:gd name="connsiteY11" fmla="*/ 17913 h 21305"/>
              <a:gd name="connsiteX12" fmla="*/ 21293 w 21483"/>
              <a:gd name="connsiteY12" fmla="*/ 14462 h 21305"/>
              <a:gd name="connsiteX13" fmla="*/ 20149 w 21483"/>
              <a:gd name="connsiteY13" fmla="*/ 9658 h 21305"/>
              <a:gd name="connsiteX14" fmla="*/ 15508 w 21483"/>
              <a:gd name="connsiteY14" fmla="*/ 2919 h 21305"/>
              <a:gd name="connsiteX15" fmla="*/ 15091 w 21483"/>
              <a:gd name="connsiteY15" fmla="*/ 2553 h 21305"/>
              <a:gd name="connsiteX16" fmla="*/ 13043 w 21483"/>
              <a:gd name="connsiteY16" fmla="*/ 1180 h 21305"/>
              <a:gd name="connsiteX17" fmla="*/ 10864 w 21483"/>
              <a:gd name="connsiteY17" fmla="*/ 188 h 21305"/>
              <a:gd name="connsiteX18" fmla="*/ 10345 w 21483"/>
              <a:gd name="connsiteY18" fmla="*/ 63 h 21305"/>
              <a:gd name="connsiteX19" fmla="*/ 9835 w 21483"/>
              <a:gd name="connsiteY19" fmla="*/ 0 h 21305"/>
              <a:gd name="connsiteX20" fmla="*/ 9604 w 21483"/>
              <a:gd name="connsiteY20" fmla="*/ 46 h 21305"/>
              <a:gd name="connsiteX21" fmla="*/ 9497 w 21483"/>
              <a:gd name="connsiteY21" fmla="*/ 174 h 21305"/>
              <a:gd name="connsiteX22" fmla="*/ 9565 w 21483"/>
              <a:gd name="connsiteY22" fmla="*/ 321 h 21305"/>
              <a:gd name="connsiteX23" fmla="*/ 9721 w 21483"/>
              <a:gd name="connsiteY23" fmla="*/ 490 h 21305"/>
              <a:gd name="connsiteX24" fmla="*/ 9943 w 21483"/>
              <a:gd name="connsiteY24" fmla="*/ 1358 h 21305"/>
              <a:gd name="connsiteX25" fmla="*/ 9777 w 21483"/>
              <a:gd name="connsiteY25" fmla="*/ 2309 h 21305"/>
              <a:gd name="connsiteX26" fmla="*/ 8940 w 21483"/>
              <a:gd name="connsiteY26" fmla="*/ 4055 h 21305"/>
              <a:gd name="connsiteX27" fmla="*/ 7534 w 21483"/>
              <a:gd name="connsiteY27" fmla="*/ 6018 h 21305"/>
              <a:gd name="connsiteX28" fmla="*/ 6028 w 21483"/>
              <a:gd name="connsiteY28" fmla="*/ 7799 h 21305"/>
              <a:gd name="connsiteX0" fmla="*/ 6028 w 21587"/>
              <a:gd name="connsiteY0" fmla="*/ 7799 h 21305"/>
              <a:gd name="connsiteX1" fmla="*/ 3612 w 21587"/>
              <a:gd name="connsiteY1" fmla="*/ 10665 h 21305"/>
              <a:gd name="connsiteX2" fmla="*/ 1285 w 21587"/>
              <a:gd name="connsiteY2" fmla="*/ 13598 h 21305"/>
              <a:gd name="connsiteX3" fmla="*/ 34 w 21587"/>
              <a:gd name="connsiteY3" fmla="*/ 16246 h 21305"/>
              <a:gd name="connsiteX4" fmla="*/ 178 w 21587"/>
              <a:gd name="connsiteY4" fmla="*/ 17532 h 21305"/>
              <a:gd name="connsiteX5" fmla="*/ 910 w 21587"/>
              <a:gd name="connsiteY5" fmla="*/ 18276 h 21305"/>
              <a:gd name="connsiteX6" fmla="*/ 1838 w 21587"/>
              <a:gd name="connsiteY6" fmla="*/ 18780 h 21305"/>
              <a:gd name="connsiteX7" fmla="*/ 5988 w 21587"/>
              <a:gd name="connsiteY7" fmla="*/ 20199 h 21305"/>
              <a:gd name="connsiteX8" fmla="*/ 11701 w 21587"/>
              <a:gd name="connsiteY8" fmla="*/ 21304 h 21305"/>
              <a:gd name="connsiteX9" fmla="*/ 19704 w 21587"/>
              <a:gd name="connsiteY9" fmla="*/ 20435 h 21305"/>
              <a:gd name="connsiteX10" fmla="*/ 21147 w 21587"/>
              <a:gd name="connsiteY10" fmla="*/ 18859 h 21305"/>
              <a:gd name="connsiteX11" fmla="*/ 21395 w 21587"/>
              <a:gd name="connsiteY11" fmla="*/ 17913 h 21305"/>
              <a:gd name="connsiteX12" fmla="*/ 21293 w 21587"/>
              <a:gd name="connsiteY12" fmla="*/ 14462 h 21305"/>
              <a:gd name="connsiteX13" fmla="*/ 18572 w 21587"/>
              <a:gd name="connsiteY13" fmla="*/ 7218 h 21305"/>
              <a:gd name="connsiteX14" fmla="*/ 15508 w 21587"/>
              <a:gd name="connsiteY14" fmla="*/ 2919 h 21305"/>
              <a:gd name="connsiteX15" fmla="*/ 15091 w 21587"/>
              <a:gd name="connsiteY15" fmla="*/ 2553 h 21305"/>
              <a:gd name="connsiteX16" fmla="*/ 13043 w 21587"/>
              <a:gd name="connsiteY16" fmla="*/ 1180 h 21305"/>
              <a:gd name="connsiteX17" fmla="*/ 10864 w 21587"/>
              <a:gd name="connsiteY17" fmla="*/ 188 h 21305"/>
              <a:gd name="connsiteX18" fmla="*/ 10345 w 21587"/>
              <a:gd name="connsiteY18" fmla="*/ 63 h 21305"/>
              <a:gd name="connsiteX19" fmla="*/ 9835 w 21587"/>
              <a:gd name="connsiteY19" fmla="*/ 0 h 21305"/>
              <a:gd name="connsiteX20" fmla="*/ 9604 w 21587"/>
              <a:gd name="connsiteY20" fmla="*/ 46 h 21305"/>
              <a:gd name="connsiteX21" fmla="*/ 9497 w 21587"/>
              <a:gd name="connsiteY21" fmla="*/ 174 h 21305"/>
              <a:gd name="connsiteX22" fmla="*/ 9565 w 21587"/>
              <a:gd name="connsiteY22" fmla="*/ 321 h 21305"/>
              <a:gd name="connsiteX23" fmla="*/ 9721 w 21587"/>
              <a:gd name="connsiteY23" fmla="*/ 490 h 21305"/>
              <a:gd name="connsiteX24" fmla="*/ 9943 w 21587"/>
              <a:gd name="connsiteY24" fmla="*/ 1358 h 21305"/>
              <a:gd name="connsiteX25" fmla="*/ 9777 w 21587"/>
              <a:gd name="connsiteY25" fmla="*/ 2309 h 21305"/>
              <a:gd name="connsiteX26" fmla="*/ 8940 w 21587"/>
              <a:gd name="connsiteY26" fmla="*/ 4055 h 21305"/>
              <a:gd name="connsiteX27" fmla="*/ 7534 w 21587"/>
              <a:gd name="connsiteY27" fmla="*/ 6018 h 21305"/>
              <a:gd name="connsiteX28" fmla="*/ 6028 w 21587"/>
              <a:gd name="connsiteY28" fmla="*/ 7799 h 21305"/>
              <a:gd name="connsiteX0" fmla="*/ 6028 w 21600"/>
              <a:gd name="connsiteY0" fmla="*/ 7799 h 21305"/>
              <a:gd name="connsiteX1" fmla="*/ 3612 w 21600"/>
              <a:gd name="connsiteY1" fmla="*/ 10665 h 21305"/>
              <a:gd name="connsiteX2" fmla="*/ 1285 w 21600"/>
              <a:gd name="connsiteY2" fmla="*/ 13598 h 21305"/>
              <a:gd name="connsiteX3" fmla="*/ 34 w 21600"/>
              <a:gd name="connsiteY3" fmla="*/ 16246 h 21305"/>
              <a:gd name="connsiteX4" fmla="*/ 178 w 21600"/>
              <a:gd name="connsiteY4" fmla="*/ 17532 h 21305"/>
              <a:gd name="connsiteX5" fmla="*/ 910 w 21600"/>
              <a:gd name="connsiteY5" fmla="*/ 18276 h 21305"/>
              <a:gd name="connsiteX6" fmla="*/ 1838 w 21600"/>
              <a:gd name="connsiteY6" fmla="*/ 18780 h 21305"/>
              <a:gd name="connsiteX7" fmla="*/ 5988 w 21600"/>
              <a:gd name="connsiteY7" fmla="*/ 20199 h 21305"/>
              <a:gd name="connsiteX8" fmla="*/ 11701 w 21600"/>
              <a:gd name="connsiteY8" fmla="*/ 21304 h 21305"/>
              <a:gd name="connsiteX9" fmla="*/ 19704 w 21600"/>
              <a:gd name="connsiteY9" fmla="*/ 20435 h 21305"/>
              <a:gd name="connsiteX10" fmla="*/ 21147 w 21600"/>
              <a:gd name="connsiteY10" fmla="*/ 18859 h 21305"/>
              <a:gd name="connsiteX11" fmla="*/ 21395 w 21600"/>
              <a:gd name="connsiteY11" fmla="*/ 17913 h 21305"/>
              <a:gd name="connsiteX12" fmla="*/ 21293 w 21600"/>
              <a:gd name="connsiteY12" fmla="*/ 14462 h 21305"/>
              <a:gd name="connsiteX13" fmla="*/ 18379 w 21600"/>
              <a:gd name="connsiteY13" fmla="*/ 6617 h 21305"/>
              <a:gd name="connsiteX14" fmla="*/ 15508 w 21600"/>
              <a:gd name="connsiteY14" fmla="*/ 2919 h 21305"/>
              <a:gd name="connsiteX15" fmla="*/ 15091 w 21600"/>
              <a:gd name="connsiteY15" fmla="*/ 2553 h 21305"/>
              <a:gd name="connsiteX16" fmla="*/ 13043 w 21600"/>
              <a:gd name="connsiteY16" fmla="*/ 1180 h 21305"/>
              <a:gd name="connsiteX17" fmla="*/ 10864 w 21600"/>
              <a:gd name="connsiteY17" fmla="*/ 188 h 21305"/>
              <a:gd name="connsiteX18" fmla="*/ 10345 w 21600"/>
              <a:gd name="connsiteY18" fmla="*/ 63 h 21305"/>
              <a:gd name="connsiteX19" fmla="*/ 9835 w 21600"/>
              <a:gd name="connsiteY19" fmla="*/ 0 h 21305"/>
              <a:gd name="connsiteX20" fmla="*/ 9604 w 21600"/>
              <a:gd name="connsiteY20" fmla="*/ 46 h 21305"/>
              <a:gd name="connsiteX21" fmla="*/ 9497 w 21600"/>
              <a:gd name="connsiteY21" fmla="*/ 174 h 21305"/>
              <a:gd name="connsiteX22" fmla="*/ 9565 w 21600"/>
              <a:gd name="connsiteY22" fmla="*/ 321 h 21305"/>
              <a:gd name="connsiteX23" fmla="*/ 9721 w 21600"/>
              <a:gd name="connsiteY23" fmla="*/ 490 h 21305"/>
              <a:gd name="connsiteX24" fmla="*/ 9943 w 21600"/>
              <a:gd name="connsiteY24" fmla="*/ 1358 h 21305"/>
              <a:gd name="connsiteX25" fmla="*/ 9777 w 21600"/>
              <a:gd name="connsiteY25" fmla="*/ 2309 h 21305"/>
              <a:gd name="connsiteX26" fmla="*/ 8940 w 21600"/>
              <a:gd name="connsiteY26" fmla="*/ 4055 h 21305"/>
              <a:gd name="connsiteX27" fmla="*/ 7534 w 21600"/>
              <a:gd name="connsiteY27" fmla="*/ 6018 h 21305"/>
              <a:gd name="connsiteX28" fmla="*/ 6028 w 21600"/>
              <a:gd name="connsiteY28" fmla="*/ 7799 h 21305"/>
              <a:gd name="connsiteX0" fmla="*/ 6028 w 21600"/>
              <a:gd name="connsiteY0" fmla="*/ 7799 h 21305"/>
              <a:gd name="connsiteX1" fmla="*/ 3612 w 21600"/>
              <a:gd name="connsiteY1" fmla="*/ 10665 h 21305"/>
              <a:gd name="connsiteX2" fmla="*/ 1285 w 21600"/>
              <a:gd name="connsiteY2" fmla="*/ 13598 h 21305"/>
              <a:gd name="connsiteX3" fmla="*/ 34 w 21600"/>
              <a:gd name="connsiteY3" fmla="*/ 16246 h 21305"/>
              <a:gd name="connsiteX4" fmla="*/ 178 w 21600"/>
              <a:gd name="connsiteY4" fmla="*/ 17532 h 21305"/>
              <a:gd name="connsiteX5" fmla="*/ 910 w 21600"/>
              <a:gd name="connsiteY5" fmla="*/ 18276 h 21305"/>
              <a:gd name="connsiteX6" fmla="*/ 1838 w 21600"/>
              <a:gd name="connsiteY6" fmla="*/ 18780 h 21305"/>
              <a:gd name="connsiteX7" fmla="*/ 5988 w 21600"/>
              <a:gd name="connsiteY7" fmla="*/ 20199 h 21305"/>
              <a:gd name="connsiteX8" fmla="*/ 11701 w 21600"/>
              <a:gd name="connsiteY8" fmla="*/ 21304 h 21305"/>
              <a:gd name="connsiteX9" fmla="*/ 19704 w 21600"/>
              <a:gd name="connsiteY9" fmla="*/ 20435 h 21305"/>
              <a:gd name="connsiteX10" fmla="*/ 21147 w 21600"/>
              <a:gd name="connsiteY10" fmla="*/ 18859 h 21305"/>
              <a:gd name="connsiteX11" fmla="*/ 21395 w 21600"/>
              <a:gd name="connsiteY11" fmla="*/ 17913 h 21305"/>
              <a:gd name="connsiteX12" fmla="*/ 21293 w 21600"/>
              <a:gd name="connsiteY12" fmla="*/ 14462 h 21305"/>
              <a:gd name="connsiteX13" fmla="*/ 18379 w 21600"/>
              <a:gd name="connsiteY13" fmla="*/ 6617 h 21305"/>
              <a:gd name="connsiteX14" fmla="*/ 15508 w 21600"/>
              <a:gd name="connsiteY14" fmla="*/ 2919 h 21305"/>
              <a:gd name="connsiteX15" fmla="*/ 15091 w 21600"/>
              <a:gd name="connsiteY15" fmla="*/ 2553 h 21305"/>
              <a:gd name="connsiteX16" fmla="*/ 13043 w 21600"/>
              <a:gd name="connsiteY16" fmla="*/ 1180 h 21305"/>
              <a:gd name="connsiteX17" fmla="*/ 10864 w 21600"/>
              <a:gd name="connsiteY17" fmla="*/ 188 h 21305"/>
              <a:gd name="connsiteX18" fmla="*/ 10345 w 21600"/>
              <a:gd name="connsiteY18" fmla="*/ 63 h 21305"/>
              <a:gd name="connsiteX19" fmla="*/ 9835 w 21600"/>
              <a:gd name="connsiteY19" fmla="*/ 0 h 21305"/>
              <a:gd name="connsiteX20" fmla="*/ 9604 w 21600"/>
              <a:gd name="connsiteY20" fmla="*/ 46 h 21305"/>
              <a:gd name="connsiteX21" fmla="*/ 9497 w 21600"/>
              <a:gd name="connsiteY21" fmla="*/ 174 h 21305"/>
              <a:gd name="connsiteX22" fmla="*/ 9565 w 21600"/>
              <a:gd name="connsiteY22" fmla="*/ 321 h 21305"/>
              <a:gd name="connsiteX23" fmla="*/ 9721 w 21600"/>
              <a:gd name="connsiteY23" fmla="*/ 490 h 21305"/>
              <a:gd name="connsiteX24" fmla="*/ 9943 w 21600"/>
              <a:gd name="connsiteY24" fmla="*/ 1358 h 21305"/>
              <a:gd name="connsiteX25" fmla="*/ 9777 w 21600"/>
              <a:gd name="connsiteY25" fmla="*/ 2309 h 21305"/>
              <a:gd name="connsiteX26" fmla="*/ 8940 w 21600"/>
              <a:gd name="connsiteY26" fmla="*/ 4055 h 21305"/>
              <a:gd name="connsiteX27" fmla="*/ 7534 w 21600"/>
              <a:gd name="connsiteY27" fmla="*/ 6018 h 21305"/>
              <a:gd name="connsiteX28" fmla="*/ 6028 w 21600"/>
              <a:gd name="connsiteY28" fmla="*/ 7799 h 21305"/>
              <a:gd name="connsiteX0" fmla="*/ 6028 w 21622"/>
              <a:gd name="connsiteY0" fmla="*/ 7799 h 21305"/>
              <a:gd name="connsiteX1" fmla="*/ 3612 w 21622"/>
              <a:gd name="connsiteY1" fmla="*/ 10665 h 21305"/>
              <a:gd name="connsiteX2" fmla="*/ 1285 w 21622"/>
              <a:gd name="connsiteY2" fmla="*/ 13598 h 21305"/>
              <a:gd name="connsiteX3" fmla="*/ 34 w 21622"/>
              <a:gd name="connsiteY3" fmla="*/ 16246 h 21305"/>
              <a:gd name="connsiteX4" fmla="*/ 178 w 21622"/>
              <a:gd name="connsiteY4" fmla="*/ 17532 h 21305"/>
              <a:gd name="connsiteX5" fmla="*/ 910 w 21622"/>
              <a:gd name="connsiteY5" fmla="*/ 18276 h 21305"/>
              <a:gd name="connsiteX6" fmla="*/ 1838 w 21622"/>
              <a:gd name="connsiteY6" fmla="*/ 18780 h 21305"/>
              <a:gd name="connsiteX7" fmla="*/ 5988 w 21622"/>
              <a:gd name="connsiteY7" fmla="*/ 20199 h 21305"/>
              <a:gd name="connsiteX8" fmla="*/ 11701 w 21622"/>
              <a:gd name="connsiteY8" fmla="*/ 21304 h 21305"/>
              <a:gd name="connsiteX9" fmla="*/ 19704 w 21622"/>
              <a:gd name="connsiteY9" fmla="*/ 20435 h 21305"/>
              <a:gd name="connsiteX10" fmla="*/ 21147 w 21622"/>
              <a:gd name="connsiteY10" fmla="*/ 18859 h 21305"/>
              <a:gd name="connsiteX11" fmla="*/ 21395 w 21622"/>
              <a:gd name="connsiteY11" fmla="*/ 17913 h 21305"/>
              <a:gd name="connsiteX12" fmla="*/ 21293 w 21622"/>
              <a:gd name="connsiteY12" fmla="*/ 14462 h 21305"/>
              <a:gd name="connsiteX13" fmla="*/ 18045 w 21622"/>
              <a:gd name="connsiteY13" fmla="*/ 6883 h 21305"/>
              <a:gd name="connsiteX14" fmla="*/ 15508 w 21622"/>
              <a:gd name="connsiteY14" fmla="*/ 2919 h 21305"/>
              <a:gd name="connsiteX15" fmla="*/ 15091 w 21622"/>
              <a:gd name="connsiteY15" fmla="*/ 2553 h 21305"/>
              <a:gd name="connsiteX16" fmla="*/ 13043 w 21622"/>
              <a:gd name="connsiteY16" fmla="*/ 1180 h 21305"/>
              <a:gd name="connsiteX17" fmla="*/ 10864 w 21622"/>
              <a:gd name="connsiteY17" fmla="*/ 188 h 21305"/>
              <a:gd name="connsiteX18" fmla="*/ 10345 w 21622"/>
              <a:gd name="connsiteY18" fmla="*/ 63 h 21305"/>
              <a:gd name="connsiteX19" fmla="*/ 9835 w 21622"/>
              <a:gd name="connsiteY19" fmla="*/ 0 h 21305"/>
              <a:gd name="connsiteX20" fmla="*/ 9604 w 21622"/>
              <a:gd name="connsiteY20" fmla="*/ 46 h 21305"/>
              <a:gd name="connsiteX21" fmla="*/ 9497 w 21622"/>
              <a:gd name="connsiteY21" fmla="*/ 174 h 21305"/>
              <a:gd name="connsiteX22" fmla="*/ 9565 w 21622"/>
              <a:gd name="connsiteY22" fmla="*/ 321 h 21305"/>
              <a:gd name="connsiteX23" fmla="*/ 9721 w 21622"/>
              <a:gd name="connsiteY23" fmla="*/ 490 h 21305"/>
              <a:gd name="connsiteX24" fmla="*/ 9943 w 21622"/>
              <a:gd name="connsiteY24" fmla="*/ 1358 h 21305"/>
              <a:gd name="connsiteX25" fmla="*/ 9777 w 21622"/>
              <a:gd name="connsiteY25" fmla="*/ 2309 h 21305"/>
              <a:gd name="connsiteX26" fmla="*/ 8940 w 21622"/>
              <a:gd name="connsiteY26" fmla="*/ 4055 h 21305"/>
              <a:gd name="connsiteX27" fmla="*/ 7534 w 21622"/>
              <a:gd name="connsiteY27" fmla="*/ 6018 h 21305"/>
              <a:gd name="connsiteX28" fmla="*/ 6028 w 21622"/>
              <a:gd name="connsiteY28" fmla="*/ 7799 h 21305"/>
              <a:gd name="connsiteX0" fmla="*/ 6028 w 21615"/>
              <a:gd name="connsiteY0" fmla="*/ 7799 h 21305"/>
              <a:gd name="connsiteX1" fmla="*/ 3612 w 21615"/>
              <a:gd name="connsiteY1" fmla="*/ 10665 h 21305"/>
              <a:gd name="connsiteX2" fmla="*/ 1285 w 21615"/>
              <a:gd name="connsiteY2" fmla="*/ 13598 h 21305"/>
              <a:gd name="connsiteX3" fmla="*/ 34 w 21615"/>
              <a:gd name="connsiteY3" fmla="*/ 16246 h 21305"/>
              <a:gd name="connsiteX4" fmla="*/ 178 w 21615"/>
              <a:gd name="connsiteY4" fmla="*/ 17532 h 21305"/>
              <a:gd name="connsiteX5" fmla="*/ 910 w 21615"/>
              <a:gd name="connsiteY5" fmla="*/ 18276 h 21305"/>
              <a:gd name="connsiteX6" fmla="*/ 1838 w 21615"/>
              <a:gd name="connsiteY6" fmla="*/ 18780 h 21305"/>
              <a:gd name="connsiteX7" fmla="*/ 5988 w 21615"/>
              <a:gd name="connsiteY7" fmla="*/ 20199 h 21305"/>
              <a:gd name="connsiteX8" fmla="*/ 11701 w 21615"/>
              <a:gd name="connsiteY8" fmla="*/ 21304 h 21305"/>
              <a:gd name="connsiteX9" fmla="*/ 19704 w 21615"/>
              <a:gd name="connsiteY9" fmla="*/ 20435 h 21305"/>
              <a:gd name="connsiteX10" fmla="*/ 21147 w 21615"/>
              <a:gd name="connsiteY10" fmla="*/ 18859 h 21305"/>
              <a:gd name="connsiteX11" fmla="*/ 21395 w 21615"/>
              <a:gd name="connsiteY11" fmla="*/ 17913 h 21305"/>
              <a:gd name="connsiteX12" fmla="*/ 21293 w 21615"/>
              <a:gd name="connsiteY12" fmla="*/ 14462 h 21305"/>
              <a:gd name="connsiteX13" fmla="*/ 18157 w 21615"/>
              <a:gd name="connsiteY13" fmla="*/ 6450 h 21305"/>
              <a:gd name="connsiteX14" fmla="*/ 15508 w 21615"/>
              <a:gd name="connsiteY14" fmla="*/ 2919 h 21305"/>
              <a:gd name="connsiteX15" fmla="*/ 15091 w 21615"/>
              <a:gd name="connsiteY15" fmla="*/ 2553 h 21305"/>
              <a:gd name="connsiteX16" fmla="*/ 13043 w 21615"/>
              <a:gd name="connsiteY16" fmla="*/ 1180 h 21305"/>
              <a:gd name="connsiteX17" fmla="*/ 10864 w 21615"/>
              <a:gd name="connsiteY17" fmla="*/ 188 h 21305"/>
              <a:gd name="connsiteX18" fmla="*/ 10345 w 21615"/>
              <a:gd name="connsiteY18" fmla="*/ 63 h 21305"/>
              <a:gd name="connsiteX19" fmla="*/ 9835 w 21615"/>
              <a:gd name="connsiteY19" fmla="*/ 0 h 21305"/>
              <a:gd name="connsiteX20" fmla="*/ 9604 w 21615"/>
              <a:gd name="connsiteY20" fmla="*/ 46 h 21305"/>
              <a:gd name="connsiteX21" fmla="*/ 9497 w 21615"/>
              <a:gd name="connsiteY21" fmla="*/ 174 h 21305"/>
              <a:gd name="connsiteX22" fmla="*/ 9565 w 21615"/>
              <a:gd name="connsiteY22" fmla="*/ 321 h 21305"/>
              <a:gd name="connsiteX23" fmla="*/ 9721 w 21615"/>
              <a:gd name="connsiteY23" fmla="*/ 490 h 21305"/>
              <a:gd name="connsiteX24" fmla="*/ 9943 w 21615"/>
              <a:gd name="connsiteY24" fmla="*/ 1358 h 21305"/>
              <a:gd name="connsiteX25" fmla="*/ 9777 w 21615"/>
              <a:gd name="connsiteY25" fmla="*/ 2309 h 21305"/>
              <a:gd name="connsiteX26" fmla="*/ 8940 w 21615"/>
              <a:gd name="connsiteY26" fmla="*/ 4055 h 21305"/>
              <a:gd name="connsiteX27" fmla="*/ 7534 w 21615"/>
              <a:gd name="connsiteY27" fmla="*/ 6018 h 21305"/>
              <a:gd name="connsiteX28" fmla="*/ 6028 w 21615"/>
              <a:gd name="connsiteY28" fmla="*/ 7799 h 21305"/>
              <a:gd name="connsiteX0" fmla="*/ 6028 w 21643"/>
              <a:gd name="connsiteY0" fmla="*/ 7799 h 21305"/>
              <a:gd name="connsiteX1" fmla="*/ 3612 w 21643"/>
              <a:gd name="connsiteY1" fmla="*/ 10665 h 21305"/>
              <a:gd name="connsiteX2" fmla="*/ 1285 w 21643"/>
              <a:gd name="connsiteY2" fmla="*/ 13598 h 21305"/>
              <a:gd name="connsiteX3" fmla="*/ 34 w 21643"/>
              <a:gd name="connsiteY3" fmla="*/ 16246 h 21305"/>
              <a:gd name="connsiteX4" fmla="*/ 178 w 21643"/>
              <a:gd name="connsiteY4" fmla="*/ 17532 h 21305"/>
              <a:gd name="connsiteX5" fmla="*/ 910 w 21643"/>
              <a:gd name="connsiteY5" fmla="*/ 18276 h 21305"/>
              <a:gd name="connsiteX6" fmla="*/ 1838 w 21643"/>
              <a:gd name="connsiteY6" fmla="*/ 18780 h 21305"/>
              <a:gd name="connsiteX7" fmla="*/ 5988 w 21643"/>
              <a:gd name="connsiteY7" fmla="*/ 20199 h 21305"/>
              <a:gd name="connsiteX8" fmla="*/ 11701 w 21643"/>
              <a:gd name="connsiteY8" fmla="*/ 21304 h 21305"/>
              <a:gd name="connsiteX9" fmla="*/ 19704 w 21643"/>
              <a:gd name="connsiteY9" fmla="*/ 20435 h 21305"/>
              <a:gd name="connsiteX10" fmla="*/ 21147 w 21643"/>
              <a:gd name="connsiteY10" fmla="*/ 18859 h 21305"/>
              <a:gd name="connsiteX11" fmla="*/ 21395 w 21643"/>
              <a:gd name="connsiteY11" fmla="*/ 17913 h 21305"/>
              <a:gd name="connsiteX12" fmla="*/ 21293 w 21643"/>
              <a:gd name="connsiteY12" fmla="*/ 14462 h 21305"/>
              <a:gd name="connsiteX13" fmla="*/ 17743 w 21643"/>
              <a:gd name="connsiteY13" fmla="*/ 5381 h 21305"/>
              <a:gd name="connsiteX14" fmla="*/ 15508 w 21643"/>
              <a:gd name="connsiteY14" fmla="*/ 2919 h 21305"/>
              <a:gd name="connsiteX15" fmla="*/ 15091 w 21643"/>
              <a:gd name="connsiteY15" fmla="*/ 2553 h 21305"/>
              <a:gd name="connsiteX16" fmla="*/ 13043 w 21643"/>
              <a:gd name="connsiteY16" fmla="*/ 1180 h 21305"/>
              <a:gd name="connsiteX17" fmla="*/ 10864 w 21643"/>
              <a:gd name="connsiteY17" fmla="*/ 188 h 21305"/>
              <a:gd name="connsiteX18" fmla="*/ 10345 w 21643"/>
              <a:gd name="connsiteY18" fmla="*/ 63 h 21305"/>
              <a:gd name="connsiteX19" fmla="*/ 9835 w 21643"/>
              <a:gd name="connsiteY19" fmla="*/ 0 h 21305"/>
              <a:gd name="connsiteX20" fmla="*/ 9604 w 21643"/>
              <a:gd name="connsiteY20" fmla="*/ 46 h 21305"/>
              <a:gd name="connsiteX21" fmla="*/ 9497 w 21643"/>
              <a:gd name="connsiteY21" fmla="*/ 174 h 21305"/>
              <a:gd name="connsiteX22" fmla="*/ 9565 w 21643"/>
              <a:gd name="connsiteY22" fmla="*/ 321 h 21305"/>
              <a:gd name="connsiteX23" fmla="*/ 9721 w 21643"/>
              <a:gd name="connsiteY23" fmla="*/ 490 h 21305"/>
              <a:gd name="connsiteX24" fmla="*/ 9943 w 21643"/>
              <a:gd name="connsiteY24" fmla="*/ 1358 h 21305"/>
              <a:gd name="connsiteX25" fmla="*/ 9777 w 21643"/>
              <a:gd name="connsiteY25" fmla="*/ 2309 h 21305"/>
              <a:gd name="connsiteX26" fmla="*/ 8940 w 21643"/>
              <a:gd name="connsiteY26" fmla="*/ 4055 h 21305"/>
              <a:gd name="connsiteX27" fmla="*/ 7534 w 21643"/>
              <a:gd name="connsiteY27" fmla="*/ 6018 h 21305"/>
              <a:gd name="connsiteX28" fmla="*/ 6028 w 21643"/>
              <a:gd name="connsiteY28" fmla="*/ 7799 h 21305"/>
              <a:gd name="connsiteX0" fmla="*/ 6028 w 21643"/>
              <a:gd name="connsiteY0" fmla="*/ 7799 h 21305"/>
              <a:gd name="connsiteX1" fmla="*/ 3612 w 21643"/>
              <a:gd name="connsiteY1" fmla="*/ 10665 h 21305"/>
              <a:gd name="connsiteX2" fmla="*/ 1285 w 21643"/>
              <a:gd name="connsiteY2" fmla="*/ 13598 h 21305"/>
              <a:gd name="connsiteX3" fmla="*/ 34 w 21643"/>
              <a:gd name="connsiteY3" fmla="*/ 16246 h 21305"/>
              <a:gd name="connsiteX4" fmla="*/ 178 w 21643"/>
              <a:gd name="connsiteY4" fmla="*/ 17532 h 21305"/>
              <a:gd name="connsiteX5" fmla="*/ 910 w 21643"/>
              <a:gd name="connsiteY5" fmla="*/ 18276 h 21305"/>
              <a:gd name="connsiteX6" fmla="*/ 1838 w 21643"/>
              <a:gd name="connsiteY6" fmla="*/ 18780 h 21305"/>
              <a:gd name="connsiteX7" fmla="*/ 5988 w 21643"/>
              <a:gd name="connsiteY7" fmla="*/ 20199 h 21305"/>
              <a:gd name="connsiteX8" fmla="*/ 11701 w 21643"/>
              <a:gd name="connsiteY8" fmla="*/ 21304 h 21305"/>
              <a:gd name="connsiteX9" fmla="*/ 19704 w 21643"/>
              <a:gd name="connsiteY9" fmla="*/ 20435 h 21305"/>
              <a:gd name="connsiteX10" fmla="*/ 21147 w 21643"/>
              <a:gd name="connsiteY10" fmla="*/ 18859 h 21305"/>
              <a:gd name="connsiteX11" fmla="*/ 21395 w 21643"/>
              <a:gd name="connsiteY11" fmla="*/ 17913 h 21305"/>
              <a:gd name="connsiteX12" fmla="*/ 21293 w 21643"/>
              <a:gd name="connsiteY12" fmla="*/ 14462 h 21305"/>
              <a:gd name="connsiteX13" fmla="*/ 17743 w 21643"/>
              <a:gd name="connsiteY13" fmla="*/ 5381 h 21305"/>
              <a:gd name="connsiteX14" fmla="*/ 15508 w 21643"/>
              <a:gd name="connsiteY14" fmla="*/ 2919 h 21305"/>
              <a:gd name="connsiteX15" fmla="*/ 15091 w 21643"/>
              <a:gd name="connsiteY15" fmla="*/ 2553 h 21305"/>
              <a:gd name="connsiteX16" fmla="*/ 13043 w 21643"/>
              <a:gd name="connsiteY16" fmla="*/ 1180 h 21305"/>
              <a:gd name="connsiteX17" fmla="*/ 10864 w 21643"/>
              <a:gd name="connsiteY17" fmla="*/ 188 h 21305"/>
              <a:gd name="connsiteX18" fmla="*/ 10345 w 21643"/>
              <a:gd name="connsiteY18" fmla="*/ 63 h 21305"/>
              <a:gd name="connsiteX19" fmla="*/ 9835 w 21643"/>
              <a:gd name="connsiteY19" fmla="*/ 0 h 21305"/>
              <a:gd name="connsiteX20" fmla="*/ 9604 w 21643"/>
              <a:gd name="connsiteY20" fmla="*/ 46 h 21305"/>
              <a:gd name="connsiteX21" fmla="*/ 9497 w 21643"/>
              <a:gd name="connsiteY21" fmla="*/ 174 h 21305"/>
              <a:gd name="connsiteX22" fmla="*/ 9565 w 21643"/>
              <a:gd name="connsiteY22" fmla="*/ 321 h 21305"/>
              <a:gd name="connsiteX23" fmla="*/ 9721 w 21643"/>
              <a:gd name="connsiteY23" fmla="*/ 490 h 21305"/>
              <a:gd name="connsiteX24" fmla="*/ 9943 w 21643"/>
              <a:gd name="connsiteY24" fmla="*/ 1358 h 21305"/>
              <a:gd name="connsiteX25" fmla="*/ 9777 w 21643"/>
              <a:gd name="connsiteY25" fmla="*/ 2309 h 21305"/>
              <a:gd name="connsiteX26" fmla="*/ 8940 w 21643"/>
              <a:gd name="connsiteY26" fmla="*/ 4055 h 21305"/>
              <a:gd name="connsiteX27" fmla="*/ 7534 w 21643"/>
              <a:gd name="connsiteY27" fmla="*/ 6018 h 21305"/>
              <a:gd name="connsiteX28" fmla="*/ 6028 w 21643"/>
              <a:gd name="connsiteY28" fmla="*/ 7799 h 21305"/>
              <a:gd name="connsiteX0" fmla="*/ 6028 w 21555"/>
              <a:gd name="connsiteY0" fmla="*/ 7799 h 21305"/>
              <a:gd name="connsiteX1" fmla="*/ 3612 w 21555"/>
              <a:gd name="connsiteY1" fmla="*/ 10665 h 21305"/>
              <a:gd name="connsiteX2" fmla="*/ 1285 w 21555"/>
              <a:gd name="connsiteY2" fmla="*/ 13598 h 21305"/>
              <a:gd name="connsiteX3" fmla="*/ 34 w 21555"/>
              <a:gd name="connsiteY3" fmla="*/ 16246 h 21305"/>
              <a:gd name="connsiteX4" fmla="*/ 178 w 21555"/>
              <a:gd name="connsiteY4" fmla="*/ 17532 h 21305"/>
              <a:gd name="connsiteX5" fmla="*/ 910 w 21555"/>
              <a:gd name="connsiteY5" fmla="*/ 18276 h 21305"/>
              <a:gd name="connsiteX6" fmla="*/ 1838 w 21555"/>
              <a:gd name="connsiteY6" fmla="*/ 18780 h 21305"/>
              <a:gd name="connsiteX7" fmla="*/ 5988 w 21555"/>
              <a:gd name="connsiteY7" fmla="*/ 20199 h 21305"/>
              <a:gd name="connsiteX8" fmla="*/ 11701 w 21555"/>
              <a:gd name="connsiteY8" fmla="*/ 21304 h 21305"/>
              <a:gd name="connsiteX9" fmla="*/ 19704 w 21555"/>
              <a:gd name="connsiteY9" fmla="*/ 20435 h 21305"/>
              <a:gd name="connsiteX10" fmla="*/ 21147 w 21555"/>
              <a:gd name="connsiteY10" fmla="*/ 18859 h 21305"/>
              <a:gd name="connsiteX11" fmla="*/ 21395 w 21555"/>
              <a:gd name="connsiteY11" fmla="*/ 17913 h 21305"/>
              <a:gd name="connsiteX12" fmla="*/ 18963 w 21555"/>
              <a:gd name="connsiteY12" fmla="*/ 13120 h 21305"/>
              <a:gd name="connsiteX13" fmla="*/ 17743 w 21555"/>
              <a:gd name="connsiteY13" fmla="*/ 5381 h 21305"/>
              <a:gd name="connsiteX14" fmla="*/ 15508 w 21555"/>
              <a:gd name="connsiteY14" fmla="*/ 2919 h 21305"/>
              <a:gd name="connsiteX15" fmla="*/ 15091 w 21555"/>
              <a:gd name="connsiteY15" fmla="*/ 2553 h 21305"/>
              <a:gd name="connsiteX16" fmla="*/ 13043 w 21555"/>
              <a:gd name="connsiteY16" fmla="*/ 1180 h 21305"/>
              <a:gd name="connsiteX17" fmla="*/ 10864 w 21555"/>
              <a:gd name="connsiteY17" fmla="*/ 188 h 21305"/>
              <a:gd name="connsiteX18" fmla="*/ 10345 w 21555"/>
              <a:gd name="connsiteY18" fmla="*/ 63 h 21305"/>
              <a:gd name="connsiteX19" fmla="*/ 9835 w 21555"/>
              <a:gd name="connsiteY19" fmla="*/ 0 h 21305"/>
              <a:gd name="connsiteX20" fmla="*/ 9604 w 21555"/>
              <a:gd name="connsiteY20" fmla="*/ 46 h 21305"/>
              <a:gd name="connsiteX21" fmla="*/ 9497 w 21555"/>
              <a:gd name="connsiteY21" fmla="*/ 174 h 21305"/>
              <a:gd name="connsiteX22" fmla="*/ 9565 w 21555"/>
              <a:gd name="connsiteY22" fmla="*/ 321 h 21305"/>
              <a:gd name="connsiteX23" fmla="*/ 9721 w 21555"/>
              <a:gd name="connsiteY23" fmla="*/ 490 h 21305"/>
              <a:gd name="connsiteX24" fmla="*/ 9943 w 21555"/>
              <a:gd name="connsiteY24" fmla="*/ 1358 h 21305"/>
              <a:gd name="connsiteX25" fmla="*/ 9777 w 21555"/>
              <a:gd name="connsiteY25" fmla="*/ 2309 h 21305"/>
              <a:gd name="connsiteX26" fmla="*/ 8940 w 21555"/>
              <a:gd name="connsiteY26" fmla="*/ 4055 h 21305"/>
              <a:gd name="connsiteX27" fmla="*/ 7534 w 21555"/>
              <a:gd name="connsiteY27" fmla="*/ 6018 h 21305"/>
              <a:gd name="connsiteX28" fmla="*/ 6028 w 21555"/>
              <a:gd name="connsiteY28" fmla="*/ 7799 h 21305"/>
              <a:gd name="connsiteX0" fmla="*/ 6028 w 21195"/>
              <a:gd name="connsiteY0" fmla="*/ 7799 h 21305"/>
              <a:gd name="connsiteX1" fmla="*/ 3612 w 21195"/>
              <a:gd name="connsiteY1" fmla="*/ 10665 h 21305"/>
              <a:gd name="connsiteX2" fmla="*/ 1285 w 21195"/>
              <a:gd name="connsiteY2" fmla="*/ 13598 h 21305"/>
              <a:gd name="connsiteX3" fmla="*/ 34 w 21195"/>
              <a:gd name="connsiteY3" fmla="*/ 16246 h 21305"/>
              <a:gd name="connsiteX4" fmla="*/ 178 w 21195"/>
              <a:gd name="connsiteY4" fmla="*/ 17532 h 21305"/>
              <a:gd name="connsiteX5" fmla="*/ 910 w 21195"/>
              <a:gd name="connsiteY5" fmla="*/ 18276 h 21305"/>
              <a:gd name="connsiteX6" fmla="*/ 1838 w 21195"/>
              <a:gd name="connsiteY6" fmla="*/ 18780 h 21305"/>
              <a:gd name="connsiteX7" fmla="*/ 5988 w 21195"/>
              <a:gd name="connsiteY7" fmla="*/ 20199 h 21305"/>
              <a:gd name="connsiteX8" fmla="*/ 11701 w 21195"/>
              <a:gd name="connsiteY8" fmla="*/ 21304 h 21305"/>
              <a:gd name="connsiteX9" fmla="*/ 19704 w 21195"/>
              <a:gd name="connsiteY9" fmla="*/ 20435 h 21305"/>
              <a:gd name="connsiteX10" fmla="*/ 21147 w 21195"/>
              <a:gd name="connsiteY10" fmla="*/ 18859 h 21305"/>
              <a:gd name="connsiteX11" fmla="*/ 18963 w 21195"/>
              <a:gd name="connsiteY11" fmla="*/ 13120 h 21305"/>
              <a:gd name="connsiteX12" fmla="*/ 17743 w 21195"/>
              <a:gd name="connsiteY12" fmla="*/ 5381 h 21305"/>
              <a:gd name="connsiteX13" fmla="*/ 15508 w 21195"/>
              <a:gd name="connsiteY13" fmla="*/ 2919 h 21305"/>
              <a:gd name="connsiteX14" fmla="*/ 15091 w 21195"/>
              <a:gd name="connsiteY14" fmla="*/ 2553 h 21305"/>
              <a:gd name="connsiteX15" fmla="*/ 13043 w 21195"/>
              <a:gd name="connsiteY15" fmla="*/ 1180 h 21305"/>
              <a:gd name="connsiteX16" fmla="*/ 10864 w 21195"/>
              <a:gd name="connsiteY16" fmla="*/ 188 h 21305"/>
              <a:gd name="connsiteX17" fmla="*/ 10345 w 21195"/>
              <a:gd name="connsiteY17" fmla="*/ 63 h 21305"/>
              <a:gd name="connsiteX18" fmla="*/ 9835 w 21195"/>
              <a:gd name="connsiteY18" fmla="*/ 0 h 21305"/>
              <a:gd name="connsiteX19" fmla="*/ 9604 w 21195"/>
              <a:gd name="connsiteY19" fmla="*/ 46 h 21305"/>
              <a:gd name="connsiteX20" fmla="*/ 9497 w 21195"/>
              <a:gd name="connsiteY20" fmla="*/ 174 h 21305"/>
              <a:gd name="connsiteX21" fmla="*/ 9565 w 21195"/>
              <a:gd name="connsiteY21" fmla="*/ 321 h 21305"/>
              <a:gd name="connsiteX22" fmla="*/ 9721 w 21195"/>
              <a:gd name="connsiteY22" fmla="*/ 490 h 21305"/>
              <a:gd name="connsiteX23" fmla="*/ 9943 w 21195"/>
              <a:gd name="connsiteY23" fmla="*/ 1358 h 21305"/>
              <a:gd name="connsiteX24" fmla="*/ 9777 w 21195"/>
              <a:gd name="connsiteY24" fmla="*/ 2309 h 21305"/>
              <a:gd name="connsiteX25" fmla="*/ 8940 w 21195"/>
              <a:gd name="connsiteY25" fmla="*/ 4055 h 21305"/>
              <a:gd name="connsiteX26" fmla="*/ 7534 w 21195"/>
              <a:gd name="connsiteY26" fmla="*/ 6018 h 21305"/>
              <a:gd name="connsiteX27" fmla="*/ 6028 w 21195"/>
              <a:gd name="connsiteY27" fmla="*/ 7799 h 21305"/>
              <a:gd name="connsiteX0" fmla="*/ 6028 w 21161"/>
              <a:gd name="connsiteY0" fmla="*/ 7799 h 21351"/>
              <a:gd name="connsiteX1" fmla="*/ 3612 w 21161"/>
              <a:gd name="connsiteY1" fmla="*/ 10665 h 21351"/>
              <a:gd name="connsiteX2" fmla="*/ 1285 w 21161"/>
              <a:gd name="connsiteY2" fmla="*/ 13598 h 21351"/>
              <a:gd name="connsiteX3" fmla="*/ 34 w 21161"/>
              <a:gd name="connsiteY3" fmla="*/ 16246 h 21351"/>
              <a:gd name="connsiteX4" fmla="*/ 178 w 21161"/>
              <a:gd name="connsiteY4" fmla="*/ 17532 h 21351"/>
              <a:gd name="connsiteX5" fmla="*/ 910 w 21161"/>
              <a:gd name="connsiteY5" fmla="*/ 18276 h 21351"/>
              <a:gd name="connsiteX6" fmla="*/ 1838 w 21161"/>
              <a:gd name="connsiteY6" fmla="*/ 18780 h 21351"/>
              <a:gd name="connsiteX7" fmla="*/ 5988 w 21161"/>
              <a:gd name="connsiteY7" fmla="*/ 20199 h 21351"/>
              <a:gd name="connsiteX8" fmla="*/ 11701 w 21161"/>
              <a:gd name="connsiteY8" fmla="*/ 21304 h 21351"/>
              <a:gd name="connsiteX9" fmla="*/ 17814 w 21161"/>
              <a:gd name="connsiteY9" fmla="*/ 20996 h 21351"/>
              <a:gd name="connsiteX10" fmla="*/ 21147 w 21161"/>
              <a:gd name="connsiteY10" fmla="*/ 18859 h 21351"/>
              <a:gd name="connsiteX11" fmla="*/ 18963 w 21161"/>
              <a:gd name="connsiteY11" fmla="*/ 13120 h 21351"/>
              <a:gd name="connsiteX12" fmla="*/ 17743 w 21161"/>
              <a:gd name="connsiteY12" fmla="*/ 5381 h 21351"/>
              <a:gd name="connsiteX13" fmla="*/ 15508 w 21161"/>
              <a:gd name="connsiteY13" fmla="*/ 2919 h 21351"/>
              <a:gd name="connsiteX14" fmla="*/ 15091 w 21161"/>
              <a:gd name="connsiteY14" fmla="*/ 2553 h 21351"/>
              <a:gd name="connsiteX15" fmla="*/ 13043 w 21161"/>
              <a:gd name="connsiteY15" fmla="*/ 1180 h 21351"/>
              <a:gd name="connsiteX16" fmla="*/ 10864 w 21161"/>
              <a:gd name="connsiteY16" fmla="*/ 188 h 21351"/>
              <a:gd name="connsiteX17" fmla="*/ 10345 w 21161"/>
              <a:gd name="connsiteY17" fmla="*/ 63 h 21351"/>
              <a:gd name="connsiteX18" fmla="*/ 9835 w 21161"/>
              <a:gd name="connsiteY18" fmla="*/ 0 h 21351"/>
              <a:gd name="connsiteX19" fmla="*/ 9604 w 21161"/>
              <a:gd name="connsiteY19" fmla="*/ 46 h 21351"/>
              <a:gd name="connsiteX20" fmla="*/ 9497 w 21161"/>
              <a:gd name="connsiteY20" fmla="*/ 174 h 21351"/>
              <a:gd name="connsiteX21" fmla="*/ 9565 w 21161"/>
              <a:gd name="connsiteY21" fmla="*/ 321 h 21351"/>
              <a:gd name="connsiteX22" fmla="*/ 9721 w 21161"/>
              <a:gd name="connsiteY22" fmla="*/ 490 h 21351"/>
              <a:gd name="connsiteX23" fmla="*/ 9943 w 21161"/>
              <a:gd name="connsiteY23" fmla="*/ 1358 h 21351"/>
              <a:gd name="connsiteX24" fmla="*/ 9777 w 21161"/>
              <a:gd name="connsiteY24" fmla="*/ 2309 h 21351"/>
              <a:gd name="connsiteX25" fmla="*/ 8940 w 21161"/>
              <a:gd name="connsiteY25" fmla="*/ 4055 h 21351"/>
              <a:gd name="connsiteX26" fmla="*/ 7534 w 21161"/>
              <a:gd name="connsiteY26" fmla="*/ 6018 h 21351"/>
              <a:gd name="connsiteX27" fmla="*/ 6028 w 21161"/>
              <a:gd name="connsiteY27" fmla="*/ 7799 h 21351"/>
              <a:gd name="connsiteX0" fmla="*/ 6028 w 19175"/>
              <a:gd name="connsiteY0" fmla="*/ 7799 h 21351"/>
              <a:gd name="connsiteX1" fmla="*/ 3612 w 19175"/>
              <a:gd name="connsiteY1" fmla="*/ 10665 h 21351"/>
              <a:gd name="connsiteX2" fmla="*/ 1285 w 19175"/>
              <a:gd name="connsiteY2" fmla="*/ 13598 h 21351"/>
              <a:gd name="connsiteX3" fmla="*/ 34 w 19175"/>
              <a:gd name="connsiteY3" fmla="*/ 16246 h 21351"/>
              <a:gd name="connsiteX4" fmla="*/ 178 w 19175"/>
              <a:gd name="connsiteY4" fmla="*/ 17532 h 21351"/>
              <a:gd name="connsiteX5" fmla="*/ 910 w 19175"/>
              <a:gd name="connsiteY5" fmla="*/ 18276 h 21351"/>
              <a:gd name="connsiteX6" fmla="*/ 1838 w 19175"/>
              <a:gd name="connsiteY6" fmla="*/ 18780 h 21351"/>
              <a:gd name="connsiteX7" fmla="*/ 5988 w 19175"/>
              <a:gd name="connsiteY7" fmla="*/ 20199 h 21351"/>
              <a:gd name="connsiteX8" fmla="*/ 11701 w 19175"/>
              <a:gd name="connsiteY8" fmla="*/ 21304 h 21351"/>
              <a:gd name="connsiteX9" fmla="*/ 17814 w 19175"/>
              <a:gd name="connsiteY9" fmla="*/ 20996 h 21351"/>
              <a:gd name="connsiteX10" fmla="*/ 19065 w 19175"/>
              <a:gd name="connsiteY10" fmla="*/ 18485 h 21351"/>
              <a:gd name="connsiteX11" fmla="*/ 18963 w 19175"/>
              <a:gd name="connsiteY11" fmla="*/ 13120 h 21351"/>
              <a:gd name="connsiteX12" fmla="*/ 17743 w 19175"/>
              <a:gd name="connsiteY12" fmla="*/ 5381 h 21351"/>
              <a:gd name="connsiteX13" fmla="*/ 15508 w 19175"/>
              <a:gd name="connsiteY13" fmla="*/ 2919 h 21351"/>
              <a:gd name="connsiteX14" fmla="*/ 15091 w 19175"/>
              <a:gd name="connsiteY14" fmla="*/ 2553 h 21351"/>
              <a:gd name="connsiteX15" fmla="*/ 13043 w 19175"/>
              <a:gd name="connsiteY15" fmla="*/ 1180 h 21351"/>
              <a:gd name="connsiteX16" fmla="*/ 10864 w 19175"/>
              <a:gd name="connsiteY16" fmla="*/ 188 h 21351"/>
              <a:gd name="connsiteX17" fmla="*/ 10345 w 19175"/>
              <a:gd name="connsiteY17" fmla="*/ 63 h 21351"/>
              <a:gd name="connsiteX18" fmla="*/ 9835 w 19175"/>
              <a:gd name="connsiteY18" fmla="*/ 0 h 21351"/>
              <a:gd name="connsiteX19" fmla="*/ 9604 w 19175"/>
              <a:gd name="connsiteY19" fmla="*/ 46 h 21351"/>
              <a:gd name="connsiteX20" fmla="*/ 9497 w 19175"/>
              <a:gd name="connsiteY20" fmla="*/ 174 h 21351"/>
              <a:gd name="connsiteX21" fmla="*/ 9565 w 19175"/>
              <a:gd name="connsiteY21" fmla="*/ 321 h 21351"/>
              <a:gd name="connsiteX22" fmla="*/ 9721 w 19175"/>
              <a:gd name="connsiteY22" fmla="*/ 490 h 21351"/>
              <a:gd name="connsiteX23" fmla="*/ 9943 w 19175"/>
              <a:gd name="connsiteY23" fmla="*/ 1358 h 21351"/>
              <a:gd name="connsiteX24" fmla="*/ 9777 w 19175"/>
              <a:gd name="connsiteY24" fmla="*/ 2309 h 21351"/>
              <a:gd name="connsiteX25" fmla="*/ 8940 w 19175"/>
              <a:gd name="connsiteY25" fmla="*/ 4055 h 21351"/>
              <a:gd name="connsiteX26" fmla="*/ 7534 w 19175"/>
              <a:gd name="connsiteY26" fmla="*/ 6018 h 21351"/>
              <a:gd name="connsiteX27" fmla="*/ 6028 w 19175"/>
              <a:gd name="connsiteY27" fmla="*/ 7799 h 21351"/>
              <a:gd name="connsiteX0" fmla="*/ 6028 w 19082"/>
              <a:gd name="connsiteY0" fmla="*/ 7799 h 21351"/>
              <a:gd name="connsiteX1" fmla="*/ 3612 w 19082"/>
              <a:gd name="connsiteY1" fmla="*/ 10665 h 21351"/>
              <a:gd name="connsiteX2" fmla="*/ 1285 w 19082"/>
              <a:gd name="connsiteY2" fmla="*/ 13598 h 21351"/>
              <a:gd name="connsiteX3" fmla="*/ 34 w 19082"/>
              <a:gd name="connsiteY3" fmla="*/ 16246 h 21351"/>
              <a:gd name="connsiteX4" fmla="*/ 178 w 19082"/>
              <a:gd name="connsiteY4" fmla="*/ 17532 h 21351"/>
              <a:gd name="connsiteX5" fmla="*/ 910 w 19082"/>
              <a:gd name="connsiteY5" fmla="*/ 18276 h 21351"/>
              <a:gd name="connsiteX6" fmla="*/ 1838 w 19082"/>
              <a:gd name="connsiteY6" fmla="*/ 18780 h 21351"/>
              <a:gd name="connsiteX7" fmla="*/ 5988 w 19082"/>
              <a:gd name="connsiteY7" fmla="*/ 20199 h 21351"/>
              <a:gd name="connsiteX8" fmla="*/ 11701 w 19082"/>
              <a:gd name="connsiteY8" fmla="*/ 21304 h 21351"/>
              <a:gd name="connsiteX9" fmla="*/ 17814 w 19082"/>
              <a:gd name="connsiteY9" fmla="*/ 20996 h 21351"/>
              <a:gd name="connsiteX10" fmla="*/ 19065 w 19082"/>
              <a:gd name="connsiteY10" fmla="*/ 18485 h 21351"/>
              <a:gd name="connsiteX11" fmla="*/ 18491 w 19082"/>
              <a:gd name="connsiteY11" fmla="*/ 13185 h 21351"/>
              <a:gd name="connsiteX12" fmla="*/ 17743 w 19082"/>
              <a:gd name="connsiteY12" fmla="*/ 5381 h 21351"/>
              <a:gd name="connsiteX13" fmla="*/ 15508 w 19082"/>
              <a:gd name="connsiteY13" fmla="*/ 2919 h 21351"/>
              <a:gd name="connsiteX14" fmla="*/ 15091 w 19082"/>
              <a:gd name="connsiteY14" fmla="*/ 2553 h 21351"/>
              <a:gd name="connsiteX15" fmla="*/ 13043 w 19082"/>
              <a:gd name="connsiteY15" fmla="*/ 1180 h 21351"/>
              <a:gd name="connsiteX16" fmla="*/ 10864 w 19082"/>
              <a:gd name="connsiteY16" fmla="*/ 188 h 21351"/>
              <a:gd name="connsiteX17" fmla="*/ 10345 w 19082"/>
              <a:gd name="connsiteY17" fmla="*/ 63 h 21351"/>
              <a:gd name="connsiteX18" fmla="*/ 9835 w 19082"/>
              <a:gd name="connsiteY18" fmla="*/ 0 h 21351"/>
              <a:gd name="connsiteX19" fmla="*/ 9604 w 19082"/>
              <a:gd name="connsiteY19" fmla="*/ 46 h 21351"/>
              <a:gd name="connsiteX20" fmla="*/ 9497 w 19082"/>
              <a:gd name="connsiteY20" fmla="*/ 174 h 21351"/>
              <a:gd name="connsiteX21" fmla="*/ 9565 w 19082"/>
              <a:gd name="connsiteY21" fmla="*/ 321 h 21351"/>
              <a:gd name="connsiteX22" fmla="*/ 9721 w 19082"/>
              <a:gd name="connsiteY22" fmla="*/ 490 h 21351"/>
              <a:gd name="connsiteX23" fmla="*/ 9943 w 19082"/>
              <a:gd name="connsiteY23" fmla="*/ 1358 h 21351"/>
              <a:gd name="connsiteX24" fmla="*/ 9777 w 19082"/>
              <a:gd name="connsiteY24" fmla="*/ 2309 h 21351"/>
              <a:gd name="connsiteX25" fmla="*/ 8940 w 19082"/>
              <a:gd name="connsiteY25" fmla="*/ 4055 h 21351"/>
              <a:gd name="connsiteX26" fmla="*/ 7534 w 19082"/>
              <a:gd name="connsiteY26" fmla="*/ 6018 h 21351"/>
              <a:gd name="connsiteX27" fmla="*/ 6028 w 19082"/>
              <a:gd name="connsiteY27" fmla="*/ 7799 h 21351"/>
              <a:gd name="connsiteX0" fmla="*/ 6028 w 19081"/>
              <a:gd name="connsiteY0" fmla="*/ 7799 h 21351"/>
              <a:gd name="connsiteX1" fmla="*/ 3612 w 19081"/>
              <a:gd name="connsiteY1" fmla="*/ 10665 h 21351"/>
              <a:gd name="connsiteX2" fmla="*/ 1285 w 19081"/>
              <a:gd name="connsiteY2" fmla="*/ 13598 h 21351"/>
              <a:gd name="connsiteX3" fmla="*/ 34 w 19081"/>
              <a:gd name="connsiteY3" fmla="*/ 16246 h 21351"/>
              <a:gd name="connsiteX4" fmla="*/ 178 w 19081"/>
              <a:gd name="connsiteY4" fmla="*/ 17532 h 21351"/>
              <a:gd name="connsiteX5" fmla="*/ 910 w 19081"/>
              <a:gd name="connsiteY5" fmla="*/ 18276 h 21351"/>
              <a:gd name="connsiteX6" fmla="*/ 1838 w 19081"/>
              <a:gd name="connsiteY6" fmla="*/ 18780 h 21351"/>
              <a:gd name="connsiteX7" fmla="*/ 5988 w 19081"/>
              <a:gd name="connsiteY7" fmla="*/ 20199 h 21351"/>
              <a:gd name="connsiteX8" fmla="*/ 11701 w 19081"/>
              <a:gd name="connsiteY8" fmla="*/ 21304 h 21351"/>
              <a:gd name="connsiteX9" fmla="*/ 17814 w 19081"/>
              <a:gd name="connsiteY9" fmla="*/ 20996 h 21351"/>
              <a:gd name="connsiteX10" fmla="*/ 19065 w 19081"/>
              <a:gd name="connsiteY10" fmla="*/ 18485 h 21351"/>
              <a:gd name="connsiteX11" fmla="*/ 18491 w 19081"/>
              <a:gd name="connsiteY11" fmla="*/ 13185 h 21351"/>
              <a:gd name="connsiteX12" fmla="*/ 17964 w 19081"/>
              <a:gd name="connsiteY12" fmla="*/ 6049 h 21351"/>
              <a:gd name="connsiteX13" fmla="*/ 15508 w 19081"/>
              <a:gd name="connsiteY13" fmla="*/ 2919 h 21351"/>
              <a:gd name="connsiteX14" fmla="*/ 15091 w 19081"/>
              <a:gd name="connsiteY14" fmla="*/ 2553 h 21351"/>
              <a:gd name="connsiteX15" fmla="*/ 13043 w 19081"/>
              <a:gd name="connsiteY15" fmla="*/ 1180 h 21351"/>
              <a:gd name="connsiteX16" fmla="*/ 10864 w 19081"/>
              <a:gd name="connsiteY16" fmla="*/ 188 h 21351"/>
              <a:gd name="connsiteX17" fmla="*/ 10345 w 19081"/>
              <a:gd name="connsiteY17" fmla="*/ 63 h 21351"/>
              <a:gd name="connsiteX18" fmla="*/ 9835 w 19081"/>
              <a:gd name="connsiteY18" fmla="*/ 0 h 21351"/>
              <a:gd name="connsiteX19" fmla="*/ 9604 w 19081"/>
              <a:gd name="connsiteY19" fmla="*/ 46 h 21351"/>
              <a:gd name="connsiteX20" fmla="*/ 9497 w 19081"/>
              <a:gd name="connsiteY20" fmla="*/ 174 h 21351"/>
              <a:gd name="connsiteX21" fmla="*/ 9565 w 19081"/>
              <a:gd name="connsiteY21" fmla="*/ 321 h 21351"/>
              <a:gd name="connsiteX22" fmla="*/ 9721 w 19081"/>
              <a:gd name="connsiteY22" fmla="*/ 490 h 21351"/>
              <a:gd name="connsiteX23" fmla="*/ 9943 w 19081"/>
              <a:gd name="connsiteY23" fmla="*/ 1358 h 21351"/>
              <a:gd name="connsiteX24" fmla="*/ 9777 w 19081"/>
              <a:gd name="connsiteY24" fmla="*/ 2309 h 21351"/>
              <a:gd name="connsiteX25" fmla="*/ 8940 w 19081"/>
              <a:gd name="connsiteY25" fmla="*/ 4055 h 21351"/>
              <a:gd name="connsiteX26" fmla="*/ 7534 w 19081"/>
              <a:gd name="connsiteY26" fmla="*/ 6018 h 21351"/>
              <a:gd name="connsiteX27" fmla="*/ 6028 w 19081"/>
              <a:gd name="connsiteY27" fmla="*/ 7799 h 21351"/>
              <a:gd name="connsiteX0" fmla="*/ 6028 w 19081"/>
              <a:gd name="connsiteY0" fmla="*/ 7799 h 21351"/>
              <a:gd name="connsiteX1" fmla="*/ 3612 w 19081"/>
              <a:gd name="connsiteY1" fmla="*/ 10665 h 21351"/>
              <a:gd name="connsiteX2" fmla="*/ 1285 w 19081"/>
              <a:gd name="connsiteY2" fmla="*/ 13598 h 21351"/>
              <a:gd name="connsiteX3" fmla="*/ 34 w 19081"/>
              <a:gd name="connsiteY3" fmla="*/ 16246 h 21351"/>
              <a:gd name="connsiteX4" fmla="*/ 178 w 19081"/>
              <a:gd name="connsiteY4" fmla="*/ 17532 h 21351"/>
              <a:gd name="connsiteX5" fmla="*/ 910 w 19081"/>
              <a:gd name="connsiteY5" fmla="*/ 18276 h 21351"/>
              <a:gd name="connsiteX6" fmla="*/ 1838 w 19081"/>
              <a:gd name="connsiteY6" fmla="*/ 18780 h 21351"/>
              <a:gd name="connsiteX7" fmla="*/ 5988 w 19081"/>
              <a:gd name="connsiteY7" fmla="*/ 20199 h 21351"/>
              <a:gd name="connsiteX8" fmla="*/ 11701 w 19081"/>
              <a:gd name="connsiteY8" fmla="*/ 21304 h 21351"/>
              <a:gd name="connsiteX9" fmla="*/ 17814 w 19081"/>
              <a:gd name="connsiteY9" fmla="*/ 20996 h 21351"/>
              <a:gd name="connsiteX10" fmla="*/ 19065 w 19081"/>
              <a:gd name="connsiteY10" fmla="*/ 18485 h 21351"/>
              <a:gd name="connsiteX11" fmla="*/ 18491 w 19081"/>
              <a:gd name="connsiteY11" fmla="*/ 13185 h 21351"/>
              <a:gd name="connsiteX12" fmla="*/ 17964 w 19081"/>
              <a:gd name="connsiteY12" fmla="*/ 6049 h 21351"/>
              <a:gd name="connsiteX13" fmla="*/ 15508 w 19081"/>
              <a:gd name="connsiteY13" fmla="*/ 2919 h 21351"/>
              <a:gd name="connsiteX14" fmla="*/ 15091 w 19081"/>
              <a:gd name="connsiteY14" fmla="*/ 2553 h 21351"/>
              <a:gd name="connsiteX15" fmla="*/ 13043 w 19081"/>
              <a:gd name="connsiteY15" fmla="*/ 1180 h 21351"/>
              <a:gd name="connsiteX16" fmla="*/ 10864 w 19081"/>
              <a:gd name="connsiteY16" fmla="*/ 188 h 21351"/>
              <a:gd name="connsiteX17" fmla="*/ 10345 w 19081"/>
              <a:gd name="connsiteY17" fmla="*/ 63 h 21351"/>
              <a:gd name="connsiteX18" fmla="*/ 9835 w 19081"/>
              <a:gd name="connsiteY18" fmla="*/ 0 h 21351"/>
              <a:gd name="connsiteX19" fmla="*/ 9604 w 19081"/>
              <a:gd name="connsiteY19" fmla="*/ 46 h 21351"/>
              <a:gd name="connsiteX20" fmla="*/ 9497 w 19081"/>
              <a:gd name="connsiteY20" fmla="*/ 174 h 21351"/>
              <a:gd name="connsiteX21" fmla="*/ 9565 w 19081"/>
              <a:gd name="connsiteY21" fmla="*/ 321 h 21351"/>
              <a:gd name="connsiteX22" fmla="*/ 9721 w 19081"/>
              <a:gd name="connsiteY22" fmla="*/ 490 h 21351"/>
              <a:gd name="connsiteX23" fmla="*/ 9943 w 19081"/>
              <a:gd name="connsiteY23" fmla="*/ 1358 h 21351"/>
              <a:gd name="connsiteX24" fmla="*/ 9777 w 19081"/>
              <a:gd name="connsiteY24" fmla="*/ 2309 h 21351"/>
              <a:gd name="connsiteX25" fmla="*/ 8940 w 19081"/>
              <a:gd name="connsiteY25" fmla="*/ 4055 h 21351"/>
              <a:gd name="connsiteX26" fmla="*/ 7534 w 19081"/>
              <a:gd name="connsiteY26" fmla="*/ 6018 h 21351"/>
              <a:gd name="connsiteX27" fmla="*/ 6028 w 19081"/>
              <a:gd name="connsiteY27" fmla="*/ 7799 h 21351"/>
              <a:gd name="connsiteX0" fmla="*/ 6028 w 19081"/>
              <a:gd name="connsiteY0" fmla="*/ 7799 h 21351"/>
              <a:gd name="connsiteX1" fmla="*/ 3612 w 19081"/>
              <a:gd name="connsiteY1" fmla="*/ 10665 h 21351"/>
              <a:gd name="connsiteX2" fmla="*/ 1285 w 19081"/>
              <a:gd name="connsiteY2" fmla="*/ 13598 h 21351"/>
              <a:gd name="connsiteX3" fmla="*/ 34 w 19081"/>
              <a:gd name="connsiteY3" fmla="*/ 16246 h 21351"/>
              <a:gd name="connsiteX4" fmla="*/ 178 w 19081"/>
              <a:gd name="connsiteY4" fmla="*/ 17532 h 21351"/>
              <a:gd name="connsiteX5" fmla="*/ 910 w 19081"/>
              <a:gd name="connsiteY5" fmla="*/ 18276 h 21351"/>
              <a:gd name="connsiteX6" fmla="*/ 1838 w 19081"/>
              <a:gd name="connsiteY6" fmla="*/ 18780 h 21351"/>
              <a:gd name="connsiteX7" fmla="*/ 5988 w 19081"/>
              <a:gd name="connsiteY7" fmla="*/ 20199 h 21351"/>
              <a:gd name="connsiteX8" fmla="*/ 11701 w 19081"/>
              <a:gd name="connsiteY8" fmla="*/ 21304 h 21351"/>
              <a:gd name="connsiteX9" fmla="*/ 17814 w 19081"/>
              <a:gd name="connsiteY9" fmla="*/ 20996 h 21351"/>
              <a:gd name="connsiteX10" fmla="*/ 19065 w 19081"/>
              <a:gd name="connsiteY10" fmla="*/ 18485 h 21351"/>
              <a:gd name="connsiteX11" fmla="*/ 18491 w 19081"/>
              <a:gd name="connsiteY11" fmla="*/ 13185 h 21351"/>
              <a:gd name="connsiteX12" fmla="*/ 17964 w 19081"/>
              <a:gd name="connsiteY12" fmla="*/ 6049 h 21351"/>
              <a:gd name="connsiteX13" fmla="*/ 15508 w 19081"/>
              <a:gd name="connsiteY13" fmla="*/ 2919 h 21351"/>
              <a:gd name="connsiteX14" fmla="*/ 15091 w 19081"/>
              <a:gd name="connsiteY14" fmla="*/ 2553 h 21351"/>
              <a:gd name="connsiteX15" fmla="*/ 13043 w 19081"/>
              <a:gd name="connsiteY15" fmla="*/ 1180 h 21351"/>
              <a:gd name="connsiteX16" fmla="*/ 10864 w 19081"/>
              <a:gd name="connsiteY16" fmla="*/ 188 h 21351"/>
              <a:gd name="connsiteX17" fmla="*/ 10345 w 19081"/>
              <a:gd name="connsiteY17" fmla="*/ 63 h 21351"/>
              <a:gd name="connsiteX18" fmla="*/ 9835 w 19081"/>
              <a:gd name="connsiteY18" fmla="*/ 0 h 21351"/>
              <a:gd name="connsiteX19" fmla="*/ 9604 w 19081"/>
              <a:gd name="connsiteY19" fmla="*/ 46 h 21351"/>
              <a:gd name="connsiteX20" fmla="*/ 9497 w 19081"/>
              <a:gd name="connsiteY20" fmla="*/ 174 h 21351"/>
              <a:gd name="connsiteX21" fmla="*/ 9565 w 19081"/>
              <a:gd name="connsiteY21" fmla="*/ 321 h 21351"/>
              <a:gd name="connsiteX22" fmla="*/ 9721 w 19081"/>
              <a:gd name="connsiteY22" fmla="*/ 490 h 21351"/>
              <a:gd name="connsiteX23" fmla="*/ 9943 w 19081"/>
              <a:gd name="connsiteY23" fmla="*/ 1358 h 21351"/>
              <a:gd name="connsiteX24" fmla="*/ 9777 w 19081"/>
              <a:gd name="connsiteY24" fmla="*/ 2309 h 21351"/>
              <a:gd name="connsiteX25" fmla="*/ 8940 w 19081"/>
              <a:gd name="connsiteY25" fmla="*/ 4055 h 21351"/>
              <a:gd name="connsiteX26" fmla="*/ 7534 w 19081"/>
              <a:gd name="connsiteY26" fmla="*/ 6018 h 21351"/>
              <a:gd name="connsiteX27" fmla="*/ 6028 w 19081"/>
              <a:gd name="connsiteY27" fmla="*/ 7799 h 21351"/>
              <a:gd name="connsiteX0" fmla="*/ 6028 w 19071"/>
              <a:gd name="connsiteY0" fmla="*/ 7799 h 21351"/>
              <a:gd name="connsiteX1" fmla="*/ 3612 w 19071"/>
              <a:gd name="connsiteY1" fmla="*/ 10665 h 21351"/>
              <a:gd name="connsiteX2" fmla="*/ 1285 w 19071"/>
              <a:gd name="connsiteY2" fmla="*/ 13598 h 21351"/>
              <a:gd name="connsiteX3" fmla="*/ 34 w 19071"/>
              <a:gd name="connsiteY3" fmla="*/ 16246 h 21351"/>
              <a:gd name="connsiteX4" fmla="*/ 178 w 19071"/>
              <a:gd name="connsiteY4" fmla="*/ 17532 h 21351"/>
              <a:gd name="connsiteX5" fmla="*/ 910 w 19071"/>
              <a:gd name="connsiteY5" fmla="*/ 18276 h 21351"/>
              <a:gd name="connsiteX6" fmla="*/ 1838 w 19071"/>
              <a:gd name="connsiteY6" fmla="*/ 18780 h 21351"/>
              <a:gd name="connsiteX7" fmla="*/ 5988 w 19071"/>
              <a:gd name="connsiteY7" fmla="*/ 20199 h 21351"/>
              <a:gd name="connsiteX8" fmla="*/ 11701 w 19071"/>
              <a:gd name="connsiteY8" fmla="*/ 21304 h 21351"/>
              <a:gd name="connsiteX9" fmla="*/ 17814 w 19071"/>
              <a:gd name="connsiteY9" fmla="*/ 20996 h 21351"/>
              <a:gd name="connsiteX10" fmla="*/ 19065 w 19071"/>
              <a:gd name="connsiteY10" fmla="*/ 18485 h 21351"/>
              <a:gd name="connsiteX11" fmla="*/ 18101 w 19071"/>
              <a:gd name="connsiteY11" fmla="*/ 13551 h 21351"/>
              <a:gd name="connsiteX12" fmla="*/ 17964 w 19071"/>
              <a:gd name="connsiteY12" fmla="*/ 6049 h 21351"/>
              <a:gd name="connsiteX13" fmla="*/ 15508 w 19071"/>
              <a:gd name="connsiteY13" fmla="*/ 2919 h 21351"/>
              <a:gd name="connsiteX14" fmla="*/ 15091 w 19071"/>
              <a:gd name="connsiteY14" fmla="*/ 2553 h 21351"/>
              <a:gd name="connsiteX15" fmla="*/ 13043 w 19071"/>
              <a:gd name="connsiteY15" fmla="*/ 1180 h 21351"/>
              <a:gd name="connsiteX16" fmla="*/ 10864 w 19071"/>
              <a:gd name="connsiteY16" fmla="*/ 188 h 21351"/>
              <a:gd name="connsiteX17" fmla="*/ 10345 w 19071"/>
              <a:gd name="connsiteY17" fmla="*/ 63 h 21351"/>
              <a:gd name="connsiteX18" fmla="*/ 9835 w 19071"/>
              <a:gd name="connsiteY18" fmla="*/ 0 h 21351"/>
              <a:gd name="connsiteX19" fmla="*/ 9604 w 19071"/>
              <a:gd name="connsiteY19" fmla="*/ 46 h 21351"/>
              <a:gd name="connsiteX20" fmla="*/ 9497 w 19071"/>
              <a:gd name="connsiteY20" fmla="*/ 174 h 21351"/>
              <a:gd name="connsiteX21" fmla="*/ 9565 w 19071"/>
              <a:gd name="connsiteY21" fmla="*/ 321 h 21351"/>
              <a:gd name="connsiteX22" fmla="*/ 9721 w 19071"/>
              <a:gd name="connsiteY22" fmla="*/ 490 h 21351"/>
              <a:gd name="connsiteX23" fmla="*/ 9943 w 19071"/>
              <a:gd name="connsiteY23" fmla="*/ 1358 h 21351"/>
              <a:gd name="connsiteX24" fmla="*/ 9777 w 19071"/>
              <a:gd name="connsiteY24" fmla="*/ 2309 h 21351"/>
              <a:gd name="connsiteX25" fmla="*/ 8940 w 19071"/>
              <a:gd name="connsiteY25" fmla="*/ 4055 h 21351"/>
              <a:gd name="connsiteX26" fmla="*/ 7534 w 19071"/>
              <a:gd name="connsiteY26" fmla="*/ 6018 h 21351"/>
              <a:gd name="connsiteX27" fmla="*/ 6028 w 19071"/>
              <a:gd name="connsiteY27" fmla="*/ 7799 h 21351"/>
              <a:gd name="connsiteX0" fmla="*/ 6028 w 19071"/>
              <a:gd name="connsiteY0" fmla="*/ 7799 h 21351"/>
              <a:gd name="connsiteX1" fmla="*/ 3612 w 19071"/>
              <a:gd name="connsiteY1" fmla="*/ 10665 h 21351"/>
              <a:gd name="connsiteX2" fmla="*/ 1285 w 19071"/>
              <a:gd name="connsiteY2" fmla="*/ 13598 h 21351"/>
              <a:gd name="connsiteX3" fmla="*/ 34 w 19071"/>
              <a:gd name="connsiteY3" fmla="*/ 16246 h 21351"/>
              <a:gd name="connsiteX4" fmla="*/ 178 w 19071"/>
              <a:gd name="connsiteY4" fmla="*/ 17532 h 21351"/>
              <a:gd name="connsiteX5" fmla="*/ 910 w 19071"/>
              <a:gd name="connsiteY5" fmla="*/ 18276 h 21351"/>
              <a:gd name="connsiteX6" fmla="*/ 1838 w 19071"/>
              <a:gd name="connsiteY6" fmla="*/ 18780 h 21351"/>
              <a:gd name="connsiteX7" fmla="*/ 5988 w 19071"/>
              <a:gd name="connsiteY7" fmla="*/ 20199 h 21351"/>
              <a:gd name="connsiteX8" fmla="*/ 11701 w 19071"/>
              <a:gd name="connsiteY8" fmla="*/ 21304 h 21351"/>
              <a:gd name="connsiteX9" fmla="*/ 17814 w 19071"/>
              <a:gd name="connsiteY9" fmla="*/ 20996 h 21351"/>
              <a:gd name="connsiteX10" fmla="*/ 19065 w 19071"/>
              <a:gd name="connsiteY10" fmla="*/ 18485 h 21351"/>
              <a:gd name="connsiteX11" fmla="*/ 18101 w 19071"/>
              <a:gd name="connsiteY11" fmla="*/ 13551 h 21351"/>
              <a:gd name="connsiteX12" fmla="*/ 17964 w 19071"/>
              <a:gd name="connsiteY12" fmla="*/ 6049 h 21351"/>
              <a:gd name="connsiteX13" fmla="*/ 15508 w 19071"/>
              <a:gd name="connsiteY13" fmla="*/ 2919 h 21351"/>
              <a:gd name="connsiteX14" fmla="*/ 15091 w 19071"/>
              <a:gd name="connsiteY14" fmla="*/ 2553 h 21351"/>
              <a:gd name="connsiteX15" fmla="*/ 13043 w 19071"/>
              <a:gd name="connsiteY15" fmla="*/ 1180 h 21351"/>
              <a:gd name="connsiteX16" fmla="*/ 10864 w 19071"/>
              <a:gd name="connsiteY16" fmla="*/ 188 h 21351"/>
              <a:gd name="connsiteX17" fmla="*/ 10345 w 19071"/>
              <a:gd name="connsiteY17" fmla="*/ 63 h 21351"/>
              <a:gd name="connsiteX18" fmla="*/ 9835 w 19071"/>
              <a:gd name="connsiteY18" fmla="*/ 0 h 21351"/>
              <a:gd name="connsiteX19" fmla="*/ 9604 w 19071"/>
              <a:gd name="connsiteY19" fmla="*/ 46 h 21351"/>
              <a:gd name="connsiteX20" fmla="*/ 9497 w 19071"/>
              <a:gd name="connsiteY20" fmla="*/ 174 h 21351"/>
              <a:gd name="connsiteX21" fmla="*/ 9565 w 19071"/>
              <a:gd name="connsiteY21" fmla="*/ 321 h 21351"/>
              <a:gd name="connsiteX22" fmla="*/ 9721 w 19071"/>
              <a:gd name="connsiteY22" fmla="*/ 490 h 21351"/>
              <a:gd name="connsiteX23" fmla="*/ 9943 w 19071"/>
              <a:gd name="connsiteY23" fmla="*/ 1358 h 21351"/>
              <a:gd name="connsiteX24" fmla="*/ 9777 w 19071"/>
              <a:gd name="connsiteY24" fmla="*/ 2309 h 21351"/>
              <a:gd name="connsiteX25" fmla="*/ 8940 w 19071"/>
              <a:gd name="connsiteY25" fmla="*/ 4055 h 21351"/>
              <a:gd name="connsiteX26" fmla="*/ 7534 w 19071"/>
              <a:gd name="connsiteY26" fmla="*/ 6018 h 21351"/>
              <a:gd name="connsiteX27" fmla="*/ 6028 w 19071"/>
              <a:gd name="connsiteY27" fmla="*/ 7799 h 21351"/>
              <a:gd name="connsiteX0" fmla="*/ 6028 w 19077"/>
              <a:gd name="connsiteY0" fmla="*/ 7799 h 21351"/>
              <a:gd name="connsiteX1" fmla="*/ 3612 w 19077"/>
              <a:gd name="connsiteY1" fmla="*/ 10665 h 21351"/>
              <a:gd name="connsiteX2" fmla="*/ 1285 w 19077"/>
              <a:gd name="connsiteY2" fmla="*/ 13598 h 21351"/>
              <a:gd name="connsiteX3" fmla="*/ 34 w 19077"/>
              <a:gd name="connsiteY3" fmla="*/ 16246 h 21351"/>
              <a:gd name="connsiteX4" fmla="*/ 178 w 19077"/>
              <a:gd name="connsiteY4" fmla="*/ 17532 h 21351"/>
              <a:gd name="connsiteX5" fmla="*/ 910 w 19077"/>
              <a:gd name="connsiteY5" fmla="*/ 18276 h 21351"/>
              <a:gd name="connsiteX6" fmla="*/ 1838 w 19077"/>
              <a:gd name="connsiteY6" fmla="*/ 18780 h 21351"/>
              <a:gd name="connsiteX7" fmla="*/ 5988 w 19077"/>
              <a:gd name="connsiteY7" fmla="*/ 20199 h 21351"/>
              <a:gd name="connsiteX8" fmla="*/ 11701 w 19077"/>
              <a:gd name="connsiteY8" fmla="*/ 21304 h 21351"/>
              <a:gd name="connsiteX9" fmla="*/ 17814 w 19077"/>
              <a:gd name="connsiteY9" fmla="*/ 20996 h 21351"/>
              <a:gd name="connsiteX10" fmla="*/ 19065 w 19077"/>
              <a:gd name="connsiteY10" fmla="*/ 18485 h 21351"/>
              <a:gd name="connsiteX11" fmla="*/ 18016 w 19077"/>
              <a:gd name="connsiteY11" fmla="*/ 14351 h 21351"/>
              <a:gd name="connsiteX12" fmla="*/ 17964 w 19077"/>
              <a:gd name="connsiteY12" fmla="*/ 6049 h 21351"/>
              <a:gd name="connsiteX13" fmla="*/ 15508 w 19077"/>
              <a:gd name="connsiteY13" fmla="*/ 2919 h 21351"/>
              <a:gd name="connsiteX14" fmla="*/ 15091 w 19077"/>
              <a:gd name="connsiteY14" fmla="*/ 2553 h 21351"/>
              <a:gd name="connsiteX15" fmla="*/ 13043 w 19077"/>
              <a:gd name="connsiteY15" fmla="*/ 1180 h 21351"/>
              <a:gd name="connsiteX16" fmla="*/ 10864 w 19077"/>
              <a:gd name="connsiteY16" fmla="*/ 188 h 21351"/>
              <a:gd name="connsiteX17" fmla="*/ 10345 w 19077"/>
              <a:gd name="connsiteY17" fmla="*/ 63 h 21351"/>
              <a:gd name="connsiteX18" fmla="*/ 9835 w 19077"/>
              <a:gd name="connsiteY18" fmla="*/ 0 h 21351"/>
              <a:gd name="connsiteX19" fmla="*/ 9604 w 19077"/>
              <a:gd name="connsiteY19" fmla="*/ 46 h 21351"/>
              <a:gd name="connsiteX20" fmla="*/ 9497 w 19077"/>
              <a:gd name="connsiteY20" fmla="*/ 174 h 21351"/>
              <a:gd name="connsiteX21" fmla="*/ 9565 w 19077"/>
              <a:gd name="connsiteY21" fmla="*/ 321 h 21351"/>
              <a:gd name="connsiteX22" fmla="*/ 9721 w 19077"/>
              <a:gd name="connsiteY22" fmla="*/ 490 h 21351"/>
              <a:gd name="connsiteX23" fmla="*/ 9943 w 19077"/>
              <a:gd name="connsiteY23" fmla="*/ 1358 h 21351"/>
              <a:gd name="connsiteX24" fmla="*/ 9777 w 19077"/>
              <a:gd name="connsiteY24" fmla="*/ 2309 h 21351"/>
              <a:gd name="connsiteX25" fmla="*/ 8940 w 19077"/>
              <a:gd name="connsiteY25" fmla="*/ 4055 h 21351"/>
              <a:gd name="connsiteX26" fmla="*/ 7534 w 19077"/>
              <a:gd name="connsiteY26" fmla="*/ 6018 h 21351"/>
              <a:gd name="connsiteX27" fmla="*/ 6028 w 19077"/>
              <a:gd name="connsiteY27" fmla="*/ 7799 h 21351"/>
              <a:gd name="connsiteX0" fmla="*/ 6028 w 19077"/>
              <a:gd name="connsiteY0" fmla="*/ 7799 h 21351"/>
              <a:gd name="connsiteX1" fmla="*/ 3612 w 19077"/>
              <a:gd name="connsiteY1" fmla="*/ 10665 h 21351"/>
              <a:gd name="connsiteX2" fmla="*/ 1285 w 19077"/>
              <a:gd name="connsiteY2" fmla="*/ 13598 h 21351"/>
              <a:gd name="connsiteX3" fmla="*/ 34 w 19077"/>
              <a:gd name="connsiteY3" fmla="*/ 16246 h 21351"/>
              <a:gd name="connsiteX4" fmla="*/ 178 w 19077"/>
              <a:gd name="connsiteY4" fmla="*/ 17532 h 21351"/>
              <a:gd name="connsiteX5" fmla="*/ 910 w 19077"/>
              <a:gd name="connsiteY5" fmla="*/ 18276 h 21351"/>
              <a:gd name="connsiteX6" fmla="*/ 1838 w 19077"/>
              <a:gd name="connsiteY6" fmla="*/ 18780 h 21351"/>
              <a:gd name="connsiteX7" fmla="*/ 5988 w 19077"/>
              <a:gd name="connsiteY7" fmla="*/ 20199 h 21351"/>
              <a:gd name="connsiteX8" fmla="*/ 11701 w 19077"/>
              <a:gd name="connsiteY8" fmla="*/ 21304 h 21351"/>
              <a:gd name="connsiteX9" fmla="*/ 17814 w 19077"/>
              <a:gd name="connsiteY9" fmla="*/ 20996 h 21351"/>
              <a:gd name="connsiteX10" fmla="*/ 19065 w 19077"/>
              <a:gd name="connsiteY10" fmla="*/ 18485 h 21351"/>
              <a:gd name="connsiteX11" fmla="*/ 18016 w 19077"/>
              <a:gd name="connsiteY11" fmla="*/ 14351 h 21351"/>
              <a:gd name="connsiteX12" fmla="*/ 17964 w 19077"/>
              <a:gd name="connsiteY12" fmla="*/ 6049 h 21351"/>
              <a:gd name="connsiteX13" fmla="*/ 15508 w 19077"/>
              <a:gd name="connsiteY13" fmla="*/ 2919 h 21351"/>
              <a:gd name="connsiteX14" fmla="*/ 15091 w 19077"/>
              <a:gd name="connsiteY14" fmla="*/ 2553 h 21351"/>
              <a:gd name="connsiteX15" fmla="*/ 13043 w 19077"/>
              <a:gd name="connsiteY15" fmla="*/ 1180 h 21351"/>
              <a:gd name="connsiteX16" fmla="*/ 10864 w 19077"/>
              <a:gd name="connsiteY16" fmla="*/ 188 h 21351"/>
              <a:gd name="connsiteX17" fmla="*/ 10345 w 19077"/>
              <a:gd name="connsiteY17" fmla="*/ 63 h 21351"/>
              <a:gd name="connsiteX18" fmla="*/ 9835 w 19077"/>
              <a:gd name="connsiteY18" fmla="*/ 0 h 21351"/>
              <a:gd name="connsiteX19" fmla="*/ 9604 w 19077"/>
              <a:gd name="connsiteY19" fmla="*/ 46 h 21351"/>
              <a:gd name="connsiteX20" fmla="*/ 9497 w 19077"/>
              <a:gd name="connsiteY20" fmla="*/ 174 h 21351"/>
              <a:gd name="connsiteX21" fmla="*/ 9565 w 19077"/>
              <a:gd name="connsiteY21" fmla="*/ 321 h 21351"/>
              <a:gd name="connsiteX22" fmla="*/ 9721 w 19077"/>
              <a:gd name="connsiteY22" fmla="*/ 490 h 21351"/>
              <a:gd name="connsiteX23" fmla="*/ 9943 w 19077"/>
              <a:gd name="connsiteY23" fmla="*/ 1358 h 21351"/>
              <a:gd name="connsiteX24" fmla="*/ 9777 w 19077"/>
              <a:gd name="connsiteY24" fmla="*/ 2309 h 21351"/>
              <a:gd name="connsiteX25" fmla="*/ 8940 w 19077"/>
              <a:gd name="connsiteY25" fmla="*/ 4055 h 21351"/>
              <a:gd name="connsiteX26" fmla="*/ 7534 w 19077"/>
              <a:gd name="connsiteY26" fmla="*/ 6018 h 21351"/>
              <a:gd name="connsiteX27" fmla="*/ 6028 w 19077"/>
              <a:gd name="connsiteY27" fmla="*/ 7799 h 21351"/>
              <a:gd name="connsiteX0" fmla="*/ 6028 w 19077"/>
              <a:gd name="connsiteY0" fmla="*/ 7799 h 21351"/>
              <a:gd name="connsiteX1" fmla="*/ 3612 w 19077"/>
              <a:gd name="connsiteY1" fmla="*/ 10665 h 21351"/>
              <a:gd name="connsiteX2" fmla="*/ 1285 w 19077"/>
              <a:gd name="connsiteY2" fmla="*/ 13598 h 21351"/>
              <a:gd name="connsiteX3" fmla="*/ 34 w 19077"/>
              <a:gd name="connsiteY3" fmla="*/ 16246 h 21351"/>
              <a:gd name="connsiteX4" fmla="*/ 178 w 19077"/>
              <a:gd name="connsiteY4" fmla="*/ 17532 h 21351"/>
              <a:gd name="connsiteX5" fmla="*/ 910 w 19077"/>
              <a:gd name="connsiteY5" fmla="*/ 18276 h 21351"/>
              <a:gd name="connsiteX6" fmla="*/ 1838 w 19077"/>
              <a:gd name="connsiteY6" fmla="*/ 18780 h 21351"/>
              <a:gd name="connsiteX7" fmla="*/ 5988 w 19077"/>
              <a:gd name="connsiteY7" fmla="*/ 20199 h 21351"/>
              <a:gd name="connsiteX8" fmla="*/ 11701 w 19077"/>
              <a:gd name="connsiteY8" fmla="*/ 21304 h 21351"/>
              <a:gd name="connsiteX9" fmla="*/ 17814 w 19077"/>
              <a:gd name="connsiteY9" fmla="*/ 20996 h 21351"/>
              <a:gd name="connsiteX10" fmla="*/ 19065 w 19077"/>
              <a:gd name="connsiteY10" fmla="*/ 18485 h 21351"/>
              <a:gd name="connsiteX11" fmla="*/ 18016 w 19077"/>
              <a:gd name="connsiteY11" fmla="*/ 14351 h 21351"/>
              <a:gd name="connsiteX12" fmla="*/ 17686 w 19077"/>
              <a:gd name="connsiteY12" fmla="*/ 6081 h 21351"/>
              <a:gd name="connsiteX13" fmla="*/ 15508 w 19077"/>
              <a:gd name="connsiteY13" fmla="*/ 2919 h 21351"/>
              <a:gd name="connsiteX14" fmla="*/ 15091 w 19077"/>
              <a:gd name="connsiteY14" fmla="*/ 2553 h 21351"/>
              <a:gd name="connsiteX15" fmla="*/ 13043 w 19077"/>
              <a:gd name="connsiteY15" fmla="*/ 1180 h 21351"/>
              <a:gd name="connsiteX16" fmla="*/ 10864 w 19077"/>
              <a:gd name="connsiteY16" fmla="*/ 188 h 21351"/>
              <a:gd name="connsiteX17" fmla="*/ 10345 w 19077"/>
              <a:gd name="connsiteY17" fmla="*/ 63 h 21351"/>
              <a:gd name="connsiteX18" fmla="*/ 9835 w 19077"/>
              <a:gd name="connsiteY18" fmla="*/ 0 h 21351"/>
              <a:gd name="connsiteX19" fmla="*/ 9604 w 19077"/>
              <a:gd name="connsiteY19" fmla="*/ 46 h 21351"/>
              <a:gd name="connsiteX20" fmla="*/ 9497 w 19077"/>
              <a:gd name="connsiteY20" fmla="*/ 174 h 21351"/>
              <a:gd name="connsiteX21" fmla="*/ 9565 w 19077"/>
              <a:gd name="connsiteY21" fmla="*/ 321 h 21351"/>
              <a:gd name="connsiteX22" fmla="*/ 9721 w 19077"/>
              <a:gd name="connsiteY22" fmla="*/ 490 h 21351"/>
              <a:gd name="connsiteX23" fmla="*/ 9943 w 19077"/>
              <a:gd name="connsiteY23" fmla="*/ 1358 h 21351"/>
              <a:gd name="connsiteX24" fmla="*/ 9777 w 19077"/>
              <a:gd name="connsiteY24" fmla="*/ 2309 h 21351"/>
              <a:gd name="connsiteX25" fmla="*/ 8940 w 19077"/>
              <a:gd name="connsiteY25" fmla="*/ 4055 h 21351"/>
              <a:gd name="connsiteX26" fmla="*/ 7534 w 19077"/>
              <a:gd name="connsiteY26" fmla="*/ 6018 h 21351"/>
              <a:gd name="connsiteX27" fmla="*/ 6028 w 19077"/>
              <a:gd name="connsiteY27" fmla="*/ 7799 h 21351"/>
              <a:gd name="connsiteX0" fmla="*/ 6028 w 19077"/>
              <a:gd name="connsiteY0" fmla="*/ 7799 h 21351"/>
              <a:gd name="connsiteX1" fmla="*/ 3612 w 19077"/>
              <a:gd name="connsiteY1" fmla="*/ 10665 h 21351"/>
              <a:gd name="connsiteX2" fmla="*/ 1285 w 19077"/>
              <a:gd name="connsiteY2" fmla="*/ 13598 h 21351"/>
              <a:gd name="connsiteX3" fmla="*/ 34 w 19077"/>
              <a:gd name="connsiteY3" fmla="*/ 16246 h 21351"/>
              <a:gd name="connsiteX4" fmla="*/ 178 w 19077"/>
              <a:gd name="connsiteY4" fmla="*/ 17532 h 21351"/>
              <a:gd name="connsiteX5" fmla="*/ 910 w 19077"/>
              <a:gd name="connsiteY5" fmla="*/ 18276 h 21351"/>
              <a:gd name="connsiteX6" fmla="*/ 1838 w 19077"/>
              <a:gd name="connsiteY6" fmla="*/ 18780 h 21351"/>
              <a:gd name="connsiteX7" fmla="*/ 5988 w 19077"/>
              <a:gd name="connsiteY7" fmla="*/ 20199 h 21351"/>
              <a:gd name="connsiteX8" fmla="*/ 11701 w 19077"/>
              <a:gd name="connsiteY8" fmla="*/ 21304 h 21351"/>
              <a:gd name="connsiteX9" fmla="*/ 17814 w 19077"/>
              <a:gd name="connsiteY9" fmla="*/ 20996 h 21351"/>
              <a:gd name="connsiteX10" fmla="*/ 19065 w 19077"/>
              <a:gd name="connsiteY10" fmla="*/ 18485 h 21351"/>
              <a:gd name="connsiteX11" fmla="*/ 18016 w 19077"/>
              <a:gd name="connsiteY11" fmla="*/ 14351 h 21351"/>
              <a:gd name="connsiteX12" fmla="*/ 17686 w 19077"/>
              <a:gd name="connsiteY12" fmla="*/ 6081 h 21351"/>
              <a:gd name="connsiteX13" fmla="*/ 15508 w 19077"/>
              <a:gd name="connsiteY13" fmla="*/ 2919 h 21351"/>
              <a:gd name="connsiteX14" fmla="*/ 15091 w 19077"/>
              <a:gd name="connsiteY14" fmla="*/ 2553 h 21351"/>
              <a:gd name="connsiteX15" fmla="*/ 13043 w 19077"/>
              <a:gd name="connsiteY15" fmla="*/ 1180 h 21351"/>
              <a:gd name="connsiteX16" fmla="*/ 10864 w 19077"/>
              <a:gd name="connsiteY16" fmla="*/ 188 h 21351"/>
              <a:gd name="connsiteX17" fmla="*/ 10345 w 19077"/>
              <a:gd name="connsiteY17" fmla="*/ 63 h 21351"/>
              <a:gd name="connsiteX18" fmla="*/ 9835 w 19077"/>
              <a:gd name="connsiteY18" fmla="*/ 0 h 21351"/>
              <a:gd name="connsiteX19" fmla="*/ 9604 w 19077"/>
              <a:gd name="connsiteY19" fmla="*/ 46 h 21351"/>
              <a:gd name="connsiteX20" fmla="*/ 9497 w 19077"/>
              <a:gd name="connsiteY20" fmla="*/ 174 h 21351"/>
              <a:gd name="connsiteX21" fmla="*/ 9565 w 19077"/>
              <a:gd name="connsiteY21" fmla="*/ 321 h 21351"/>
              <a:gd name="connsiteX22" fmla="*/ 9721 w 19077"/>
              <a:gd name="connsiteY22" fmla="*/ 490 h 21351"/>
              <a:gd name="connsiteX23" fmla="*/ 9943 w 19077"/>
              <a:gd name="connsiteY23" fmla="*/ 1358 h 21351"/>
              <a:gd name="connsiteX24" fmla="*/ 9777 w 19077"/>
              <a:gd name="connsiteY24" fmla="*/ 2309 h 21351"/>
              <a:gd name="connsiteX25" fmla="*/ 8940 w 19077"/>
              <a:gd name="connsiteY25" fmla="*/ 4055 h 21351"/>
              <a:gd name="connsiteX26" fmla="*/ 7534 w 19077"/>
              <a:gd name="connsiteY26" fmla="*/ 6018 h 21351"/>
              <a:gd name="connsiteX27" fmla="*/ 6028 w 19077"/>
              <a:gd name="connsiteY27" fmla="*/ 7799 h 21351"/>
              <a:gd name="connsiteX0" fmla="*/ 6028 w 19077"/>
              <a:gd name="connsiteY0" fmla="*/ 7799 h 21351"/>
              <a:gd name="connsiteX1" fmla="*/ 3612 w 19077"/>
              <a:gd name="connsiteY1" fmla="*/ 10665 h 21351"/>
              <a:gd name="connsiteX2" fmla="*/ 1285 w 19077"/>
              <a:gd name="connsiteY2" fmla="*/ 13598 h 21351"/>
              <a:gd name="connsiteX3" fmla="*/ 34 w 19077"/>
              <a:gd name="connsiteY3" fmla="*/ 16246 h 21351"/>
              <a:gd name="connsiteX4" fmla="*/ 178 w 19077"/>
              <a:gd name="connsiteY4" fmla="*/ 17532 h 21351"/>
              <a:gd name="connsiteX5" fmla="*/ 910 w 19077"/>
              <a:gd name="connsiteY5" fmla="*/ 18276 h 21351"/>
              <a:gd name="connsiteX6" fmla="*/ 1838 w 19077"/>
              <a:gd name="connsiteY6" fmla="*/ 18780 h 21351"/>
              <a:gd name="connsiteX7" fmla="*/ 5988 w 19077"/>
              <a:gd name="connsiteY7" fmla="*/ 20199 h 21351"/>
              <a:gd name="connsiteX8" fmla="*/ 11701 w 19077"/>
              <a:gd name="connsiteY8" fmla="*/ 21304 h 21351"/>
              <a:gd name="connsiteX9" fmla="*/ 17814 w 19077"/>
              <a:gd name="connsiteY9" fmla="*/ 20996 h 21351"/>
              <a:gd name="connsiteX10" fmla="*/ 19065 w 19077"/>
              <a:gd name="connsiteY10" fmla="*/ 18485 h 21351"/>
              <a:gd name="connsiteX11" fmla="*/ 18016 w 19077"/>
              <a:gd name="connsiteY11" fmla="*/ 14351 h 21351"/>
              <a:gd name="connsiteX12" fmla="*/ 17771 w 19077"/>
              <a:gd name="connsiteY12" fmla="*/ 5347 h 21351"/>
              <a:gd name="connsiteX13" fmla="*/ 15508 w 19077"/>
              <a:gd name="connsiteY13" fmla="*/ 2919 h 21351"/>
              <a:gd name="connsiteX14" fmla="*/ 15091 w 19077"/>
              <a:gd name="connsiteY14" fmla="*/ 2553 h 21351"/>
              <a:gd name="connsiteX15" fmla="*/ 13043 w 19077"/>
              <a:gd name="connsiteY15" fmla="*/ 1180 h 21351"/>
              <a:gd name="connsiteX16" fmla="*/ 10864 w 19077"/>
              <a:gd name="connsiteY16" fmla="*/ 188 h 21351"/>
              <a:gd name="connsiteX17" fmla="*/ 10345 w 19077"/>
              <a:gd name="connsiteY17" fmla="*/ 63 h 21351"/>
              <a:gd name="connsiteX18" fmla="*/ 9835 w 19077"/>
              <a:gd name="connsiteY18" fmla="*/ 0 h 21351"/>
              <a:gd name="connsiteX19" fmla="*/ 9604 w 19077"/>
              <a:gd name="connsiteY19" fmla="*/ 46 h 21351"/>
              <a:gd name="connsiteX20" fmla="*/ 9497 w 19077"/>
              <a:gd name="connsiteY20" fmla="*/ 174 h 21351"/>
              <a:gd name="connsiteX21" fmla="*/ 9565 w 19077"/>
              <a:gd name="connsiteY21" fmla="*/ 321 h 21351"/>
              <a:gd name="connsiteX22" fmla="*/ 9721 w 19077"/>
              <a:gd name="connsiteY22" fmla="*/ 490 h 21351"/>
              <a:gd name="connsiteX23" fmla="*/ 9943 w 19077"/>
              <a:gd name="connsiteY23" fmla="*/ 1358 h 21351"/>
              <a:gd name="connsiteX24" fmla="*/ 9777 w 19077"/>
              <a:gd name="connsiteY24" fmla="*/ 2309 h 21351"/>
              <a:gd name="connsiteX25" fmla="*/ 8940 w 19077"/>
              <a:gd name="connsiteY25" fmla="*/ 4055 h 21351"/>
              <a:gd name="connsiteX26" fmla="*/ 7534 w 19077"/>
              <a:gd name="connsiteY26" fmla="*/ 6018 h 21351"/>
              <a:gd name="connsiteX27" fmla="*/ 6028 w 19077"/>
              <a:gd name="connsiteY27" fmla="*/ 7799 h 21351"/>
              <a:gd name="connsiteX0" fmla="*/ 6028 w 19077"/>
              <a:gd name="connsiteY0" fmla="*/ 7799 h 21351"/>
              <a:gd name="connsiteX1" fmla="*/ 3612 w 19077"/>
              <a:gd name="connsiteY1" fmla="*/ 10665 h 21351"/>
              <a:gd name="connsiteX2" fmla="*/ 1285 w 19077"/>
              <a:gd name="connsiteY2" fmla="*/ 13598 h 21351"/>
              <a:gd name="connsiteX3" fmla="*/ 34 w 19077"/>
              <a:gd name="connsiteY3" fmla="*/ 16246 h 21351"/>
              <a:gd name="connsiteX4" fmla="*/ 178 w 19077"/>
              <a:gd name="connsiteY4" fmla="*/ 17532 h 21351"/>
              <a:gd name="connsiteX5" fmla="*/ 910 w 19077"/>
              <a:gd name="connsiteY5" fmla="*/ 18276 h 21351"/>
              <a:gd name="connsiteX6" fmla="*/ 1838 w 19077"/>
              <a:gd name="connsiteY6" fmla="*/ 18780 h 21351"/>
              <a:gd name="connsiteX7" fmla="*/ 5988 w 19077"/>
              <a:gd name="connsiteY7" fmla="*/ 20199 h 21351"/>
              <a:gd name="connsiteX8" fmla="*/ 11701 w 19077"/>
              <a:gd name="connsiteY8" fmla="*/ 21304 h 21351"/>
              <a:gd name="connsiteX9" fmla="*/ 17814 w 19077"/>
              <a:gd name="connsiteY9" fmla="*/ 20996 h 21351"/>
              <a:gd name="connsiteX10" fmla="*/ 19065 w 19077"/>
              <a:gd name="connsiteY10" fmla="*/ 18485 h 21351"/>
              <a:gd name="connsiteX11" fmla="*/ 18016 w 19077"/>
              <a:gd name="connsiteY11" fmla="*/ 14351 h 21351"/>
              <a:gd name="connsiteX12" fmla="*/ 17771 w 19077"/>
              <a:gd name="connsiteY12" fmla="*/ 5347 h 21351"/>
              <a:gd name="connsiteX13" fmla="*/ 15508 w 19077"/>
              <a:gd name="connsiteY13" fmla="*/ 2919 h 21351"/>
              <a:gd name="connsiteX14" fmla="*/ 15091 w 19077"/>
              <a:gd name="connsiteY14" fmla="*/ 2553 h 21351"/>
              <a:gd name="connsiteX15" fmla="*/ 13043 w 19077"/>
              <a:gd name="connsiteY15" fmla="*/ 1180 h 21351"/>
              <a:gd name="connsiteX16" fmla="*/ 10864 w 19077"/>
              <a:gd name="connsiteY16" fmla="*/ 188 h 21351"/>
              <a:gd name="connsiteX17" fmla="*/ 10345 w 19077"/>
              <a:gd name="connsiteY17" fmla="*/ 63 h 21351"/>
              <a:gd name="connsiteX18" fmla="*/ 9835 w 19077"/>
              <a:gd name="connsiteY18" fmla="*/ 0 h 21351"/>
              <a:gd name="connsiteX19" fmla="*/ 9604 w 19077"/>
              <a:gd name="connsiteY19" fmla="*/ 46 h 21351"/>
              <a:gd name="connsiteX20" fmla="*/ 9497 w 19077"/>
              <a:gd name="connsiteY20" fmla="*/ 174 h 21351"/>
              <a:gd name="connsiteX21" fmla="*/ 9565 w 19077"/>
              <a:gd name="connsiteY21" fmla="*/ 321 h 21351"/>
              <a:gd name="connsiteX22" fmla="*/ 9721 w 19077"/>
              <a:gd name="connsiteY22" fmla="*/ 490 h 21351"/>
              <a:gd name="connsiteX23" fmla="*/ 9943 w 19077"/>
              <a:gd name="connsiteY23" fmla="*/ 1358 h 21351"/>
              <a:gd name="connsiteX24" fmla="*/ 9777 w 19077"/>
              <a:gd name="connsiteY24" fmla="*/ 2309 h 21351"/>
              <a:gd name="connsiteX25" fmla="*/ 8940 w 19077"/>
              <a:gd name="connsiteY25" fmla="*/ 4055 h 21351"/>
              <a:gd name="connsiteX26" fmla="*/ 7534 w 19077"/>
              <a:gd name="connsiteY26" fmla="*/ 6018 h 21351"/>
              <a:gd name="connsiteX27" fmla="*/ 6028 w 19077"/>
              <a:gd name="connsiteY27" fmla="*/ 7799 h 21351"/>
              <a:gd name="connsiteX0" fmla="*/ 6028 w 19077"/>
              <a:gd name="connsiteY0" fmla="*/ 7799 h 21351"/>
              <a:gd name="connsiteX1" fmla="*/ 3612 w 19077"/>
              <a:gd name="connsiteY1" fmla="*/ 10665 h 21351"/>
              <a:gd name="connsiteX2" fmla="*/ 1285 w 19077"/>
              <a:gd name="connsiteY2" fmla="*/ 13598 h 21351"/>
              <a:gd name="connsiteX3" fmla="*/ 34 w 19077"/>
              <a:gd name="connsiteY3" fmla="*/ 16246 h 21351"/>
              <a:gd name="connsiteX4" fmla="*/ 178 w 19077"/>
              <a:gd name="connsiteY4" fmla="*/ 17532 h 21351"/>
              <a:gd name="connsiteX5" fmla="*/ 910 w 19077"/>
              <a:gd name="connsiteY5" fmla="*/ 18276 h 21351"/>
              <a:gd name="connsiteX6" fmla="*/ 1838 w 19077"/>
              <a:gd name="connsiteY6" fmla="*/ 18780 h 21351"/>
              <a:gd name="connsiteX7" fmla="*/ 5988 w 19077"/>
              <a:gd name="connsiteY7" fmla="*/ 20199 h 21351"/>
              <a:gd name="connsiteX8" fmla="*/ 11701 w 19077"/>
              <a:gd name="connsiteY8" fmla="*/ 21304 h 21351"/>
              <a:gd name="connsiteX9" fmla="*/ 17814 w 19077"/>
              <a:gd name="connsiteY9" fmla="*/ 20996 h 21351"/>
              <a:gd name="connsiteX10" fmla="*/ 19065 w 19077"/>
              <a:gd name="connsiteY10" fmla="*/ 18485 h 21351"/>
              <a:gd name="connsiteX11" fmla="*/ 18016 w 19077"/>
              <a:gd name="connsiteY11" fmla="*/ 14351 h 21351"/>
              <a:gd name="connsiteX12" fmla="*/ 17882 w 19077"/>
              <a:gd name="connsiteY12" fmla="*/ 5414 h 21351"/>
              <a:gd name="connsiteX13" fmla="*/ 15508 w 19077"/>
              <a:gd name="connsiteY13" fmla="*/ 2919 h 21351"/>
              <a:gd name="connsiteX14" fmla="*/ 15091 w 19077"/>
              <a:gd name="connsiteY14" fmla="*/ 2553 h 21351"/>
              <a:gd name="connsiteX15" fmla="*/ 13043 w 19077"/>
              <a:gd name="connsiteY15" fmla="*/ 1180 h 21351"/>
              <a:gd name="connsiteX16" fmla="*/ 10864 w 19077"/>
              <a:gd name="connsiteY16" fmla="*/ 188 h 21351"/>
              <a:gd name="connsiteX17" fmla="*/ 10345 w 19077"/>
              <a:gd name="connsiteY17" fmla="*/ 63 h 21351"/>
              <a:gd name="connsiteX18" fmla="*/ 9835 w 19077"/>
              <a:gd name="connsiteY18" fmla="*/ 0 h 21351"/>
              <a:gd name="connsiteX19" fmla="*/ 9604 w 19077"/>
              <a:gd name="connsiteY19" fmla="*/ 46 h 21351"/>
              <a:gd name="connsiteX20" fmla="*/ 9497 w 19077"/>
              <a:gd name="connsiteY20" fmla="*/ 174 h 21351"/>
              <a:gd name="connsiteX21" fmla="*/ 9565 w 19077"/>
              <a:gd name="connsiteY21" fmla="*/ 321 h 21351"/>
              <a:gd name="connsiteX22" fmla="*/ 9721 w 19077"/>
              <a:gd name="connsiteY22" fmla="*/ 490 h 21351"/>
              <a:gd name="connsiteX23" fmla="*/ 9943 w 19077"/>
              <a:gd name="connsiteY23" fmla="*/ 1358 h 21351"/>
              <a:gd name="connsiteX24" fmla="*/ 9777 w 19077"/>
              <a:gd name="connsiteY24" fmla="*/ 2309 h 21351"/>
              <a:gd name="connsiteX25" fmla="*/ 8940 w 19077"/>
              <a:gd name="connsiteY25" fmla="*/ 4055 h 21351"/>
              <a:gd name="connsiteX26" fmla="*/ 7534 w 19077"/>
              <a:gd name="connsiteY26" fmla="*/ 6018 h 21351"/>
              <a:gd name="connsiteX27" fmla="*/ 6028 w 19077"/>
              <a:gd name="connsiteY27" fmla="*/ 7799 h 21351"/>
              <a:gd name="connsiteX0" fmla="*/ 6028 w 18669"/>
              <a:gd name="connsiteY0" fmla="*/ 7799 h 21351"/>
              <a:gd name="connsiteX1" fmla="*/ 3612 w 18669"/>
              <a:gd name="connsiteY1" fmla="*/ 10665 h 21351"/>
              <a:gd name="connsiteX2" fmla="*/ 1285 w 18669"/>
              <a:gd name="connsiteY2" fmla="*/ 13598 h 21351"/>
              <a:gd name="connsiteX3" fmla="*/ 34 w 18669"/>
              <a:gd name="connsiteY3" fmla="*/ 16246 h 21351"/>
              <a:gd name="connsiteX4" fmla="*/ 178 w 18669"/>
              <a:gd name="connsiteY4" fmla="*/ 17532 h 21351"/>
              <a:gd name="connsiteX5" fmla="*/ 910 w 18669"/>
              <a:gd name="connsiteY5" fmla="*/ 18276 h 21351"/>
              <a:gd name="connsiteX6" fmla="*/ 1838 w 18669"/>
              <a:gd name="connsiteY6" fmla="*/ 18780 h 21351"/>
              <a:gd name="connsiteX7" fmla="*/ 5988 w 18669"/>
              <a:gd name="connsiteY7" fmla="*/ 20199 h 21351"/>
              <a:gd name="connsiteX8" fmla="*/ 11701 w 18669"/>
              <a:gd name="connsiteY8" fmla="*/ 21304 h 21351"/>
              <a:gd name="connsiteX9" fmla="*/ 17814 w 18669"/>
              <a:gd name="connsiteY9" fmla="*/ 20996 h 21351"/>
              <a:gd name="connsiteX10" fmla="*/ 18336 w 18669"/>
              <a:gd name="connsiteY10" fmla="*/ 18537 h 21351"/>
              <a:gd name="connsiteX11" fmla="*/ 18016 w 18669"/>
              <a:gd name="connsiteY11" fmla="*/ 14351 h 21351"/>
              <a:gd name="connsiteX12" fmla="*/ 17882 w 18669"/>
              <a:gd name="connsiteY12" fmla="*/ 5414 h 21351"/>
              <a:gd name="connsiteX13" fmla="*/ 15508 w 18669"/>
              <a:gd name="connsiteY13" fmla="*/ 2919 h 21351"/>
              <a:gd name="connsiteX14" fmla="*/ 15091 w 18669"/>
              <a:gd name="connsiteY14" fmla="*/ 2553 h 21351"/>
              <a:gd name="connsiteX15" fmla="*/ 13043 w 18669"/>
              <a:gd name="connsiteY15" fmla="*/ 1180 h 21351"/>
              <a:gd name="connsiteX16" fmla="*/ 10864 w 18669"/>
              <a:gd name="connsiteY16" fmla="*/ 188 h 21351"/>
              <a:gd name="connsiteX17" fmla="*/ 10345 w 18669"/>
              <a:gd name="connsiteY17" fmla="*/ 63 h 21351"/>
              <a:gd name="connsiteX18" fmla="*/ 9835 w 18669"/>
              <a:gd name="connsiteY18" fmla="*/ 0 h 21351"/>
              <a:gd name="connsiteX19" fmla="*/ 9604 w 18669"/>
              <a:gd name="connsiteY19" fmla="*/ 46 h 21351"/>
              <a:gd name="connsiteX20" fmla="*/ 9497 w 18669"/>
              <a:gd name="connsiteY20" fmla="*/ 174 h 21351"/>
              <a:gd name="connsiteX21" fmla="*/ 9565 w 18669"/>
              <a:gd name="connsiteY21" fmla="*/ 321 h 21351"/>
              <a:gd name="connsiteX22" fmla="*/ 9721 w 18669"/>
              <a:gd name="connsiteY22" fmla="*/ 490 h 21351"/>
              <a:gd name="connsiteX23" fmla="*/ 9943 w 18669"/>
              <a:gd name="connsiteY23" fmla="*/ 1358 h 21351"/>
              <a:gd name="connsiteX24" fmla="*/ 9777 w 18669"/>
              <a:gd name="connsiteY24" fmla="*/ 2309 h 21351"/>
              <a:gd name="connsiteX25" fmla="*/ 8940 w 18669"/>
              <a:gd name="connsiteY25" fmla="*/ 4055 h 21351"/>
              <a:gd name="connsiteX26" fmla="*/ 7534 w 18669"/>
              <a:gd name="connsiteY26" fmla="*/ 6018 h 21351"/>
              <a:gd name="connsiteX27" fmla="*/ 6028 w 18669"/>
              <a:gd name="connsiteY27" fmla="*/ 7799 h 21351"/>
              <a:gd name="connsiteX0" fmla="*/ 6028 w 18582"/>
              <a:gd name="connsiteY0" fmla="*/ 7799 h 21351"/>
              <a:gd name="connsiteX1" fmla="*/ 3612 w 18582"/>
              <a:gd name="connsiteY1" fmla="*/ 10665 h 21351"/>
              <a:gd name="connsiteX2" fmla="*/ 1285 w 18582"/>
              <a:gd name="connsiteY2" fmla="*/ 13598 h 21351"/>
              <a:gd name="connsiteX3" fmla="*/ 34 w 18582"/>
              <a:gd name="connsiteY3" fmla="*/ 16246 h 21351"/>
              <a:gd name="connsiteX4" fmla="*/ 178 w 18582"/>
              <a:gd name="connsiteY4" fmla="*/ 17532 h 21351"/>
              <a:gd name="connsiteX5" fmla="*/ 910 w 18582"/>
              <a:gd name="connsiteY5" fmla="*/ 18276 h 21351"/>
              <a:gd name="connsiteX6" fmla="*/ 1838 w 18582"/>
              <a:gd name="connsiteY6" fmla="*/ 18780 h 21351"/>
              <a:gd name="connsiteX7" fmla="*/ 5988 w 18582"/>
              <a:gd name="connsiteY7" fmla="*/ 20199 h 21351"/>
              <a:gd name="connsiteX8" fmla="*/ 11701 w 18582"/>
              <a:gd name="connsiteY8" fmla="*/ 21304 h 21351"/>
              <a:gd name="connsiteX9" fmla="*/ 17814 w 18582"/>
              <a:gd name="connsiteY9" fmla="*/ 20996 h 21351"/>
              <a:gd name="connsiteX10" fmla="*/ 18085 w 18582"/>
              <a:gd name="connsiteY10" fmla="*/ 18673 h 21351"/>
              <a:gd name="connsiteX11" fmla="*/ 18016 w 18582"/>
              <a:gd name="connsiteY11" fmla="*/ 14351 h 21351"/>
              <a:gd name="connsiteX12" fmla="*/ 17882 w 18582"/>
              <a:gd name="connsiteY12" fmla="*/ 5414 h 21351"/>
              <a:gd name="connsiteX13" fmla="*/ 15508 w 18582"/>
              <a:gd name="connsiteY13" fmla="*/ 2919 h 21351"/>
              <a:gd name="connsiteX14" fmla="*/ 15091 w 18582"/>
              <a:gd name="connsiteY14" fmla="*/ 2553 h 21351"/>
              <a:gd name="connsiteX15" fmla="*/ 13043 w 18582"/>
              <a:gd name="connsiteY15" fmla="*/ 1180 h 21351"/>
              <a:gd name="connsiteX16" fmla="*/ 10864 w 18582"/>
              <a:gd name="connsiteY16" fmla="*/ 188 h 21351"/>
              <a:gd name="connsiteX17" fmla="*/ 10345 w 18582"/>
              <a:gd name="connsiteY17" fmla="*/ 63 h 21351"/>
              <a:gd name="connsiteX18" fmla="*/ 9835 w 18582"/>
              <a:gd name="connsiteY18" fmla="*/ 0 h 21351"/>
              <a:gd name="connsiteX19" fmla="*/ 9604 w 18582"/>
              <a:gd name="connsiteY19" fmla="*/ 46 h 21351"/>
              <a:gd name="connsiteX20" fmla="*/ 9497 w 18582"/>
              <a:gd name="connsiteY20" fmla="*/ 174 h 21351"/>
              <a:gd name="connsiteX21" fmla="*/ 9565 w 18582"/>
              <a:gd name="connsiteY21" fmla="*/ 321 h 21351"/>
              <a:gd name="connsiteX22" fmla="*/ 9721 w 18582"/>
              <a:gd name="connsiteY22" fmla="*/ 490 h 21351"/>
              <a:gd name="connsiteX23" fmla="*/ 9943 w 18582"/>
              <a:gd name="connsiteY23" fmla="*/ 1358 h 21351"/>
              <a:gd name="connsiteX24" fmla="*/ 9777 w 18582"/>
              <a:gd name="connsiteY24" fmla="*/ 2309 h 21351"/>
              <a:gd name="connsiteX25" fmla="*/ 8940 w 18582"/>
              <a:gd name="connsiteY25" fmla="*/ 4055 h 21351"/>
              <a:gd name="connsiteX26" fmla="*/ 7534 w 18582"/>
              <a:gd name="connsiteY26" fmla="*/ 6018 h 21351"/>
              <a:gd name="connsiteX27" fmla="*/ 6028 w 18582"/>
              <a:gd name="connsiteY27" fmla="*/ 7799 h 21351"/>
              <a:gd name="connsiteX0" fmla="*/ 6028 w 18094"/>
              <a:gd name="connsiteY0" fmla="*/ 7799 h 21351"/>
              <a:gd name="connsiteX1" fmla="*/ 3612 w 18094"/>
              <a:gd name="connsiteY1" fmla="*/ 10665 h 21351"/>
              <a:gd name="connsiteX2" fmla="*/ 1285 w 18094"/>
              <a:gd name="connsiteY2" fmla="*/ 13598 h 21351"/>
              <a:gd name="connsiteX3" fmla="*/ 34 w 18094"/>
              <a:gd name="connsiteY3" fmla="*/ 16246 h 21351"/>
              <a:gd name="connsiteX4" fmla="*/ 178 w 18094"/>
              <a:gd name="connsiteY4" fmla="*/ 17532 h 21351"/>
              <a:gd name="connsiteX5" fmla="*/ 910 w 18094"/>
              <a:gd name="connsiteY5" fmla="*/ 18276 h 21351"/>
              <a:gd name="connsiteX6" fmla="*/ 1838 w 18094"/>
              <a:gd name="connsiteY6" fmla="*/ 18780 h 21351"/>
              <a:gd name="connsiteX7" fmla="*/ 5988 w 18094"/>
              <a:gd name="connsiteY7" fmla="*/ 20199 h 21351"/>
              <a:gd name="connsiteX8" fmla="*/ 11701 w 18094"/>
              <a:gd name="connsiteY8" fmla="*/ 21304 h 21351"/>
              <a:gd name="connsiteX9" fmla="*/ 17814 w 18094"/>
              <a:gd name="connsiteY9" fmla="*/ 20996 h 21351"/>
              <a:gd name="connsiteX10" fmla="*/ 18085 w 18094"/>
              <a:gd name="connsiteY10" fmla="*/ 18673 h 21351"/>
              <a:gd name="connsiteX11" fmla="*/ 18016 w 18094"/>
              <a:gd name="connsiteY11" fmla="*/ 14351 h 21351"/>
              <a:gd name="connsiteX12" fmla="*/ 17882 w 18094"/>
              <a:gd name="connsiteY12" fmla="*/ 5414 h 21351"/>
              <a:gd name="connsiteX13" fmla="*/ 15508 w 18094"/>
              <a:gd name="connsiteY13" fmla="*/ 2919 h 21351"/>
              <a:gd name="connsiteX14" fmla="*/ 15091 w 18094"/>
              <a:gd name="connsiteY14" fmla="*/ 2553 h 21351"/>
              <a:gd name="connsiteX15" fmla="*/ 13043 w 18094"/>
              <a:gd name="connsiteY15" fmla="*/ 1180 h 21351"/>
              <a:gd name="connsiteX16" fmla="*/ 10864 w 18094"/>
              <a:gd name="connsiteY16" fmla="*/ 188 h 21351"/>
              <a:gd name="connsiteX17" fmla="*/ 10345 w 18094"/>
              <a:gd name="connsiteY17" fmla="*/ 63 h 21351"/>
              <a:gd name="connsiteX18" fmla="*/ 9835 w 18094"/>
              <a:gd name="connsiteY18" fmla="*/ 0 h 21351"/>
              <a:gd name="connsiteX19" fmla="*/ 9604 w 18094"/>
              <a:gd name="connsiteY19" fmla="*/ 46 h 21351"/>
              <a:gd name="connsiteX20" fmla="*/ 9497 w 18094"/>
              <a:gd name="connsiteY20" fmla="*/ 174 h 21351"/>
              <a:gd name="connsiteX21" fmla="*/ 9565 w 18094"/>
              <a:gd name="connsiteY21" fmla="*/ 321 h 21351"/>
              <a:gd name="connsiteX22" fmla="*/ 9721 w 18094"/>
              <a:gd name="connsiteY22" fmla="*/ 490 h 21351"/>
              <a:gd name="connsiteX23" fmla="*/ 9943 w 18094"/>
              <a:gd name="connsiteY23" fmla="*/ 1358 h 21351"/>
              <a:gd name="connsiteX24" fmla="*/ 9777 w 18094"/>
              <a:gd name="connsiteY24" fmla="*/ 2309 h 21351"/>
              <a:gd name="connsiteX25" fmla="*/ 8940 w 18094"/>
              <a:gd name="connsiteY25" fmla="*/ 4055 h 21351"/>
              <a:gd name="connsiteX26" fmla="*/ 7534 w 18094"/>
              <a:gd name="connsiteY26" fmla="*/ 6018 h 21351"/>
              <a:gd name="connsiteX27" fmla="*/ 6028 w 18094"/>
              <a:gd name="connsiteY27" fmla="*/ 7799 h 21351"/>
              <a:gd name="connsiteX0" fmla="*/ 6028 w 18094"/>
              <a:gd name="connsiteY0" fmla="*/ 7799 h 21351"/>
              <a:gd name="connsiteX1" fmla="*/ 3612 w 18094"/>
              <a:gd name="connsiteY1" fmla="*/ 10665 h 21351"/>
              <a:gd name="connsiteX2" fmla="*/ 1285 w 18094"/>
              <a:gd name="connsiteY2" fmla="*/ 13598 h 21351"/>
              <a:gd name="connsiteX3" fmla="*/ 34 w 18094"/>
              <a:gd name="connsiteY3" fmla="*/ 16246 h 21351"/>
              <a:gd name="connsiteX4" fmla="*/ 178 w 18094"/>
              <a:gd name="connsiteY4" fmla="*/ 17532 h 21351"/>
              <a:gd name="connsiteX5" fmla="*/ 910 w 18094"/>
              <a:gd name="connsiteY5" fmla="*/ 18276 h 21351"/>
              <a:gd name="connsiteX6" fmla="*/ 1838 w 18094"/>
              <a:gd name="connsiteY6" fmla="*/ 18780 h 21351"/>
              <a:gd name="connsiteX7" fmla="*/ 5988 w 18094"/>
              <a:gd name="connsiteY7" fmla="*/ 20199 h 21351"/>
              <a:gd name="connsiteX8" fmla="*/ 11701 w 18094"/>
              <a:gd name="connsiteY8" fmla="*/ 21304 h 21351"/>
              <a:gd name="connsiteX9" fmla="*/ 17814 w 18094"/>
              <a:gd name="connsiteY9" fmla="*/ 20996 h 21351"/>
              <a:gd name="connsiteX10" fmla="*/ 18085 w 18094"/>
              <a:gd name="connsiteY10" fmla="*/ 18673 h 21351"/>
              <a:gd name="connsiteX11" fmla="*/ 18016 w 18094"/>
              <a:gd name="connsiteY11" fmla="*/ 14351 h 21351"/>
              <a:gd name="connsiteX12" fmla="*/ 17882 w 18094"/>
              <a:gd name="connsiteY12" fmla="*/ 5414 h 21351"/>
              <a:gd name="connsiteX13" fmla="*/ 15508 w 18094"/>
              <a:gd name="connsiteY13" fmla="*/ 2919 h 21351"/>
              <a:gd name="connsiteX14" fmla="*/ 15091 w 18094"/>
              <a:gd name="connsiteY14" fmla="*/ 2553 h 21351"/>
              <a:gd name="connsiteX15" fmla="*/ 13043 w 18094"/>
              <a:gd name="connsiteY15" fmla="*/ 1180 h 21351"/>
              <a:gd name="connsiteX16" fmla="*/ 10864 w 18094"/>
              <a:gd name="connsiteY16" fmla="*/ 188 h 21351"/>
              <a:gd name="connsiteX17" fmla="*/ 10345 w 18094"/>
              <a:gd name="connsiteY17" fmla="*/ 63 h 21351"/>
              <a:gd name="connsiteX18" fmla="*/ 9835 w 18094"/>
              <a:gd name="connsiteY18" fmla="*/ 0 h 21351"/>
              <a:gd name="connsiteX19" fmla="*/ 9604 w 18094"/>
              <a:gd name="connsiteY19" fmla="*/ 46 h 21351"/>
              <a:gd name="connsiteX20" fmla="*/ 9497 w 18094"/>
              <a:gd name="connsiteY20" fmla="*/ 174 h 21351"/>
              <a:gd name="connsiteX21" fmla="*/ 9565 w 18094"/>
              <a:gd name="connsiteY21" fmla="*/ 321 h 21351"/>
              <a:gd name="connsiteX22" fmla="*/ 9721 w 18094"/>
              <a:gd name="connsiteY22" fmla="*/ 490 h 21351"/>
              <a:gd name="connsiteX23" fmla="*/ 9943 w 18094"/>
              <a:gd name="connsiteY23" fmla="*/ 1358 h 21351"/>
              <a:gd name="connsiteX24" fmla="*/ 9777 w 18094"/>
              <a:gd name="connsiteY24" fmla="*/ 2309 h 21351"/>
              <a:gd name="connsiteX25" fmla="*/ 8940 w 18094"/>
              <a:gd name="connsiteY25" fmla="*/ 4055 h 21351"/>
              <a:gd name="connsiteX26" fmla="*/ 7534 w 18094"/>
              <a:gd name="connsiteY26" fmla="*/ 6018 h 21351"/>
              <a:gd name="connsiteX27" fmla="*/ 6028 w 18094"/>
              <a:gd name="connsiteY27" fmla="*/ 7799 h 21351"/>
              <a:gd name="connsiteX0" fmla="*/ 6028 w 18021"/>
              <a:gd name="connsiteY0" fmla="*/ 7799 h 21351"/>
              <a:gd name="connsiteX1" fmla="*/ 3612 w 18021"/>
              <a:gd name="connsiteY1" fmla="*/ 10665 h 21351"/>
              <a:gd name="connsiteX2" fmla="*/ 1285 w 18021"/>
              <a:gd name="connsiteY2" fmla="*/ 13598 h 21351"/>
              <a:gd name="connsiteX3" fmla="*/ 34 w 18021"/>
              <a:gd name="connsiteY3" fmla="*/ 16246 h 21351"/>
              <a:gd name="connsiteX4" fmla="*/ 178 w 18021"/>
              <a:gd name="connsiteY4" fmla="*/ 17532 h 21351"/>
              <a:gd name="connsiteX5" fmla="*/ 910 w 18021"/>
              <a:gd name="connsiteY5" fmla="*/ 18276 h 21351"/>
              <a:gd name="connsiteX6" fmla="*/ 1838 w 18021"/>
              <a:gd name="connsiteY6" fmla="*/ 18780 h 21351"/>
              <a:gd name="connsiteX7" fmla="*/ 5988 w 18021"/>
              <a:gd name="connsiteY7" fmla="*/ 20199 h 21351"/>
              <a:gd name="connsiteX8" fmla="*/ 11701 w 18021"/>
              <a:gd name="connsiteY8" fmla="*/ 21304 h 21351"/>
              <a:gd name="connsiteX9" fmla="*/ 17814 w 18021"/>
              <a:gd name="connsiteY9" fmla="*/ 20996 h 21351"/>
              <a:gd name="connsiteX10" fmla="*/ 17720 w 18021"/>
              <a:gd name="connsiteY10" fmla="*/ 18809 h 21351"/>
              <a:gd name="connsiteX11" fmla="*/ 18016 w 18021"/>
              <a:gd name="connsiteY11" fmla="*/ 14351 h 21351"/>
              <a:gd name="connsiteX12" fmla="*/ 17882 w 18021"/>
              <a:gd name="connsiteY12" fmla="*/ 5414 h 21351"/>
              <a:gd name="connsiteX13" fmla="*/ 15508 w 18021"/>
              <a:gd name="connsiteY13" fmla="*/ 2919 h 21351"/>
              <a:gd name="connsiteX14" fmla="*/ 15091 w 18021"/>
              <a:gd name="connsiteY14" fmla="*/ 2553 h 21351"/>
              <a:gd name="connsiteX15" fmla="*/ 13043 w 18021"/>
              <a:gd name="connsiteY15" fmla="*/ 1180 h 21351"/>
              <a:gd name="connsiteX16" fmla="*/ 10864 w 18021"/>
              <a:gd name="connsiteY16" fmla="*/ 188 h 21351"/>
              <a:gd name="connsiteX17" fmla="*/ 10345 w 18021"/>
              <a:gd name="connsiteY17" fmla="*/ 63 h 21351"/>
              <a:gd name="connsiteX18" fmla="*/ 9835 w 18021"/>
              <a:gd name="connsiteY18" fmla="*/ 0 h 21351"/>
              <a:gd name="connsiteX19" fmla="*/ 9604 w 18021"/>
              <a:gd name="connsiteY19" fmla="*/ 46 h 21351"/>
              <a:gd name="connsiteX20" fmla="*/ 9497 w 18021"/>
              <a:gd name="connsiteY20" fmla="*/ 174 h 21351"/>
              <a:gd name="connsiteX21" fmla="*/ 9565 w 18021"/>
              <a:gd name="connsiteY21" fmla="*/ 321 h 21351"/>
              <a:gd name="connsiteX22" fmla="*/ 9721 w 18021"/>
              <a:gd name="connsiteY22" fmla="*/ 490 h 21351"/>
              <a:gd name="connsiteX23" fmla="*/ 9943 w 18021"/>
              <a:gd name="connsiteY23" fmla="*/ 1358 h 21351"/>
              <a:gd name="connsiteX24" fmla="*/ 9777 w 18021"/>
              <a:gd name="connsiteY24" fmla="*/ 2309 h 21351"/>
              <a:gd name="connsiteX25" fmla="*/ 8940 w 18021"/>
              <a:gd name="connsiteY25" fmla="*/ 4055 h 21351"/>
              <a:gd name="connsiteX26" fmla="*/ 7534 w 18021"/>
              <a:gd name="connsiteY26" fmla="*/ 6018 h 21351"/>
              <a:gd name="connsiteX27" fmla="*/ 6028 w 18021"/>
              <a:gd name="connsiteY27" fmla="*/ 7799 h 21351"/>
              <a:gd name="connsiteX0" fmla="*/ 6028 w 18027"/>
              <a:gd name="connsiteY0" fmla="*/ 7799 h 21351"/>
              <a:gd name="connsiteX1" fmla="*/ 3612 w 18027"/>
              <a:gd name="connsiteY1" fmla="*/ 10665 h 21351"/>
              <a:gd name="connsiteX2" fmla="*/ 1285 w 18027"/>
              <a:gd name="connsiteY2" fmla="*/ 13598 h 21351"/>
              <a:gd name="connsiteX3" fmla="*/ 34 w 18027"/>
              <a:gd name="connsiteY3" fmla="*/ 16246 h 21351"/>
              <a:gd name="connsiteX4" fmla="*/ 178 w 18027"/>
              <a:gd name="connsiteY4" fmla="*/ 17532 h 21351"/>
              <a:gd name="connsiteX5" fmla="*/ 910 w 18027"/>
              <a:gd name="connsiteY5" fmla="*/ 18276 h 21351"/>
              <a:gd name="connsiteX6" fmla="*/ 1838 w 18027"/>
              <a:gd name="connsiteY6" fmla="*/ 18780 h 21351"/>
              <a:gd name="connsiteX7" fmla="*/ 5988 w 18027"/>
              <a:gd name="connsiteY7" fmla="*/ 20199 h 21351"/>
              <a:gd name="connsiteX8" fmla="*/ 11701 w 18027"/>
              <a:gd name="connsiteY8" fmla="*/ 21304 h 21351"/>
              <a:gd name="connsiteX9" fmla="*/ 17814 w 18027"/>
              <a:gd name="connsiteY9" fmla="*/ 20996 h 21351"/>
              <a:gd name="connsiteX10" fmla="*/ 17720 w 18027"/>
              <a:gd name="connsiteY10" fmla="*/ 18809 h 21351"/>
              <a:gd name="connsiteX11" fmla="*/ 17765 w 18027"/>
              <a:gd name="connsiteY11" fmla="*/ 14514 h 21351"/>
              <a:gd name="connsiteX12" fmla="*/ 17882 w 18027"/>
              <a:gd name="connsiteY12" fmla="*/ 5414 h 21351"/>
              <a:gd name="connsiteX13" fmla="*/ 15508 w 18027"/>
              <a:gd name="connsiteY13" fmla="*/ 2919 h 21351"/>
              <a:gd name="connsiteX14" fmla="*/ 15091 w 18027"/>
              <a:gd name="connsiteY14" fmla="*/ 2553 h 21351"/>
              <a:gd name="connsiteX15" fmla="*/ 13043 w 18027"/>
              <a:gd name="connsiteY15" fmla="*/ 1180 h 21351"/>
              <a:gd name="connsiteX16" fmla="*/ 10864 w 18027"/>
              <a:gd name="connsiteY16" fmla="*/ 188 h 21351"/>
              <a:gd name="connsiteX17" fmla="*/ 10345 w 18027"/>
              <a:gd name="connsiteY17" fmla="*/ 63 h 21351"/>
              <a:gd name="connsiteX18" fmla="*/ 9835 w 18027"/>
              <a:gd name="connsiteY18" fmla="*/ 0 h 21351"/>
              <a:gd name="connsiteX19" fmla="*/ 9604 w 18027"/>
              <a:gd name="connsiteY19" fmla="*/ 46 h 21351"/>
              <a:gd name="connsiteX20" fmla="*/ 9497 w 18027"/>
              <a:gd name="connsiteY20" fmla="*/ 174 h 21351"/>
              <a:gd name="connsiteX21" fmla="*/ 9565 w 18027"/>
              <a:gd name="connsiteY21" fmla="*/ 321 h 21351"/>
              <a:gd name="connsiteX22" fmla="*/ 9721 w 18027"/>
              <a:gd name="connsiteY22" fmla="*/ 490 h 21351"/>
              <a:gd name="connsiteX23" fmla="*/ 9943 w 18027"/>
              <a:gd name="connsiteY23" fmla="*/ 1358 h 21351"/>
              <a:gd name="connsiteX24" fmla="*/ 9777 w 18027"/>
              <a:gd name="connsiteY24" fmla="*/ 2309 h 21351"/>
              <a:gd name="connsiteX25" fmla="*/ 8940 w 18027"/>
              <a:gd name="connsiteY25" fmla="*/ 4055 h 21351"/>
              <a:gd name="connsiteX26" fmla="*/ 7534 w 18027"/>
              <a:gd name="connsiteY26" fmla="*/ 6018 h 21351"/>
              <a:gd name="connsiteX27" fmla="*/ 6028 w 18027"/>
              <a:gd name="connsiteY27" fmla="*/ 7799 h 21351"/>
              <a:gd name="connsiteX0" fmla="*/ 6028 w 18062"/>
              <a:gd name="connsiteY0" fmla="*/ 7799 h 21351"/>
              <a:gd name="connsiteX1" fmla="*/ 3612 w 18062"/>
              <a:gd name="connsiteY1" fmla="*/ 10665 h 21351"/>
              <a:gd name="connsiteX2" fmla="*/ 1285 w 18062"/>
              <a:gd name="connsiteY2" fmla="*/ 13598 h 21351"/>
              <a:gd name="connsiteX3" fmla="*/ 34 w 18062"/>
              <a:gd name="connsiteY3" fmla="*/ 16246 h 21351"/>
              <a:gd name="connsiteX4" fmla="*/ 178 w 18062"/>
              <a:gd name="connsiteY4" fmla="*/ 17532 h 21351"/>
              <a:gd name="connsiteX5" fmla="*/ 910 w 18062"/>
              <a:gd name="connsiteY5" fmla="*/ 18276 h 21351"/>
              <a:gd name="connsiteX6" fmla="*/ 1838 w 18062"/>
              <a:gd name="connsiteY6" fmla="*/ 18780 h 21351"/>
              <a:gd name="connsiteX7" fmla="*/ 5988 w 18062"/>
              <a:gd name="connsiteY7" fmla="*/ 20199 h 21351"/>
              <a:gd name="connsiteX8" fmla="*/ 11701 w 18062"/>
              <a:gd name="connsiteY8" fmla="*/ 21304 h 21351"/>
              <a:gd name="connsiteX9" fmla="*/ 17814 w 18062"/>
              <a:gd name="connsiteY9" fmla="*/ 20996 h 21351"/>
              <a:gd name="connsiteX10" fmla="*/ 17720 w 18062"/>
              <a:gd name="connsiteY10" fmla="*/ 18809 h 21351"/>
              <a:gd name="connsiteX11" fmla="*/ 17878 w 18062"/>
              <a:gd name="connsiteY11" fmla="*/ 14842 h 21351"/>
              <a:gd name="connsiteX12" fmla="*/ 17882 w 18062"/>
              <a:gd name="connsiteY12" fmla="*/ 5414 h 21351"/>
              <a:gd name="connsiteX13" fmla="*/ 15508 w 18062"/>
              <a:gd name="connsiteY13" fmla="*/ 2919 h 21351"/>
              <a:gd name="connsiteX14" fmla="*/ 15091 w 18062"/>
              <a:gd name="connsiteY14" fmla="*/ 2553 h 21351"/>
              <a:gd name="connsiteX15" fmla="*/ 13043 w 18062"/>
              <a:gd name="connsiteY15" fmla="*/ 1180 h 21351"/>
              <a:gd name="connsiteX16" fmla="*/ 10864 w 18062"/>
              <a:gd name="connsiteY16" fmla="*/ 188 h 21351"/>
              <a:gd name="connsiteX17" fmla="*/ 10345 w 18062"/>
              <a:gd name="connsiteY17" fmla="*/ 63 h 21351"/>
              <a:gd name="connsiteX18" fmla="*/ 9835 w 18062"/>
              <a:gd name="connsiteY18" fmla="*/ 0 h 21351"/>
              <a:gd name="connsiteX19" fmla="*/ 9604 w 18062"/>
              <a:gd name="connsiteY19" fmla="*/ 46 h 21351"/>
              <a:gd name="connsiteX20" fmla="*/ 9497 w 18062"/>
              <a:gd name="connsiteY20" fmla="*/ 174 h 21351"/>
              <a:gd name="connsiteX21" fmla="*/ 9565 w 18062"/>
              <a:gd name="connsiteY21" fmla="*/ 321 h 21351"/>
              <a:gd name="connsiteX22" fmla="*/ 9721 w 18062"/>
              <a:gd name="connsiteY22" fmla="*/ 490 h 21351"/>
              <a:gd name="connsiteX23" fmla="*/ 9943 w 18062"/>
              <a:gd name="connsiteY23" fmla="*/ 1358 h 21351"/>
              <a:gd name="connsiteX24" fmla="*/ 9777 w 18062"/>
              <a:gd name="connsiteY24" fmla="*/ 2309 h 21351"/>
              <a:gd name="connsiteX25" fmla="*/ 8940 w 18062"/>
              <a:gd name="connsiteY25" fmla="*/ 4055 h 21351"/>
              <a:gd name="connsiteX26" fmla="*/ 7534 w 18062"/>
              <a:gd name="connsiteY26" fmla="*/ 6018 h 21351"/>
              <a:gd name="connsiteX27" fmla="*/ 6028 w 18062"/>
              <a:gd name="connsiteY27" fmla="*/ 7799 h 21351"/>
              <a:gd name="connsiteX0" fmla="*/ 6028 w 18434"/>
              <a:gd name="connsiteY0" fmla="*/ 7799 h 21351"/>
              <a:gd name="connsiteX1" fmla="*/ 3612 w 18434"/>
              <a:gd name="connsiteY1" fmla="*/ 10665 h 21351"/>
              <a:gd name="connsiteX2" fmla="*/ 1285 w 18434"/>
              <a:gd name="connsiteY2" fmla="*/ 13598 h 21351"/>
              <a:gd name="connsiteX3" fmla="*/ 34 w 18434"/>
              <a:gd name="connsiteY3" fmla="*/ 16246 h 21351"/>
              <a:gd name="connsiteX4" fmla="*/ 178 w 18434"/>
              <a:gd name="connsiteY4" fmla="*/ 17532 h 21351"/>
              <a:gd name="connsiteX5" fmla="*/ 910 w 18434"/>
              <a:gd name="connsiteY5" fmla="*/ 18276 h 21351"/>
              <a:gd name="connsiteX6" fmla="*/ 1838 w 18434"/>
              <a:gd name="connsiteY6" fmla="*/ 18780 h 21351"/>
              <a:gd name="connsiteX7" fmla="*/ 5988 w 18434"/>
              <a:gd name="connsiteY7" fmla="*/ 20199 h 21351"/>
              <a:gd name="connsiteX8" fmla="*/ 11701 w 18434"/>
              <a:gd name="connsiteY8" fmla="*/ 21304 h 21351"/>
              <a:gd name="connsiteX9" fmla="*/ 17814 w 18434"/>
              <a:gd name="connsiteY9" fmla="*/ 20996 h 21351"/>
              <a:gd name="connsiteX10" fmla="*/ 17720 w 18434"/>
              <a:gd name="connsiteY10" fmla="*/ 18809 h 21351"/>
              <a:gd name="connsiteX11" fmla="*/ 17878 w 18434"/>
              <a:gd name="connsiteY11" fmla="*/ 14842 h 21351"/>
              <a:gd name="connsiteX12" fmla="*/ 17882 w 18434"/>
              <a:gd name="connsiteY12" fmla="*/ 5414 h 21351"/>
              <a:gd name="connsiteX13" fmla="*/ 15508 w 18434"/>
              <a:gd name="connsiteY13" fmla="*/ 2919 h 21351"/>
              <a:gd name="connsiteX14" fmla="*/ 15091 w 18434"/>
              <a:gd name="connsiteY14" fmla="*/ 2553 h 21351"/>
              <a:gd name="connsiteX15" fmla="*/ 13043 w 18434"/>
              <a:gd name="connsiteY15" fmla="*/ 1180 h 21351"/>
              <a:gd name="connsiteX16" fmla="*/ 10864 w 18434"/>
              <a:gd name="connsiteY16" fmla="*/ 188 h 21351"/>
              <a:gd name="connsiteX17" fmla="*/ 10345 w 18434"/>
              <a:gd name="connsiteY17" fmla="*/ 63 h 21351"/>
              <a:gd name="connsiteX18" fmla="*/ 9835 w 18434"/>
              <a:gd name="connsiteY18" fmla="*/ 0 h 21351"/>
              <a:gd name="connsiteX19" fmla="*/ 9604 w 18434"/>
              <a:gd name="connsiteY19" fmla="*/ 46 h 21351"/>
              <a:gd name="connsiteX20" fmla="*/ 9497 w 18434"/>
              <a:gd name="connsiteY20" fmla="*/ 174 h 21351"/>
              <a:gd name="connsiteX21" fmla="*/ 9565 w 18434"/>
              <a:gd name="connsiteY21" fmla="*/ 321 h 21351"/>
              <a:gd name="connsiteX22" fmla="*/ 9721 w 18434"/>
              <a:gd name="connsiteY22" fmla="*/ 490 h 21351"/>
              <a:gd name="connsiteX23" fmla="*/ 9943 w 18434"/>
              <a:gd name="connsiteY23" fmla="*/ 1358 h 21351"/>
              <a:gd name="connsiteX24" fmla="*/ 9777 w 18434"/>
              <a:gd name="connsiteY24" fmla="*/ 2309 h 21351"/>
              <a:gd name="connsiteX25" fmla="*/ 8940 w 18434"/>
              <a:gd name="connsiteY25" fmla="*/ 4055 h 21351"/>
              <a:gd name="connsiteX26" fmla="*/ 7534 w 18434"/>
              <a:gd name="connsiteY26" fmla="*/ 6018 h 21351"/>
              <a:gd name="connsiteX27" fmla="*/ 6028 w 18434"/>
              <a:gd name="connsiteY27" fmla="*/ 7799 h 21351"/>
              <a:gd name="connsiteX0" fmla="*/ 6028 w 18182"/>
              <a:gd name="connsiteY0" fmla="*/ 7799 h 21351"/>
              <a:gd name="connsiteX1" fmla="*/ 3612 w 18182"/>
              <a:gd name="connsiteY1" fmla="*/ 10665 h 21351"/>
              <a:gd name="connsiteX2" fmla="*/ 1285 w 18182"/>
              <a:gd name="connsiteY2" fmla="*/ 13598 h 21351"/>
              <a:gd name="connsiteX3" fmla="*/ 34 w 18182"/>
              <a:gd name="connsiteY3" fmla="*/ 16246 h 21351"/>
              <a:gd name="connsiteX4" fmla="*/ 178 w 18182"/>
              <a:gd name="connsiteY4" fmla="*/ 17532 h 21351"/>
              <a:gd name="connsiteX5" fmla="*/ 910 w 18182"/>
              <a:gd name="connsiteY5" fmla="*/ 18276 h 21351"/>
              <a:gd name="connsiteX6" fmla="*/ 1838 w 18182"/>
              <a:gd name="connsiteY6" fmla="*/ 18780 h 21351"/>
              <a:gd name="connsiteX7" fmla="*/ 5988 w 18182"/>
              <a:gd name="connsiteY7" fmla="*/ 20199 h 21351"/>
              <a:gd name="connsiteX8" fmla="*/ 11701 w 18182"/>
              <a:gd name="connsiteY8" fmla="*/ 21304 h 21351"/>
              <a:gd name="connsiteX9" fmla="*/ 17814 w 18182"/>
              <a:gd name="connsiteY9" fmla="*/ 20996 h 21351"/>
              <a:gd name="connsiteX10" fmla="*/ 17720 w 18182"/>
              <a:gd name="connsiteY10" fmla="*/ 18809 h 21351"/>
              <a:gd name="connsiteX11" fmla="*/ 17878 w 18182"/>
              <a:gd name="connsiteY11" fmla="*/ 14842 h 21351"/>
              <a:gd name="connsiteX12" fmla="*/ 17541 w 18182"/>
              <a:gd name="connsiteY12" fmla="*/ 5194 h 21351"/>
              <a:gd name="connsiteX13" fmla="*/ 15508 w 18182"/>
              <a:gd name="connsiteY13" fmla="*/ 2919 h 21351"/>
              <a:gd name="connsiteX14" fmla="*/ 15091 w 18182"/>
              <a:gd name="connsiteY14" fmla="*/ 2553 h 21351"/>
              <a:gd name="connsiteX15" fmla="*/ 13043 w 18182"/>
              <a:gd name="connsiteY15" fmla="*/ 1180 h 21351"/>
              <a:gd name="connsiteX16" fmla="*/ 10864 w 18182"/>
              <a:gd name="connsiteY16" fmla="*/ 188 h 21351"/>
              <a:gd name="connsiteX17" fmla="*/ 10345 w 18182"/>
              <a:gd name="connsiteY17" fmla="*/ 63 h 21351"/>
              <a:gd name="connsiteX18" fmla="*/ 9835 w 18182"/>
              <a:gd name="connsiteY18" fmla="*/ 0 h 21351"/>
              <a:gd name="connsiteX19" fmla="*/ 9604 w 18182"/>
              <a:gd name="connsiteY19" fmla="*/ 46 h 21351"/>
              <a:gd name="connsiteX20" fmla="*/ 9497 w 18182"/>
              <a:gd name="connsiteY20" fmla="*/ 174 h 21351"/>
              <a:gd name="connsiteX21" fmla="*/ 9565 w 18182"/>
              <a:gd name="connsiteY21" fmla="*/ 321 h 21351"/>
              <a:gd name="connsiteX22" fmla="*/ 9721 w 18182"/>
              <a:gd name="connsiteY22" fmla="*/ 490 h 21351"/>
              <a:gd name="connsiteX23" fmla="*/ 9943 w 18182"/>
              <a:gd name="connsiteY23" fmla="*/ 1358 h 21351"/>
              <a:gd name="connsiteX24" fmla="*/ 9777 w 18182"/>
              <a:gd name="connsiteY24" fmla="*/ 2309 h 21351"/>
              <a:gd name="connsiteX25" fmla="*/ 8940 w 18182"/>
              <a:gd name="connsiteY25" fmla="*/ 4055 h 21351"/>
              <a:gd name="connsiteX26" fmla="*/ 7534 w 18182"/>
              <a:gd name="connsiteY26" fmla="*/ 6018 h 21351"/>
              <a:gd name="connsiteX27" fmla="*/ 6028 w 18182"/>
              <a:gd name="connsiteY27" fmla="*/ 7799 h 21351"/>
              <a:gd name="connsiteX0" fmla="*/ 6028 w 17881"/>
              <a:gd name="connsiteY0" fmla="*/ 7799 h 21351"/>
              <a:gd name="connsiteX1" fmla="*/ 3612 w 17881"/>
              <a:gd name="connsiteY1" fmla="*/ 10665 h 21351"/>
              <a:gd name="connsiteX2" fmla="*/ 1285 w 17881"/>
              <a:gd name="connsiteY2" fmla="*/ 13598 h 21351"/>
              <a:gd name="connsiteX3" fmla="*/ 34 w 17881"/>
              <a:gd name="connsiteY3" fmla="*/ 16246 h 21351"/>
              <a:gd name="connsiteX4" fmla="*/ 178 w 17881"/>
              <a:gd name="connsiteY4" fmla="*/ 17532 h 21351"/>
              <a:gd name="connsiteX5" fmla="*/ 910 w 17881"/>
              <a:gd name="connsiteY5" fmla="*/ 18276 h 21351"/>
              <a:gd name="connsiteX6" fmla="*/ 1838 w 17881"/>
              <a:gd name="connsiteY6" fmla="*/ 18780 h 21351"/>
              <a:gd name="connsiteX7" fmla="*/ 5988 w 17881"/>
              <a:gd name="connsiteY7" fmla="*/ 20199 h 21351"/>
              <a:gd name="connsiteX8" fmla="*/ 11701 w 17881"/>
              <a:gd name="connsiteY8" fmla="*/ 21304 h 21351"/>
              <a:gd name="connsiteX9" fmla="*/ 17814 w 17881"/>
              <a:gd name="connsiteY9" fmla="*/ 20996 h 21351"/>
              <a:gd name="connsiteX10" fmla="*/ 17720 w 17881"/>
              <a:gd name="connsiteY10" fmla="*/ 18809 h 21351"/>
              <a:gd name="connsiteX11" fmla="*/ 17878 w 17881"/>
              <a:gd name="connsiteY11" fmla="*/ 14842 h 21351"/>
              <a:gd name="connsiteX12" fmla="*/ 17541 w 17881"/>
              <a:gd name="connsiteY12" fmla="*/ 5194 h 21351"/>
              <a:gd name="connsiteX13" fmla="*/ 15508 w 17881"/>
              <a:gd name="connsiteY13" fmla="*/ 2919 h 21351"/>
              <a:gd name="connsiteX14" fmla="*/ 15091 w 17881"/>
              <a:gd name="connsiteY14" fmla="*/ 2553 h 21351"/>
              <a:gd name="connsiteX15" fmla="*/ 13043 w 17881"/>
              <a:gd name="connsiteY15" fmla="*/ 1180 h 21351"/>
              <a:gd name="connsiteX16" fmla="*/ 10864 w 17881"/>
              <a:gd name="connsiteY16" fmla="*/ 188 h 21351"/>
              <a:gd name="connsiteX17" fmla="*/ 10345 w 17881"/>
              <a:gd name="connsiteY17" fmla="*/ 63 h 21351"/>
              <a:gd name="connsiteX18" fmla="*/ 9835 w 17881"/>
              <a:gd name="connsiteY18" fmla="*/ 0 h 21351"/>
              <a:gd name="connsiteX19" fmla="*/ 9604 w 17881"/>
              <a:gd name="connsiteY19" fmla="*/ 46 h 21351"/>
              <a:gd name="connsiteX20" fmla="*/ 9497 w 17881"/>
              <a:gd name="connsiteY20" fmla="*/ 174 h 21351"/>
              <a:gd name="connsiteX21" fmla="*/ 9565 w 17881"/>
              <a:gd name="connsiteY21" fmla="*/ 321 h 21351"/>
              <a:gd name="connsiteX22" fmla="*/ 9721 w 17881"/>
              <a:gd name="connsiteY22" fmla="*/ 490 h 21351"/>
              <a:gd name="connsiteX23" fmla="*/ 9943 w 17881"/>
              <a:gd name="connsiteY23" fmla="*/ 1358 h 21351"/>
              <a:gd name="connsiteX24" fmla="*/ 9777 w 17881"/>
              <a:gd name="connsiteY24" fmla="*/ 2309 h 21351"/>
              <a:gd name="connsiteX25" fmla="*/ 8940 w 17881"/>
              <a:gd name="connsiteY25" fmla="*/ 4055 h 21351"/>
              <a:gd name="connsiteX26" fmla="*/ 7534 w 17881"/>
              <a:gd name="connsiteY26" fmla="*/ 6018 h 21351"/>
              <a:gd name="connsiteX27" fmla="*/ 6028 w 17881"/>
              <a:gd name="connsiteY27" fmla="*/ 7799 h 21351"/>
              <a:gd name="connsiteX0" fmla="*/ 6028 w 17889"/>
              <a:gd name="connsiteY0" fmla="*/ 7799 h 21351"/>
              <a:gd name="connsiteX1" fmla="*/ 3612 w 17889"/>
              <a:gd name="connsiteY1" fmla="*/ 10665 h 21351"/>
              <a:gd name="connsiteX2" fmla="*/ 1285 w 17889"/>
              <a:gd name="connsiteY2" fmla="*/ 13598 h 21351"/>
              <a:gd name="connsiteX3" fmla="*/ 34 w 17889"/>
              <a:gd name="connsiteY3" fmla="*/ 16246 h 21351"/>
              <a:gd name="connsiteX4" fmla="*/ 178 w 17889"/>
              <a:gd name="connsiteY4" fmla="*/ 17532 h 21351"/>
              <a:gd name="connsiteX5" fmla="*/ 910 w 17889"/>
              <a:gd name="connsiteY5" fmla="*/ 18276 h 21351"/>
              <a:gd name="connsiteX6" fmla="*/ 1838 w 17889"/>
              <a:gd name="connsiteY6" fmla="*/ 18780 h 21351"/>
              <a:gd name="connsiteX7" fmla="*/ 5988 w 17889"/>
              <a:gd name="connsiteY7" fmla="*/ 20199 h 21351"/>
              <a:gd name="connsiteX8" fmla="*/ 11701 w 17889"/>
              <a:gd name="connsiteY8" fmla="*/ 21304 h 21351"/>
              <a:gd name="connsiteX9" fmla="*/ 17814 w 17889"/>
              <a:gd name="connsiteY9" fmla="*/ 20996 h 21351"/>
              <a:gd name="connsiteX10" fmla="*/ 17720 w 17889"/>
              <a:gd name="connsiteY10" fmla="*/ 18809 h 21351"/>
              <a:gd name="connsiteX11" fmla="*/ 17878 w 17889"/>
              <a:gd name="connsiteY11" fmla="*/ 14842 h 21351"/>
              <a:gd name="connsiteX12" fmla="*/ 17859 w 17889"/>
              <a:gd name="connsiteY12" fmla="*/ 5414 h 21351"/>
              <a:gd name="connsiteX13" fmla="*/ 15508 w 17889"/>
              <a:gd name="connsiteY13" fmla="*/ 2919 h 21351"/>
              <a:gd name="connsiteX14" fmla="*/ 15091 w 17889"/>
              <a:gd name="connsiteY14" fmla="*/ 2553 h 21351"/>
              <a:gd name="connsiteX15" fmla="*/ 13043 w 17889"/>
              <a:gd name="connsiteY15" fmla="*/ 1180 h 21351"/>
              <a:gd name="connsiteX16" fmla="*/ 10864 w 17889"/>
              <a:gd name="connsiteY16" fmla="*/ 188 h 21351"/>
              <a:gd name="connsiteX17" fmla="*/ 10345 w 17889"/>
              <a:gd name="connsiteY17" fmla="*/ 63 h 21351"/>
              <a:gd name="connsiteX18" fmla="*/ 9835 w 17889"/>
              <a:gd name="connsiteY18" fmla="*/ 0 h 21351"/>
              <a:gd name="connsiteX19" fmla="*/ 9604 w 17889"/>
              <a:gd name="connsiteY19" fmla="*/ 46 h 21351"/>
              <a:gd name="connsiteX20" fmla="*/ 9497 w 17889"/>
              <a:gd name="connsiteY20" fmla="*/ 174 h 21351"/>
              <a:gd name="connsiteX21" fmla="*/ 9565 w 17889"/>
              <a:gd name="connsiteY21" fmla="*/ 321 h 21351"/>
              <a:gd name="connsiteX22" fmla="*/ 9721 w 17889"/>
              <a:gd name="connsiteY22" fmla="*/ 490 h 21351"/>
              <a:gd name="connsiteX23" fmla="*/ 9943 w 17889"/>
              <a:gd name="connsiteY23" fmla="*/ 1358 h 21351"/>
              <a:gd name="connsiteX24" fmla="*/ 9777 w 17889"/>
              <a:gd name="connsiteY24" fmla="*/ 2309 h 21351"/>
              <a:gd name="connsiteX25" fmla="*/ 8940 w 17889"/>
              <a:gd name="connsiteY25" fmla="*/ 4055 h 21351"/>
              <a:gd name="connsiteX26" fmla="*/ 7534 w 17889"/>
              <a:gd name="connsiteY26" fmla="*/ 6018 h 21351"/>
              <a:gd name="connsiteX27" fmla="*/ 6028 w 17889"/>
              <a:gd name="connsiteY27" fmla="*/ 7799 h 21351"/>
              <a:gd name="connsiteX0" fmla="*/ 6028 w 17888"/>
              <a:gd name="connsiteY0" fmla="*/ 7799 h 21351"/>
              <a:gd name="connsiteX1" fmla="*/ 3612 w 17888"/>
              <a:gd name="connsiteY1" fmla="*/ 10665 h 21351"/>
              <a:gd name="connsiteX2" fmla="*/ 1285 w 17888"/>
              <a:gd name="connsiteY2" fmla="*/ 13598 h 21351"/>
              <a:gd name="connsiteX3" fmla="*/ 34 w 17888"/>
              <a:gd name="connsiteY3" fmla="*/ 16246 h 21351"/>
              <a:gd name="connsiteX4" fmla="*/ 178 w 17888"/>
              <a:gd name="connsiteY4" fmla="*/ 17532 h 21351"/>
              <a:gd name="connsiteX5" fmla="*/ 910 w 17888"/>
              <a:gd name="connsiteY5" fmla="*/ 18276 h 21351"/>
              <a:gd name="connsiteX6" fmla="*/ 1838 w 17888"/>
              <a:gd name="connsiteY6" fmla="*/ 18780 h 21351"/>
              <a:gd name="connsiteX7" fmla="*/ 5988 w 17888"/>
              <a:gd name="connsiteY7" fmla="*/ 20199 h 21351"/>
              <a:gd name="connsiteX8" fmla="*/ 11701 w 17888"/>
              <a:gd name="connsiteY8" fmla="*/ 21304 h 21351"/>
              <a:gd name="connsiteX9" fmla="*/ 17814 w 17888"/>
              <a:gd name="connsiteY9" fmla="*/ 20996 h 21351"/>
              <a:gd name="connsiteX10" fmla="*/ 17720 w 17888"/>
              <a:gd name="connsiteY10" fmla="*/ 18809 h 21351"/>
              <a:gd name="connsiteX11" fmla="*/ 17878 w 17888"/>
              <a:gd name="connsiteY11" fmla="*/ 14842 h 21351"/>
              <a:gd name="connsiteX12" fmla="*/ 17859 w 17888"/>
              <a:gd name="connsiteY12" fmla="*/ 5414 h 21351"/>
              <a:gd name="connsiteX13" fmla="*/ 15508 w 17888"/>
              <a:gd name="connsiteY13" fmla="*/ 2919 h 21351"/>
              <a:gd name="connsiteX14" fmla="*/ 15091 w 17888"/>
              <a:gd name="connsiteY14" fmla="*/ 2553 h 21351"/>
              <a:gd name="connsiteX15" fmla="*/ 13043 w 17888"/>
              <a:gd name="connsiteY15" fmla="*/ 1180 h 21351"/>
              <a:gd name="connsiteX16" fmla="*/ 10864 w 17888"/>
              <a:gd name="connsiteY16" fmla="*/ 188 h 21351"/>
              <a:gd name="connsiteX17" fmla="*/ 10345 w 17888"/>
              <a:gd name="connsiteY17" fmla="*/ 63 h 21351"/>
              <a:gd name="connsiteX18" fmla="*/ 9835 w 17888"/>
              <a:gd name="connsiteY18" fmla="*/ 0 h 21351"/>
              <a:gd name="connsiteX19" fmla="*/ 9604 w 17888"/>
              <a:gd name="connsiteY19" fmla="*/ 46 h 21351"/>
              <a:gd name="connsiteX20" fmla="*/ 9497 w 17888"/>
              <a:gd name="connsiteY20" fmla="*/ 174 h 21351"/>
              <a:gd name="connsiteX21" fmla="*/ 9565 w 17888"/>
              <a:gd name="connsiteY21" fmla="*/ 321 h 21351"/>
              <a:gd name="connsiteX22" fmla="*/ 9721 w 17888"/>
              <a:gd name="connsiteY22" fmla="*/ 490 h 21351"/>
              <a:gd name="connsiteX23" fmla="*/ 9943 w 17888"/>
              <a:gd name="connsiteY23" fmla="*/ 1358 h 21351"/>
              <a:gd name="connsiteX24" fmla="*/ 9777 w 17888"/>
              <a:gd name="connsiteY24" fmla="*/ 2309 h 21351"/>
              <a:gd name="connsiteX25" fmla="*/ 8940 w 17888"/>
              <a:gd name="connsiteY25" fmla="*/ 4055 h 21351"/>
              <a:gd name="connsiteX26" fmla="*/ 7534 w 17888"/>
              <a:gd name="connsiteY26" fmla="*/ 6018 h 21351"/>
              <a:gd name="connsiteX27" fmla="*/ 6028 w 17888"/>
              <a:gd name="connsiteY27" fmla="*/ 7799 h 21351"/>
              <a:gd name="connsiteX0" fmla="*/ 6028 w 17878"/>
              <a:gd name="connsiteY0" fmla="*/ 7799 h 21351"/>
              <a:gd name="connsiteX1" fmla="*/ 3612 w 17878"/>
              <a:gd name="connsiteY1" fmla="*/ 10665 h 21351"/>
              <a:gd name="connsiteX2" fmla="*/ 1285 w 17878"/>
              <a:gd name="connsiteY2" fmla="*/ 13598 h 21351"/>
              <a:gd name="connsiteX3" fmla="*/ 34 w 17878"/>
              <a:gd name="connsiteY3" fmla="*/ 16246 h 21351"/>
              <a:gd name="connsiteX4" fmla="*/ 178 w 17878"/>
              <a:gd name="connsiteY4" fmla="*/ 17532 h 21351"/>
              <a:gd name="connsiteX5" fmla="*/ 910 w 17878"/>
              <a:gd name="connsiteY5" fmla="*/ 18276 h 21351"/>
              <a:gd name="connsiteX6" fmla="*/ 1838 w 17878"/>
              <a:gd name="connsiteY6" fmla="*/ 18780 h 21351"/>
              <a:gd name="connsiteX7" fmla="*/ 5988 w 17878"/>
              <a:gd name="connsiteY7" fmla="*/ 20199 h 21351"/>
              <a:gd name="connsiteX8" fmla="*/ 11701 w 17878"/>
              <a:gd name="connsiteY8" fmla="*/ 21304 h 21351"/>
              <a:gd name="connsiteX9" fmla="*/ 17814 w 17878"/>
              <a:gd name="connsiteY9" fmla="*/ 20996 h 21351"/>
              <a:gd name="connsiteX10" fmla="*/ 17857 w 17878"/>
              <a:gd name="connsiteY10" fmla="*/ 18837 h 21351"/>
              <a:gd name="connsiteX11" fmla="*/ 17878 w 17878"/>
              <a:gd name="connsiteY11" fmla="*/ 14842 h 21351"/>
              <a:gd name="connsiteX12" fmla="*/ 17859 w 17878"/>
              <a:gd name="connsiteY12" fmla="*/ 5414 h 21351"/>
              <a:gd name="connsiteX13" fmla="*/ 15508 w 17878"/>
              <a:gd name="connsiteY13" fmla="*/ 2919 h 21351"/>
              <a:gd name="connsiteX14" fmla="*/ 15091 w 17878"/>
              <a:gd name="connsiteY14" fmla="*/ 2553 h 21351"/>
              <a:gd name="connsiteX15" fmla="*/ 13043 w 17878"/>
              <a:gd name="connsiteY15" fmla="*/ 1180 h 21351"/>
              <a:gd name="connsiteX16" fmla="*/ 10864 w 17878"/>
              <a:gd name="connsiteY16" fmla="*/ 188 h 21351"/>
              <a:gd name="connsiteX17" fmla="*/ 10345 w 17878"/>
              <a:gd name="connsiteY17" fmla="*/ 63 h 21351"/>
              <a:gd name="connsiteX18" fmla="*/ 9835 w 17878"/>
              <a:gd name="connsiteY18" fmla="*/ 0 h 21351"/>
              <a:gd name="connsiteX19" fmla="*/ 9604 w 17878"/>
              <a:gd name="connsiteY19" fmla="*/ 46 h 21351"/>
              <a:gd name="connsiteX20" fmla="*/ 9497 w 17878"/>
              <a:gd name="connsiteY20" fmla="*/ 174 h 21351"/>
              <a:gd name="connsiteX21" fmla="*/ 9565 w 17878"/>
              <a:gd name="connsiteY21" fmla="*/ 321 h 21351"/>
              <a:gd name="connsiteX22" fmla="*/ 9721 w 17878"/>
              <a:gd name="connsiteY22" fmla="*/ 490 h 21351"/>
              <a:gd name="connsiteX23" fmla="*/ 9943 w 17878"/>
              <a:gd name="connsiteY23" fmla="*/ 1358 h 21351"/>
              <a:gd name="connsiteX24" fmla="*/ 9777 w 17878"/>
              <a:gd name="connsiteY24" fmla="*/ 2309 h 21351"/>
              <a:gd name="connsiteX25" fmla="*/ 8940 w 17878"/>
              <a:gd name="connsiteY25" fmla="*/ 4055 h 21351"/>
              <a:gd name="connsiteX26" fmla="*/ 7534 w 17878"/>
              <a:gd name="connsiteY26" fmla="*/ 6018 h 21351"/>
              <a:gd name="connsiteX27" fmla="*/ 6028 w 17878"/>
              <a:gd name="connsiteY27" fmla="*/ 7799 h 21351"/>
              <a:gd name="connsiteX0" fmla="*/ 6028 w 17901"/>
              <a:gd name="connsiteY0" fmla="*/ 7799 h 21351"/>
              <a:gd name="connsiteX1" fmla="*/ 3612 w 17901"/>
              <a:gd name="connsiteY1" fmla="*/ 10665 h 21351"/>
              <a:gd name="connsiteX2" fmla="*/ 1285 w 17901"/>
              <a:gd name="connsiteY2" fmla="*/ 13598 h 21351"/>
              <a:gd name="connsiteX3" fmla="*/ 34 w 17901"/>
              <a:gd name="connsiteY3" fmla="*/ 16246 h 21351"/>
              <a:gd name="connsiteX4" fmla="*/ 178 w 17901"/>
              <a:gd name="connsiteY4" fmla="*/ 17532 h 21351"/>
              <a:gd name="connsiteX5" fmla="*/ 910 w 17901"/>
              <a:gd name="connsiteY5" fmla="*/ 18276 h 21351"/>
              <a:gd name="connsiteX6" fmla="*/ 1838 w 17901"/>
              <a:gd name="connsiteY6" fmla="*/ 18780 h 21351"/>
              <a:gd name="connsiteX7" fmla="*/ 5988 w 17901"/>
              <a:gd name="connsiteY7" fmla="*/ 20199 h 21351"/>
              <a:gd name="connsiteX8" fmla="*/ 11701 w 17901"/>
              <a:gd name="connsiteY8" fmla="*/ 21304 h 21351"/>
              <a:gd name="connsiteX9" fmla="*/ 17814 w 17901"/>
              <a:gd name="connsiteY9" fmla="*/ 20996 h 21351"/>
              <a:gd name="connsiteX10" fmla="*/ 17538 w 17901"/>
              <a:gd name="connsiteY10" fmla="*/ 18891 h 21351"/>
              <a:gd name="connsiteX11" fmla="*/ 17878 w 17901"/>
              <a:gd name="connsiteY11" fmla="*/ 14842 h 21351"/>
              <a:gd name="connsiteX12" fmla="*/ 17859 w 17901"/>
              <a:gd name="connsiteY12" fmla="*/ 5414 h 21351"/>
              <a:gd name="connsiteX13" fmla="*/ 15508 w 17901"/>
              <a:gd name="connsiteY13" fmla="*/ 2919 h 21351"/>
              <a:gd name="connsiteX14" fmla="*/ 15091 w 17901"/>
              <a:gd name="connsiteY14" fmla="*/ 2553 h 21351"/>
              <a:gd name="connsiteX15" fmla="*/ 13043 w 17901"/>
              <a:gd name="connsiteY15" fmla="*/ 1180 h 21351"/>
              <a:gd name="connsiteX16" fmla="*/ 10864 w 17901"/>
              <a:gd name="connsiteY16" fmla="*/ 188 h 21351"/>
              <a:gd name="connsiteX17" fmla="*/ 10345 w 17901"/>
              <a:gd name="connsiteY17" fmla="*/ 63 h 21351"/>
              <a:gd name="connsiteX18" fmla="*/ 9835 w 17901"/>
              <a:gd name="connsiteY18" fmla="*/ 0 h 21351"/>
              <a:gd name="connsiteX19" fmla="*/ 9604 w 17901"/>
              <a:gd name="connsiteY19" fmla="*/ 46 h 21351"/>
              <a:gd name="connsiteX20" fmla="*/ 9497 w 17901"/>
              <a:gd name="connsiteY20" fmla="*/ 174 h 21351"/>
              <a:gd name="connsiteX21" fmla="*/ 9565 w 17901"/>
              <a:gd name="connsiteY21" fmla="*/ 321 h 21351"/>
              <a:gd name="connsiteX22" fmla="*/ 9721 w 17901"/>
              <a:gd name="connsiteY22" fmla="*/ 490 h 21351"/>
              <a:gd name="connsiteX23" fmla="*/ 9943 w 17901"/>
              <a:gd name="connsiteY23" fmla="*/ 1358 h 21351"/>
              <a:gd name="connsiteX24" fmla="*/ 9777 w 17901"/>
              <a:gd name="connsiteY24" fmla="*/ 2309 h 21351"/>
              <a:gd name="connsiteX25" fmla="*/ 8940 w 17901"/>
              <a:gd name="connsiteY25" fmla="*/ 4055 h 21351"/>
              <a:gd name="connsiteX26" fmla="*/ 7534 w 17901"/>
              <a:gd name="connsiteY26" fmla="*/ 6018 h 21351"/>
              <a:gd name="connsiteX27" fmla="*/ 6028 w 17901"/>
              <a:gd name="connsiteY27" fmla="*/ 7799 h 21351"/>
              <a:gd name="connsiteX0" fmla="*/ 6028 w 17901"/>
              <a:gd name="connsiteY0" fmla="*/ 7799 h 21351"/>
              <a:gd name="connsiteX1" fmla="*/ 3612 w 17901"/>
              <a:gd name="connsiteY1" fmla="*/ 10665 h 21351"/>
              <a:gd name="connsiteX2" fmla="*/ 1285 w 17901"/>
              <a:gd name="connsiteY2" fmla="*/ 13598 h 21351"/>
              <a:gd name="connsiteX3" fmla="*/ 34 w 17901"/>
              <a:gd name="connsiteY3" fmla="*/ 16246 h 21351"/>
              <a:gd name="connsiteX4" fmla="*/ 178 w 17901"/>
              <a:gd name="connsiteY4" fmla="*/ 17532 h 21351"/>
              <a:gd name="connsiteX5" fmla="*/ 910 w 17901"/>
              <a:gd name="connsiteY5" fmla="*/ 18276 h 21351"/>
              <a:gd name="connsiteX6" fmla="*/ 1838 w 17901"/>
              <a:gd name="connsiteY6" fmla="*/ 18780 h 21351"/>
              <a:gd name="connsiteX7" fmla="*/ 5988 w 17901"/>
              <a:gd name="connsiteY7" fmla="*/ 20199 h 21351"/>
              <a:gd name="connsiteX8" fmla="*/ 11701 w 17901"/>
              <a:gd name="connsiteY8" fmla="*/ 21304 h 21351"/>
              <a:gd name="connsiteX9" fmla="*/ 17814 w 17901"/>
              <a:gd name="connsiteY9" fmla="*/ 20996 h 21351"/>
              <a:gd name="connsiteX10" fmla="*/ 17538 w 17901"/>
              <a:gd name="connsiteY10" fmla="*/ 18891 h 21351"/>
              <a:gd name="connsiteX11" fmla="*/ 17878 w 17901"/>
              <a:gd name="connsiteY11" fmla="*/ 14842 h 21351"/>
              <a:gd name="connsiteX12" fmla="*/ 17859 w 17901"/>
              <a:gd name="connsiteY12" fmla="*/ 5414 h 21351"/>
              <a:gd name="connsiteX13" fmla="*/ 15508 w 17901"/>
              <a:gd name="connsiteY13" fmla="*/ 2919 h 21351"/>
              <a:gd name="connsiteX14" fmla="*/ 15091 w 17901"/>
              <a:gd name="connsiteY14" fmla="*/ 2553 h 21351"/>
              <a:gd name="connsiteX15" fmla="*/ 13043 w 17901"/>
              <a:gd name="connsiteY15" fmla="*/ 1180 h 21351"/>
              <a:gd name="connsiteX16" fmla="*/ 10864 w 17901"/>
              <a:gd name="connsiteY16" fmla="*/ 188 h 21351"/>
              <a:gd name="connsiteX17" fmla="*/ 10345 w 17901"/>
              <a:gd name="connsiteY17" fmla="*/ 63 h 21351"/>
              <a:gd name="connsiteX18" fmla="*/ 9835 w 17901"/>
              <a:gd name="connsiteY18" fmla="*/ 0 h 21351"/>
              <a:gd name="connsiteX19" fmla="*/ 9604 w 17901"/>
              <a:gd name="connsiteY19" fmla="*/ 46 h 21351"/>
              <a:gd name="connsiteX20" fmla="*/ 9497 w 17901"/>
              <a:gd name="connsiteY20" fmla="*/ 174 h 21351"/>
              <a:gd name="connsiteX21" fmla="*/ 9565 w 17901"/>
              <a:gd name="connsiteY21" fmla="*/ 321 h 21351"/>
              <a:gd name="connsiteX22" fmla="*/ 9721 w 17901"/>
              <a:gd name="connsiteY22" fmla="*/ 490 h 21351"/>
              <a:gd name="connsiteX23" fmla="*/ 9943 w 17901"/>
              <a:gd name="connsiteY23" fmla="*/ 1358 h 21351"/>
              <a:gd name="connsiteX24" fmla="*/ 9777 w 17901"/>
              <a:gd name="connsiteY24" fmla="*/ 2309 h 21351"/>
              <a:gd name="connsiteX25" fmla="*/ 8940 w 17901"/>
              <a:gd name="connsiteY25" fmla="*/ 4055 h 21351"/>
              <a:gd name="connsiteX26" fmla="*/ 7534 w 17901"/>
              <a:gd name="connsiteY26" fmla="*/ 6018 h 21351"/>
              <a:gd name="connsiteX27" fmla="*/ 6028 w 17901"/>
              <a:gd name="connsiteY27" fmla="*/ 7799 h 21351"/>
              <a:gd name="connsiteX0" fmla="*/ 6028 w 17901"/>
              <a:gd name="connsiteY0" fmla="*/ 7799 h 21351"/>
              <a:gd name="connsiteX1" fmla="*/ 3612 w 17901"/>
              <a:gd name="connsiteY1" fmla="*/ 10665 h 21351"/>
              <a:gd name="connsiteX2" fmla="*/ 1285 w 17901"/>
              <a:gd name="connsiteY2" fmla="*/ 13598 h 21351"/>
              <a:gd name="connsiteX3" fmla="*/ 34 w 17901"/>
              <a:gd name="connsiteY3" fmla="*/ 16246 h 21351"/>
              <a:gd name="connsiteX4" fmla="*/ 178 w 17901"/>
              <a:gd name="connsiteY4" fmla="*/ 17532 h 21351"/>
              <a:gd name="connsiteX5" fmla="*/ 910 w 17901"/>
              <a:gd name="connsiteY5" fmla="*/ 18276 h 21351"/>
              <a:gd name="connsiteX6" fmla="*/ 1838 w 17901"/>
              <a:gd name="connsiteY6" fmla="*/ 18780 h 21351"/>
              <a:gd name="connsiteX7" fmla="*/ 5988 w 17901"/>
              <a:gd name="connsiteY7" fmla="*/ 20199 h 21351"/>
              <a:gd name="connsiteX8" fmla="*/ 11701 w 17901"/>
              <a:gd name="connsiteY8" fmla="*/ 21304 h 21351"/>
              <a:gd name="connsiteX9" fmla="*/ 17814 w 17901"/>
              <a:gd name="connsiteY9" fmla="*/ 20996 h 21351"/>
              <a:gd name="connsiteX10" fmla="*/ 17538 w 17901"/>
              <a:gd name="connsiteY10" fmla="*/ 18891 h 21351"/>
              <a:gd name="connsiteX11" fmla="*/ 17878 w 17901"/>
              <a:gd name="connsiteY11" fmla="*/ 14842 h 21351"/>
              <a:gd name="connsiteX12" fmla="*/ 17859 w 17901"/>
              <a:gd name="connsiteY12" fmla="*/ 5414 h 21351"/>
              <a:gd name="connsiteX13" fmla="*/ 15508 w 17901"/>
              <a:gd name="connsiteY13" fmla="*/ 2919 h 21351"/>
              <a:gd name="connsiteX14" fmla="*/ 15091 w 17901"/>
              <a:gd name="connsiteY14" fmla="*/ 2553 h 21351"/>
              <a:gd name="connsiteX15" fmla="*/ 13043 w 17901"/>
              <a:gd name="connsiteY15" fmla="*/ 1180 h 21351"/>
              <a:gd name="connsiteX16" fmla="*/ 10864 w 17901"/>
              <a:gd name="connsiteY16" fmla="*/ 188 h 21351"/>
              <a:gd name="connsiteX17" fmla="*/ 10345 w 17901"/>
              <a:gd name="connsiteY17" fmla="*/ 63 h 21351"/>
              <a:gd name="connsiteX18" fmla="*/ 9835 w 17901"/>
              <a:gd name="connsiteY18" fmla="*/ 0 h 21351"/>
              <a:gd name="connsiteX19" fmla="*/ 9604 w 17901"/>
              <a:gd name="connsiteY19" fmla="*/ 46 h 21351"/>
              <a:gd name="connsiteX20" fmla="*/ 9497 w 17901"/>
              <a:gd name="connsiteY20" fmla="*/ 174 h 21351"/>
              <a:gd name="connsiteX21" fmla="*/ 9565 w 17901"/>
              <a:gd name="connsiteY21" fmla="*/ 321 h 21351"/>
              <a:gd name="connsiteX22" fmla="*/ 9721 w 17901"/>
              <a:gd name="connsiteY22" fmla="*/ 490 h 21351"/>
              <a:gd name="connsiteX23" fmla="*/ 9943 w 17901"/>
              <a:gd name="connsiteY23" fmla="*/ 1358 h 21351"/>
              <a:gd name="connsiteX24" fmla="*/ 9777 w 17901"/>
              <a:gd name="connsiteY24" fmla="*/ 2309 h 21351"/>
              <a:gd name="connsiteX25" fmla="*/ 8940 w 17901"/>
              <a:gd name="connsiteY25" fmla="*/ 4055 h 21351"/>
              <a:gd name="connsiteX26" fmla="*/ 7534 w 17901"/>
              <a:gd name="connsiteY26" fmla="*/ 6018 h 21351"/>
              <a:gd name="connsiteX27" fmla="*/ 6028 w 17901"/>
              <a:gd name="connsiteY27" fmla="*/ 7799 h 21351"/>
              <a:gd name="connsiteX0" fmla="*/ 6028 w 17879"/>
              <a:gd name="connsiteY0" fmla="*/ 7799 h 21351"/>
              <a:gd name="connsiteX1" fmla="*/ 3612 w 17879"/>
              <a:gd name="connsiteY1" fmla="*/ 10665 h 21351"/>
              <a:gd name="connsiteX2" fmla="*/ 1285 w 17879"/>
              <a:gd name="connsiteY2" fmla="*/ 13598 h 21351"/>
              <a:gd name="connsiteX3" fmla="*/ 34 w 17879"/>
              <a:gd name="connsiteY3" fmla="*/ 16246 h 21351"/>
              <a:gd name="connsiteX4" fmla="*/ 178 w 17879"/>
              <a:gd name="connsiteY4" fmla="*/ 17532 h 21351"/>
              <a:gd name="connsiteX5" fmla="*/ 910 w 17879"/>
              <a:gd name="connsiteY5" fmla="*/ 18276 h 21351"/>
              <a:gd name="connsiteX6" fmla="*/ 1838 w 17879"/>
              <a:gd name="connsiteY6" fmla="*/ 18780 h 21351"/>
              <a:gd name="connsiteX7" fmla="*/ 5988 w 17879"/>
              <a:gd name="connsiteY7" fmla="*/ 20199 h 21351"/>
              <a:gd name="connsiteX8" fmla="*/ 11701 w 17879"/>
              <a:gd name="connsiteY8" fmla="*/ 21304 h 21351"/>
              <a:gd name="connsiteX9" fmla="*/ 17814 w 17879"/>
              <a:gd name="connsiteY9" fmla="*/ 20996 h 21351"/>
              <a:gd name="connsiteX10" fmla="*/ 17834 w 17879"/>
              <a:gd name="connsiteY10" fmla="*/ 18892 h 21351"/>
              <a:gd name="connsiteX11" fmla="*/ 17878 w 17879"/>
              <a:gd name="connsiteY11" fmla="*/ 14842 h 21351"/>
              <a:gd name="connsiteX12" fmla="*/ 17859 w 17879"/>
              <a:gd name="connsiteY12" fmla="*/ 5414 h 21351"/>
              <a:gd name="connsiteX13" fmla="*/ 15508 w 17879"/>
              <a:gd name="connsiteY13" fmla="*/ 2919 h 21351"/>
              <a:gd name="connsiteX14" fmla="*/ 15091 w 17879"/>
              <a:gd name="connsiteY14" fmla="*/ 2553 h 21351"/>
              <a:gd name="connsiteX15" fmla="*/ 13043 w 17879"/>
              <a:gd name="connsiteY15" fmla="*/ 1180 h 21351"/>
              <a:gd name="connsiteX16" fmla="*/ 10864 w 17879"/>
              <a:gd name="connsiteY16" fmla="*/ 188 h 21351"/>
              <a:gd name="connsiteX17" fmla="*/ 10345 w 17879"/>
              <a:gd name="connsiteY17" fmla="*/ 63 h 21351"/>
              <a:gd name="connsiteX18" fmla="*/ 9835 w 17879"/>
              <a:gd name="connsiteY18" fmla="*/ 0 h 21351"/>
              <a:gd name="connsiteX19" fmla="*/ 9604 w 17879"/>
              <a:gd name="connsiteY19" fmla="*/ 46 h 21351"/>
              <a:gd name="connsiteX20" fmla="*/ 9497 w 17879"/>
              <a:gd name="connsiteY20" fmla="*/ 174 h 21351"/>
              <a:gd name="connsiteX21" fmla="*/ 9565 w 17879"/>
              <a:gd name="connsiteY21" fmla="*/ 321 h 21351"/>
              <a:gd name="connsiteX22" fmla="*/ 9721 w 17879"/>
              <a:gd name="connsiteY22" fmla="*/ 490 h 21351"/>
              <a:gd name="connsiteX23" fmla="*/ 9943 w 17879"/>
              <a:gd name="connsiteY23" fmla="*/ 1358 h 21351"/>
              <a:gd name="connsiteX24" fmla="*/ 9777 w 17879"/>
              <a:gd name="connsiteY24" fmla="*/ 2309 h 21351"/>
              <a:gd name="connsiteX25" fmla="*/ 8940 w 17879"/>
              <a:gd name="connsiteY25" fmla="*/ 4055 h 21351"/>
              <a:gd name="connsiteX26" fmla="*/ 7534 w 17879"/>
              <a:gd name="connsiteY26" fmla="*/ 6018 h 21351"/>
              <a:gd name="connsiteX27" fmla="*/ 6028 w 17879"/>
              <a:gd name="connsiteY27" fmla="*/ 7799 h 21351"/>
              <a:gd name="connsiteX0" fmla="*/ 6028 w 17879"/>
              <a:gd name="connsiteY0" fmla="*/ 7799 h 21351"/>
              <a:gd name="connsiteX1" fmla="*/ 3612 w 17879"/>
              <a:gd name="connsiteY1" fmla="*/ 10665 h 21351"/>
              <a:gd name="connsiteX2" fmla="*/ 1285 w 17879"/>
              <a:gd name="connsiteY2" fmla="*/ 13598 h 21351"/>
              <a:gd name="connsiteX3" fmla="*/ 34 w 17879"/>
              <a:gd name="connsiteY3" fmla="*/ 16246 h 21351"/>
              <a:gd name="connsiteX4" fmla="*/ 178 w 17879"/>
              <a:gd name="connsiteY4" fmla="*/ 17532 h 21351"/>
              <a:gd name="connsiteX5" fmla="*/ 910 w 17879"/>
              <a:gd name="connsiteY5" fmla="*/ 18276 h 21351"/>
              <a:gd name="connsiteX6" fmla="*/ 1838 w 17879"/>
              <a:gd name="connsiteY6" fmla="*/ 18780 h 21351"/>
              <a:gd name="connsiteX7" fmla="*/ 5988 w 17879"/>
              <a:gd name="connsiteY7" fmla="*/ 20199 h 21351"/>
              <a:gd name="connsiteX8" fmla="*/ 11701 w 17879"/>
              <a:gd name="connsiteY8" fmla="*/ 21304 h 21351"/>
              <a:gd name="connsiteX9" fmla="*/ 17814 w 17879"/>
              <a:gd name="connsiteY9" fmla="*/ 20996 h 21351"/>
              <a:gd name="connsiteX10" fmla="*/ 17834 w 17879"/>
              <a:gd name="connsiteY10" fmla="*/ 18892 h 21351"/>
              <a:gd name="connsiteX11" fmla="*/ 17878 w 17879"/>
              <a:gd name="connsiteY11" fmla="*/ 14842 h 21351"/>
              <a:gd name="connsiteX12" fmla="*/ 17859 w 17879"/>
              <a:gd name="connsiteY12" fmla="*/ 5414 h 21351"/>
              <a:gd name="connsiteX13" fmla="*/ 15508 w 17879"/>
              <a:gd name="connsiteY13" fmla="*/ 2919 h 21351"/>
              <a:gd name="connsiteX14" fmla="*/ 15091 w 17879"/>
              <a:gd name="connsiteY14" fmla="*/ 2553 h 21351"/>
              <a:gd name="connsiteX15" fmla="*/ 13043 w 17879"/>
              <a:gd name="connsiteY15" fmla="*/ 1180 h 21351"/>
              <a:gd name="connsiteX16" fmla="*/ 10864 w 17879"/>
              <a:gd name="connsiteY16" fmla="*/ 188 h 21351"/>
              <a:gd name="connsiteX17" fmla="*/ 10345 w 17879"/>
              <a:gd name="connsiteY17" fmla="*/ 63 h 21351"/>
              <a:gd name="connsiteX18" fmla="*/ 9835 w 17879"/>
              <a:gd name="connsiteY18" fmla="*/ 0 h 21351"/>
              <a:gd name="connsiteX19" fmla="*/ 9604 w 17879"/>
              <a:gd name="connsiteY19" fmla="*/ 46 h 21351"/>
              <a:gd name="connsiteX20" fmla="*/ 9497 w 17879"/>
              <a:gd name="connsiteY20" fmla="*/ 174 h 21351"/>
              <a:gd name="connsiteX21" fmla="*/ 9565 w 17879"/>
              <a:gd name="connsiteY21" fmla="*/ 321 h 21351"/>
              <a:gd name="connsiteX22" fmla="*/ 9721 w 17879"/>
              <a:gd name="connsiteY22" fmla="*/ 490 h 21351"/>
              <a:gd name="connsiteX23" fmla="*/ 9943 w 17879"/>
              <a:gd name="connsiteY23" fmla="*/ 1358 h 21351"/>
              <a:gd name="connsiteX24" fmla="*/ 9777 w 17879"/>
              <a:gd name="connsiteY24" fmla="*/ 2309 h 21351"/>
              <a:gd name="connsiteX25" fmla="*/ 8940 w 17879"/>
              <a:gd name="connsiteY25" fmla="*/ 4055 h 21351"/>
              <a:gd name="connsiteX26" fmla="*/ 7534 w 17879"/>
              <a:gd name="connsiteY26" fmla="*/ 6018 h 21351"/>
              <a:gd name="connsiteX27" fmla="*/ 6028 w 17879"/>
              <a:gd name="connsiteY27" fmla="*/ 7799 h 21351"/>
              <a:gd name="connsiteX0" fmla="*/ 6028 w 17879"/>
              <a:gd name="connsiteY0" fmla="*/ 7799 h 21148"/>
              <a:gd name="connsiteX1" fmla="*/ 3612 w 17879"/>
              <a:gd name="connsiteY1" fmla="*/ 10665 h 21148"/>
              <a:gd name="connsiteX2" fmla="*/ 1285 w 17879"/>
              <a:gd name="connsiteY2" fmla="*/ 13598 h 21148"/>
              <a:gd name="connsiteX3" fmla="*/ 34 w 17879"/>
              <a:gd name="connsiteY3" fmla="*/ 16246 h 21148"/>
              <a:gd name="connsiteX4" fmla="*/ 178 w 17879"/>
              <a:gd name="connsiteY4" fmla="*/ 17532 h 21148"/>
              <a:gd name="connsiteX5" fmla="*/ 910 w 17879"/>
              <a:gd name="connsiteY5" fmla="*/ 18276 h 21148"/>
              <a:gd name="connsiteX6" fmla="*/ 1838 w 17879"/>
              <a:gd name="connsiteY6" fmla="*/ 18780 h 21148"/>
              <a:gd name="connsiteX7" fmla="*/ 5988 w 17879"/>
              <a:gd name="connsiteY7" fmla="*/ 20199 h 21148"/>
              <a:gd name="connsiteX8" fmla="*/ 11611 w 17879"/>
              <a:gd name="connsiteY8" fmla="*/ 20976 h 21148"/>
              <a:gd name="connsiteX9" fmla="*/ 17814 w 17879"/>
              <a:gd name="connsiteY9" fmla="*/ 20996 h 21148"/>
              <a:gd name="connsiteX10" fmla="*/ 17834 w 17879"/>
              <a:gd name="connsiteY10" fmla="*/ 18892 h 21148"/>
              <a:gd name="connsiteX11" fmla="*/ 17878 w 17879"/>
              <a:gd name="connsiteY11" fmla="*/ 14842 h 21148"/>
              <a:gd name="connsiteX12" fmla="*/ 17859 w 17879"/>
              <a:gd name="connsiteY12" fmla="*/ 5414 h 21148"/>
              <a:gd name="connsiteX13" fmla="*/ 15508 w 17879"/>
              <a:gd name="connsiteY13" fmla="*/ 2919 h 21148"/>
              <a:gd name="connsiteX14" fmla="*/ 15091 w 17879"/>
              <a:gd name="connsiteY14" fmla="*/ 2553 h 21148"/>
              <a:gd name="connsiteX15" fmla="*/ 13043 w 17879"/>
              <a:gd name="connsiteY15" fmla="*/ 1180 h 21148"/>
              <a:gd name="connsiteX16" fmla="*/ 10864 w 17879"/>
              <a:gd name="connsiteY16" fmla="*/ 188 h 21148"/>
              <a:gd name="connsiteX17" fmla="*/ 10345 w 17879"/>
              <a:gd name="connsiteY17" fmla="*/ 63 h 21148"/>
              <a:gd name="connsiteX18" fmla="*/ 9835 w 17879"/>
              <a:gd name="connsiteY18" fmla="*/ 0 h 21148"/>
              <a:gd name="connsiteX19" fmla="*/ 9604 w 17879"/>
              <a:gd name="connsiteY19" fmla="*/ 46 h 21148"/>
              <a:gd name="connsiteX20" fmla="*/ 9497 w 17879"/>
              <a:gd name="connsiteY20" fmla="*/ 174 h 21148"/>
              <a:gd name="connsiteX21" fmla="*/ 9565 w 17879"/>
              <a:gd name="connsiteY21" fmla="*/ 321 h 21148"/>
              <a:gd name="connsiteX22" fmla="*/ 9721 w 17879"/>
              <a:gd name="connsiteY22" fmla="*/ 490 h 21148"/>
              <a:gd name="connsiteX23" fmla="*/ 9943 w 17879"/>
              <a:gd name="connsiteY23" fmla="*/ 1358 h 21148"/>
              <a:gd name="connsiteX24" fmla="*/ 9777 w 17879"/>
              <a:gd name="connsiteY24" fmla="*/ 2309 h 21148"/>
              <a:gd name="connsiteX25" fmla="*/ 8940 w 17879"/>
              <a:gd name="connsiteY25" fmla="*/ 4055 h 21148"/>
              <a:gd name="connsiteX26" fmla="*/ 7534 w 17879"/>
              <a:gd name="connsiteY26" fmla="*/ 6018 h 21148"/>
              <a:gd name="connsiteX27" fmla="*/ 6028 w 17879"/>
              <a:gd name="connsiteY27" fmla="*/ 7799 h 21148"/>
              <a:gd name="connsiteX0" fmla="*/ 6028 w 17879"/>
              <a:gd name="connsiteY0" fmla="*/ 7799 h 21084"/>
              <a:gd name="connsiteX1" fmla="*/ 3612 w 17879"/>
              <a:gd name="connsiteY1" fmla="*/ 10665 h 21084"/>
              <a:gd name="connsiteX2" fmla="*/ 1285 w 17879"/>
              <a:gd name="connsiteY2" fmla="*/ 13598 h 21084"/>
              <a:gd name="connsiteX3" fmla="*/ 34 w 17879"/>
              <a:gd name="connsiteY3" fmla="*/ 16246 h 21084"/>
              <a:gd name="connsiteX4" fmla="*/ 178 w 17879"/>
              <a:gd name="connsiteY4" fmla="*/ 17532 h 21084"/>
              <a:gd name="connsiteX5" fmla="*/ 910 w 17879"/>
              <a:gd name="connsiteY5" fmla="*/ 18276 h 21084"/>
              <a:gd name="connsiteX6" fmla="*/ 1838 w 17879"/>
              <a:gd name="connsiteY6" fmla="*/ 18780 h 21084"/>
              <a:gd name="connsiteX7" fmla="*/ 5988 w 17879"/>
              <a:gd name="connsiteY7" fmla="*/ 20199 h 21084"/>
              <a:gd name="connsiteX8" fmla="*/ 11611 w 17879"/>
              <a:gd name="connsiteY8" fmla="*/ 20976 h 21084"/>
              <a:gd name="connsiteX9" fmla="*/ 17814 w 17879"/>
              <a:gd name="connsiteY9" fmla="*/ 20996 h 21084"/>
              <a:gd name="connsiteX10" fmla="*/ 17834 w 17879"/>
              <a:gd name="connsiteY10" fmla="*/ 18892 h 21084"/>
              <a:gd name="connsiteX11" fmla="*/ 17878 w 17879"/>
              <a:gd name="connsiteY11" fmla="*/ 14842 h 21084"/>
              <a:gd name="connsiteX12" fmla="*/ 17859 w 17879"/>
              <a:gd name="connsiteY12" fmla="*/ 5414 h 21084"/>
              <a:gd name="connsiteX13" fmla="*/ 15508 w 17879"/>
              <a:gd name="connsiteY13" fmla="*/ 2919 h 21084"/>
              <a:gd name="connsiteX14" fmla="*/ 15091 w 17879"/>
              <a:gd name="connsiteY14" fmla="*/ 2553 h 21084"/>
              <a:gd name="connsiteX15" fmla="*/ 13043 w 17879"/>
              <a:gd name="connsiteY15" fmla="*/ 1180 h 21084"/>
              <a:gd name="connsiteX16" fmla="*/ 10864 w 17879"/>
              <a:gd name="connsiteY16" fmla="*/ 188 h 21084"/>
              <a:gd name="connsiteX17" fmla="*/ 10345 w 17879"/>
              <a:gd name="connsiteY17" fmla="*/ 63 h 21084"/>
              <a:gd name="connsiteX18" fmla="*/ 9835 w 17879"/>
              <a:gd name="connsiteY18" fmla="*/ 0 h 21084"/>
              <a:gd name="connsiteX19" fmla="*/ 9604 w 17879"/>
              <a:gd name="connsiteY19" fmla="*/ 46 h 21084"/>
              <a:gd name="connsiteX20" fmla="*/ 9497 w 17879"/>
              <a:gd name="connsiteY20" fmla="*/ 174 h 21084"/>
              <a:gd name="connsiteX21" fmla="*/ 9565 w 17879"/>
              <a:gd name="connsiteY21" fmla="*/ 321 h 21084"/>
              <a:gd name="connsiteX22" fmla="*/ 9721 w 17879"/>
              <a:gd name="connsiteY22" fmla="*/ 490 h 21084"/>
              <a:gd name="connsiteX23" fmla="*/ 9943 w 17879"/>
              <a:gd name="connsiteY23" fmla="*/ 1358 h 21084"/>
              <a:gd name="connsiteX24" fmla="*/ 9777 w 17879"/>
              <a:gd name="connsiteY24" fmla="*/ 2309 h 21084"/>
              <a:gd name="connsiteX25" fmla="*/ 8940 w 17879"/>
              <a:gd name="connsiteY25" fmla="*/ 4055 h 21084"/>
              <a:gd name="connsiteX26" fmla="*/ 7534 w 17879"/>
              <a:gd name="connsiteY26" fmla="*/ 6018 h 21084"/>
              <a:gd name="connsiteX27" fmla="*/ 6028 w 17879"/>
              <a:gd name="connsiteY27" fmla="*/ 7799 h 21084"/>
              <a:gd name="connsiteX0" fmla="*/ 6028 w 17879"/>
              <a:gd name="connsiteY0" fmla="*/ 7799 h 21048"/>
              <a:gd name="connsiteX1" fmla="*/ 3612 w 17879"/>
              <a:gd name="connsiteY1" fmla="*/ 10665 h 21048"/>
              <a:gd name="connsiteX2" fmla="*/ 1285 w 17879"/>
              <a:gd name="connsiteY2" fmla="*/ 13598 h 21048"/>
              <a:gd name="connsiteX3" fmla="*/ 34 w 17879"/>
              <a:gd name="connsiteY3" fmla="*/ 16246 h 21048"/>
              <a:gd name="connsiteX4" fmla="*/ 178 w 17879"/>
              <a:gd name="connsiteY4" fmla="*/ 17532 h 21048"/>
              <a:gd name="connsiteX5" fmla="*/ 910 w 17879"/>
              <a:gd name="connsiteY5" fmla="*/ 18276 h 21048"/>
              <a:gd name="connsiteX6" fmla="*/ 1838 w 17879"/>
              <a:gd name="connsiteY6" fmla="*/ 18780 h 21048"/>
              <a:gd name="connsiteX7" fmla="*/ 5988 w 17879"/>
              <a:gd name="connsiteY7" fmla="*/ 20199 h 21048"/>
              <a:gd name="connsiteX8" fmla="*/ 11612 w 17879"/>
              <a:gd name="connsiteY8" fmla="*/ 20539 h 21048"/>
              <a:gd name="connsiteX9" fmla="*/ 17814 w 17879"/>
              <a:gd name="connsiteY9" fmla="*/ 20996 h 21048"/>
              <a:gd name="connsiteX10" fmla="*/ 17834 w 17879"/>
              <a:gd name="connsiteY10" fmla="*/ 18892 h 21048"/>
              <a:gd name="connsiteX11" fmla="*/ 17878 w 17879"/>
              <a:gd name="connsiteY11" fmla="*/ 14842 h 21048"/>
              <a:gd name="connsiteX12" fmla="*/ 17859 w 17879"/>
              <a:gd name="connsiteY12" fmla="*/ 5414 h 21048"/>
              <a:gd name="connsiteX13" fmla="*/ 15508 w 17879"/>
              <a:gd name="connsiteY13" fmla="*/ 2919 h 21048"/>
              <a:gd name="connsiteX14" fmla="*/ 15091 w 17879"/>
              <a:gd name="connsiteY14" fmla="*/ 2553 h 21048"/>
              <a:gd name="connsiteX15" fmla="*/ 13043 w 17879"/>
              <a:gd name="connsiteY15" fmla="*/ 1180 h 21048"/>
              <a:gd name="connsiteX16" fmla="*/ 10864 w 17879"/>
              <a:gd name="connsiteY16" fmla="*/ 188 h 21048"/>
              <a:gd name="connsiteX17" fmla="*/ 10345 w 17879"/>
              <a:gd name="connsiteY17" fmla="*/ 63 h 21048"/>
              <a:gd name="connsiteX18" fmla="*/ 9835 w 17879"/>
              <a:gd name="connsiteY18" fmla="*/ 0 h 21048"/>
              <a:gd name="connsiteX19" fmla="*/ 9604 w 17879"/>
              <a:gd name="connsiteY19" fmla="*/ 46 h 21048"/>
              <a:gd name="connsiteX20" fmla="*/ 9497 w 17879"/>
              <a:gd name="connsiteY20" fmla="*/ 174 h 21048"/>
              <a:gd name="connsiteX21" fmla="*/ 9565 w 17879"/>
              <a:gd name="connsiteY21" fmla="*/ 321 h 21048"/>
              <a:gd name="connsiteX22" fmla="*/ 9721 w 17879"/>
              <a:gd name="connsiteY22" fmla="*/ 490 h 21048"/>
              <a:gd name="connsiteX23" fmla="*/ 9943 w 17879"/>
              <a:gd name="connsiteY23" fmla="*/ 1358 h 21048"/>
              <a:gd name="connsiteX24" fmla="*/ 9777 w 17879"/>
              <a:gd name="connsiteY24" fmla="*/ 2309 h 21048"/>
              <a:gd name="connsiteX25" fmla="*/ 8940 w 17879"/>
              <a:gd name="connsiteY25" fmla="*/ 4055 h 21048"/>
              <a:gd name="connsiteX26" fmla="*/ 7534 w 17879"/>
              <a:gd name="connsiteY26" fmla="*/ 6018 h 21048"/>
              <a:gd name="connsiteX27" fmla="*/ 6028 w 17879"/>
              <a:gd name="connsiteY27" fmla="*/ 7799 h 21048"/>
              <a:gd name="connsiteX0" fmla="*/ 6028 w 17879"/>
              <a:gd name="connsiteY0" fmla="*/ 7799 h 21074"/>
              <a:gd name="connsiteX1" fmla="*/ 3612 w 17879"/>
              <a:gd name="connsiteY1" fmla="*/ 10665 h 21074"/>
              <a:gd name="connsiteX2" fmla="*/ 1285 w 17879"/>
              <a:gd name="connsiteY2" fmla="*/ 13598 h 21074"/>
              <a:gd name="connsiteX3" fmla="*/ 34 w 17879"/>
              <a:gd name="connsiteY3" fmla="*/ 16246 h 21074"/>
              <a:gd name="connsiteX4" fmla="*/ 178 w 17879"/>
              <a:gd name="connsiteY4" fmla="*/ 17532 h 21074"/>
              <a:gd name="connsiteX5" fmla="*/ 910 w 17879"/>
              <a:gd name="connsiteY5" fmla="*/ 18276 h 21074"/>
              <a:gd name="connsiteX6" fmla="*/ 1838 w 17879"/>
              <a:gd name="connsiteY6" fmla="*/ 18780 h 21074"/>
              <a:gd name="connsiteX7" fmla="*/ 5988 w 17879"/>
              <a:gd name="connsiteY7" fmla="*/ 20199 h 21074"/>
              <a:gd name="connsiteX8" fmla="*/ 11588 w 17879"/>
              <a:gd name="connsiteY8" fmla="*/ 20894 h 21074"/>
              <a:gd name="connsiteX9" fmla="*/ 17814 w 17879"/>
              <a:gd name="connsiteY9" fmla="*/ 20996 h 21074"/>
              <a:gd name="connsiteX10" fmla="*/ 17834 w 17879"/>
              <a:gd name="connsiteY10" fmla="*/ 18892 h 21074"/>
              <a:gd name="connsiteX11" fmla="*/ 17878 w 17879"/>
              <a:gd name="connsiteY11" fmla="*/ 14842 h 21074"/>
              <a:gd name="connsiteX12" fmla="*/ 17859 w 17879"/>
              <a:gd name="connsiteY12" fmla="*/ 5414 h 21074"/>
              <a:gd name="connsiteX13" fmla="*/ 15508 w 17879"/>
              <a:gd name="connsiteY13" fmla="*/ 2919 h 21074"/>
              <a:gd name="connsiteX14" fmla="*/ 15091 w 17879"/>
              <a:gd name="connsiteY14" fmla="*/ 2553 h 21074"/>
              <a:gd name="connsiteX15" fmla="*/ 13043 w 17879"/>
              <a:gd name="connsiteY15" fmla="*/ 1180 h 21074"/>
              <a:gd name="connsiteX16" fmla="*/ 10864 w 17879"/>
              <a:gd name="connsiteY16" fmla="*/ 188 h 21074"/>
              <a:gd name="connsiteX17" fmla="*/ 10345 w 17879"/>
              <a:gd name="connsiteY17" fmla="*/ 63 h 21074"/>
              <a:gd name="connsiteX18" fmla="*/ 9835 w 17879"/>
              <a:gd name="connsiteY18" fmla="*/ 0 h 21074"/>
              <a:gd name="connsiteX19" fmla="*/ 9604 w 17879"/>
              <a:gd name="connsiteY19" fmla="*/ 46 h 21074"/>
              <a:gd name="connsiteX20" fmla="*/ 9497 w 17879"/>
              <a:gd name="connsiteY20" fmla="*/ 174 h 21074"/>
              <a:gd name="connsiteX21" fmla="*/ 9565 w 17879"/>
              <a:gd name="connsiteY21" fmla="*/ 321 h 21074"/>
              <a:gd name="connsiteX22" fmla="*/ 9721 w 17879"/>
              <a:gd name="connsiteY22" fmla="*/ 490 h 21074"/>
              <a:gd name="connsiteX23" fmla="*/ 9943 w 17879"/>
              <a:gd name="connsiteY23" fmla="*/ 1358 h 21074"/>
              <a:gd name="connsiteX24" fmla="*/ 9777 w 17879"/>
              <a:gd name="connsiteY24" fmla="*/ 2309 h 21074"/>
              <a:gd name="connsiteX25" fmla="*/ 8940 w 17879"/>
              <a:gd name="connsiteY25" fmla="*/ 4055 h 21074"/>
              <a:gd name="connsiteX26" fmla="*/ 7534 w 17879"/>
              <a:gd name="connsiteY26" fmla="*/ 6018 h 21074"/>
              <a:gd name="connsiteX27" fmla="*/ 6028 w 17879"/>
              <a:gd name="connsiteY27" fmla="*/ 7799 h 21074"/>
              <a:gd name="connsiteX0" fmla="*/ 6028 w 17879"/>
              <a:gd name="connsiteY0" fmla="*/ 7799 h 20977"/>
              <a:gd name="connsiteX1" fmla="*/ 3612 w 17879"/>
              <a:gd name="connsiteY1" fmla="*/ 10665 h 20977"/>
              <a:gd name="connsiteX2" fmla="*/ 1285 w 17879"/>
              <a:gd name="connsiteY2" fmla="*/ 13598 h 20977"/>
              <a:gd name="connsiteX3" fmla="*/ 34 w 17879"/>
              <a:gd name="connsiteY3" fmla="*/ 16246 h 20977"/>
              <a:gd name="connsiteX4" fmla="*/ 178 w 17879"/>
              <a:gd name="connsiteY4" fmla="*/ 17532 h 20977"/>
              <a:gd name="connsiteX5" fmla="*/ 910 w 17879"/>
              <a:gd name="connsiteY5" fmla="*/ 18276 h 20977"/>
              <a:gd name="connsiteX6" fmla="*/ 1838 w 17879"/>
              <a:gd name="connsiteY6" fmla="*/ 18780 h 20977"/>
              <a:gd name="connsiteX7" fmla="*/ 5988 w 17879"/>
              <a:gd name="connsiteY7" fmla="*/ 20199 h 20977"/>
              <a:gd name="connsiteX8" fmla="*/ 11588 w 17879"/>
              <a:gd name="connsiteY8" fmla="*/ 20894 h 20977"/>
              <a:gd name="connsiteX9" fmla="*/ 17814 w 17879"/>
              <a:gd name="connsiteY9" fmla="*/ 20777 h 20977"/>
              <a:gd name="connsiteX10" fmla="*/ 17834 w 17879"/>
              <a:gd name="connsiteY10" fmla="*/ 18892 h 20977"/>
              <a:gd name="connsiteX11" fmla="*/ 17878 w 17879"/>
              <a:gd name="connsiteY11" fmla="*/ 14842 h 20977"/>
              <a:gd name="connsiteX12" fmla="*/ 17859 w 17879"/>
              <a:gd name="connsiteY12" fmla="*/ 5414 h 20977"/>
              <a:gd name="connsiteX13" fmla="*/ 15508 w 17879"/>
              <a:gd name="connsiteY13" fmla="*/ 2919 h 20977"/>
              <a:gd name="connsiteX14" fmla="*/ 15091 w 17879"/>
              <a:gd name="connsiteY14" fmla="*/ 2553 h 20977"/>
              <a:gd name="connsiteX15" fmla="*/ 13043 w 17879"/>
              <a:gd name="connsiteY15" fmla="*/ 1180 h 20977"/>
              <a:gd name="connsiteX16" fmla="*/ 10864 w 17879"/>
              <a:gd name="connsiteY16" fmla="*/ 188 h 20977"/>
              <a:gd name="connsiteX17" fmla="*/ 10345 w 17879"/>
              <a:gd name="connsiteY17" fmla="*/ 63 h 20977"/>
              <a:gd name="connsiteX18" fmla="*/ 9835 w 17879"/>
              <a:gd name="connsiteY18" fmla="*/ 0 h 20977"/>
              <a:gd name="connsiteX19" fmla="*/ 9604 w 17879"/>
              <a:gd name="connsiteY19" fmla="*/ 46 h 20977"/>
              <a:gd name="connsiteX20" fmla="*/ 9497 w 17879"/>
              <a:gd name="connsiteY20" fmla="*/ 174 h 20977"/>
              <a:gd name="connsiteX21" fmla="*/ 9565 w 17879"/>
              <a:gd name="connsiteY21" fmla="*/ 321 h 20977"/>
              <a:gd name="connsiteX22" fmla="*/ 9721 w 17879"/>
              <a:gd name="connsiteY22" fmla="*/ 490 h 20977"/>
              <a:gd name="connsiteX23" fmla="*/ 9943 w 17879"/>
              <a:gd name="connsiteY23" fmla="*/ 1358 h 20977"/>
              <a:gd name="connsiteX24" fmla="*/ 9777 w 17879"/>
              <a:gd name="connsiteY24" fmla="*/ 2309 h 20977"/>
              <a:gd name="connsiteX25" fmla="*/ 8940 w 17879"/>
              <a:gd name="connsiteY25" fmla="*/ 4055 h 20977"/>
              <a:gd name="connsiteX26" fmla="*/ 7534 w 17879"/>
              <a:gd name="connsiteY26" fmla="*/ 6018 h 20977"/>
              <a:gd name="connsiteX27" fmla="*/ 6028 w 17879"/>
              <a:gd name="connsiteY27" fmla="*/ 7799 h 20977"/>
              <a:gd name="connsiteX0" fmla="*/ 6028 w 17879"/>
              <a:gd name="connsiteY0" fmla="*/ 7799 h 21062"/>
              <a:gd name="connsiteX1" fmla="*/ 3612 w 17879"/>
              <a:gd name="connsiteY1" fmla="*/ 10665 h 21062"/>
              <a:gd name="connsiteX2" fmla="*/ 1285 w 17879"/>
              <a:gd name="connsiteY2" fmla="*/ 13598 h 21062"/>
              <a:gd name="connsiteX3" fmla="*/ 34 w 17879"/>
              <a:gd name="connsiteY3" fmla="*/ 16246 h 21062"/>
              <a:gd name="connsiteX4" fmla="*/ 178 w 17879"/>
              <a:gd name="connsiteY4" fmla="*/ 17532 h 21062"/>
              <a:gd name="connsiteX5" fmla="*/ 910 w 17879"/>
              <a:gd name="connsiteY5" fmla="*/ 18276 h 21062"/>
              <a:gd name="connsiteX6" fmla="*/ 1838 w 17879"/>
              <a:gd name="connsiteY6" fmla="*/ 18780 h 21062"/>
              <a:gd name="connsiteX7" fmla="*/ 5988 w 17879"/>
              <a:gd name="connsiteY7" fmla="*/ 20199 h 21062"/>
              <a:gd name="connsiteX8" fmla="*/ 11588 w 17879"/>
              <a:gd name="connsiteY8" fmla="*/ 20894 h 21062"/>
              <a:gd name="connsiteX9" fmla="*/ 17814 w 17879"/>
              <a:gd name="connsiteY9" fmla="*/ 20914 h 21062"/>
              <a:gd name="connsiteX10" fmla="*/ 17834 w 17879"/>
              <a:gd name="connsiteY10" fmla="*/ 18892 h 21062"/>
              <a:gd name="connsiteX11" fmla="*/ 17878 w 17879"/>
              <a:gd name="connsiteY11" fmla="*/ 14842 h 21062"/>
              <a:gd name="connsiteX12" fmla="*/ 17859 w 17879"/>
              <a:gd name="connsiteY12" fmla="*/ 5414 h 21062"/>
              <a:gd name="connsiteX13" fmla="*/ 15508 w 17879"/>
              <a:gd name="connsiteY13" fmla="*/ 2919 h 21062"/>
              <a:gd name="connsiteX14" fmla="*/ 15091 w 17879"/>
              <a:gd name="connsiteY14" fmla="*/ 2553 h 21062"/>
              <a:gd name="connsiteX15" fmla="*/ 13043 w 17879"/>
              <a:gd name="connsiteY15" fmla="*/ 1180 h 21062"/>
              <a:gd name="connsiteX16" fmla="*/ 10864 w 17879"/>
              <a:gd name="connsiteY16" fmla="*/ 188 h 21062"/>
              <a:gd name="connsiteX17" fmla="*/ 10345 w 17879"/>
              <a:gd name="connsiteY17" fmla="*/ 63 h 21062"/>
              <a:gd name="connsiteX18" fmla="*/ 9835 w 17879"/>
              <a:gd name="connsiteY18" fmla="*/ 0 h 21062"/>
              <a:gd name="connsiteX19" fmla="*/ 9604 w 17879"/>
              <a:gd name="connsiteY19" fmla="*/ 46 h 21062"/>
              <a:gd name="connsiteX20" fmla="*/ 9497 w 17879"/>
              <a:gd name="connsiteY20" fmla="*/ 174 h 21062"/>
              <a:gd name="connsiteX21" fmla="*/ 9565 w 17879"/>
              <a:gd name="connsiteY21" fmla="*/ 321 h 21062"/>
              <a:gd name="connsiteX22" fmla="*/ 9721 w 17879"/>
              <a:gd name="connsiteY22" fmla="*/ 490 h 21062"/>
              <a:gd name="connsiteX23" fmla="*/ 9943 w 17879"/>
              <a:gd name="connsiteY23" fmla="*/ 1358 h 21062"/>
              <a:gd name="connsiteX24" fmla="*/ 9777 w 17879"/>
              <a:gd name="connsiteY24" fmla="*/ 2309 h 21062"/>
              <a:gd name="connsiteX25" fmla="*/ 8940 w 17879"/>
              <a:gd name="connsiteY25" fmla="*/ 4055 h 21062"/>
              <a:gd name="connsiteX26" fmla="*/ 7534 w 17879"/>
              <a:gd name="connsiteY26" fmla="*/ 6018 h 21062"/>
              <a:gd name="connsiteX27" fmla="*/ 6028 w 17879"/>
              <a:gd name="connsiteY27" fmla="*/ 7799 h 21062"/>
              <a:gd name="connsiteX0" fmla="*/ 6028 w 17879"/>
              <a:gd name="connsiteY0" fmla="*/ 7799 h 20936"/>
              <a:gd name="connsiteX1" fmla="*/ 3612 w 17879"/>
              <a:gd name="connsiteY1" fmla="*/ 10665 h 20936"/>
              <a:gd name="connsiteX2" fmla="*/ 1285 w 17879"/>
              <a:gd name="connsiteY2" fmla="*/ 13598 h 20936"/>
              <a:gd name="connsiteX3" fmla="*/ 34 w 17879"/>
              <a:gd name="connsiteY3" fmla="*/ 16246 h 20936"/>
              <a:gd name="connsiteX4" fmla="*/ 178 w 17879"/>
              <a:gd name="connsiteY4" fmla="*/ 17532 h 20936"/>
              <a:gd name="connsiteX5" fmla="*/ 910 w 17879"/>
              <a:gd name="connsiteY5" fmla="*/ 18276 h 20936"/>
              <a:gd name="connsiteX6" fmla="*/ 1838 w 17879"/>
              <a:gd name="connsiteY6" fmla="*/ 18780 h 20936"/>
              <a:gd name="connsiteX7" fmla="*/ 5988 w 17879"/>
              <a:gd name="connsiteY7" fmla="*/ 20199 h 20936"/>
              <a:gd name="connsiteX8" fmla="*/ 11588 w 17879"/>
              <a:gd name="connsiteY8" fmla="*/ 20894 h 20936"/>
              <a:gd name="connsiteX9" fmla="*/ 17814 w 17879"/>
              <a:gd name="connsiteY9" fmla="*/ 20914 h 20936"/>
              <a:gd name="connsiteX10" fmla="*/ 17834 w 17879"/>
              <a:gd name="connsiteY10" fmla="*/ 18892 h 20936"/>
              <a:gd name="connsiteX11" fmla="*/ 17878 w 17879"/>
              <a:gd name="connsiteY11" fmla="*/ 14842 h 20936"/>
              <a:gd name="connsiteX12" fmla="*/ 17859 w 17879"/>
              <a:gd name="connsiteY12" fmla="*/ 5414 h 20936"/>
              <a:gd name="connsiteX13" fmla="*/ 15508 w 17879"/>
              <a:gd name="connsiteY13" fmla="*/ 2919 h 20936"/>
              <a:gd name="connsiteX14" fmla="*/ 15091 w 17879"/>
              <a:gd name="connsiteY14" fmla="*/ 2553 h 20936"/>
              <a:gd name="connsiteX15" fmla="*/ 13043 w 17879"/>
              <a:gd name="connsiteY15" fmla="*/ 1180 h 20936"/>
              <a:gd name="connsiteX16" fmla="*/ 10864 w 17879"/>
              <a:gd name="connsiteY16" fmla="*/ 188 h 20936"/>
              <a:gd name="connsiteX17" fmla="*/ 10345 w 17879"/>
              <a:gd name="connsiteY17" fmla="*/ 63 h 20936"/>
              <a:gd name="connsiteX18" fmla="*/ 9835 w 17879"/>
              <a:gd name="connsiteY18" fmla="*/ 0 h 20936"/>
              <a:gd name="connsiteX19" fmla="*/ 9604 w 17879"/>
              <a:gd name="connsiteY19" fmla="*/ 46 h 20936"/>
              <a:gd name="connsiteX20" fmla="*/ 9497 w 17879"/>
              <a:gd name="connsiteY20" fmla="*/ 174 h 20936"/>
              <a:gd name="connsiteX21" fmla="*/ 9565 w 17879"/>
              <a:gd name="connsiteY21" fmla="*/ 321 h 20936"/>
              <a:gd name="connsiteX22" fmla="*/ 9721 w 17879"/>
              <a:gd name="connsiteY22" fmla="*/ 490 h 20936"/>
              <a:gd name="connsiteX23" fmla="*/ 9943 w 17879"/>
              <a:gd name="connsiteY23" fmla="*/ 1358 h 20936"/>
              <a:gd name="connsiteX24" fmla="*/ 9777 w 17879"/>
              <a:gd name="connsiteY24" fmla="*/ 2309 h 20936"/>
              <a:gd name="connsiteX25" fmla="*/ 8940 w 17879"/>
              <a:gd name="connsiteY25" fmla="*/ 4055 h 20936"/>
              <a:gd name="connsiteX26" fmla="*/ 7534 w 17879"/>
              <a:gd name="connsiteY26" fmla="*/ 6018 h 20936"/>
              <a:gd name="connsiteX27" fmla="*/ 6028 w 17879"/>
              <a:gd name="connsiteY27" fmla="*/ 7799 h 20936"/>
              <a:gd name="connsiteX0" fmla="*/ 6028 w 17879"/>
              <a:gd name="connsiteY0" fmla="*/ 7799 h 20914"/>
              <a:gd name="connsiteX1" fmla="*/ 3612 w 17879"/>
              <a:gd name="connsiteY1" fmla="*/ 10665 h 20914"/>
              <a:gd name="connsiteX2" fmla="*/ 1285 w 17879"/>
              <a:gd name="connsiteY2" fmla="*/ 13598 h 20914"/>
              <a:gd name="connsiteX3" fmla="*/ 34 w 17879"/>
              <a:gd name="connsiteY3" fmla="*/ 16246 h 20914"/>
              <a:gd name="connsiteX4" fmla="*/ 178 w 17879"/>
              <a:gd name="connsiteY4" fmla="*/ 17532 h 20914"/>
              <a:gd name="connsiteX5" fmla="*/ 910 w 17879"/>
              <a:gd name="connsiteY5" fmla="*/ 18276 h 20914"/>
              <a:gd name="connsiteX6" fmla="*/ 1838 w 17879"/>
              <a:gd name="connsiteY6" fmla="*/ 18780 h 20914"/>
              <a:gd name="connsiteX7" fmla="*/ 7558 w 17879"/>
              <a:gd name="connsiteY7" fmla="*/ 20642 h 20914"/>
              <a:gd name="connsiteX8" fmla="*/ 11588 w 17879"/>
              <a:gd name="connsiteY8" fmla="*/ 20894 h 20914"/>
              <a:gd name="connsiteX9" fmla="*/ 17814 w 17879"/>
              <a:gd name="connsiteY9" fmla="*/ 20914 h 20914"/>
              <a:gd name="connsiteX10" fmla="*/ 17834 w 17879"/>
              <a:gd name="connsiteY10" fmla="*/ 18892 h 20914"/>
              <a:gd name="connsiteX11" fmla="*/ 17878 w 17879"/>
              <a:gd name="connsiteY11" fmla="*/ 14842 h 20914"/>
              <a:gd name="connsiteX12" fmla="*/ 17859 w 17879"/>
              <a:gd name="connsiteY12" fmla="*/ 5414 h 20914"/>
              <a:gd name="connsiteX13" fmla="*/ 15508 w 17879"/>
              <a:gd name="connsiteY13" fmla="*/ 2919 h 20914"/>
              <a:gd name="connsiteX14" fmla="*/ 15091 w 17879"/>
              <a:gd name="connsiteY14" fmla="*/ 2553 h 20914"/>
              <a:gd name="connsiteX15" fmla="*/ 13043 w 17879"/>
              <a:gd name="connsiteY15" fmla="*/ 1180 h 20914"/>
              <a:gd name="connsiteX16" fmla="*/ 10864 w 17879"/>
              <a:gd name="connsiteY16" fmla="*/ 188 h 20914"/>
              <a:gd name="connsiteX17" fmla="*/ 10345 w 17879"/>
              <a:gd name="connsiteY17" fmla="*/ 63 h 20914"/>
              <a:gd name="connsiteX18" fmla="*/ 9835 w 17879"/>
              <a:gd name="connsiteY18" fmla="*/ 0 h 20914"/>
              <a:gd name="connsiteX19" fmla="*/ 9604 w 17879"/>
              <a:gd name="connsiteY19" fmla="*/ 46 h 20914"/>
              <a:gd name="connsiteX20" fmla="*/ 9497 w 17879"/>
              <a:gd name="connsiteY20" fmla="*/ 174 h 20914"/>
              <a:gd name="connsiteX21" fmla="*/ 9565 w 17879"/>
              <a:gd name="connsiteY21" fmla="*/ 321 h 20914"/>
              <a:gd name="connsiteX22" fmla="*/ 9721 w 17879"/>
              <a:gd name="connsiteY22" fmla="*/ 490 h 20914"/>
              <a:gd name="connsiteX23" fmla="*/ 9943 w 17879"/>
              <a:gd name="connsiteY23" fmla="*/ 1358 h 20914"/>
              <a:gd name="connsiteX24" fmla="*/ 9777 w 17879"/>
              <a:gd name="connsiteY24" fmla="*/ 2309 h 20914"/>
              <a:gd name="connsiteX25" fmla="*/ 8940 w 17879"/>
              <a:gd name="connsiteY25" fmla="*/ 4055 h 20914"/>
              <a:gd name="connsiteX26" fmla="*/ 7534 w 17879"/>
              <a:gd name="connsiteY26" fmla="*/ 6018 h 20914"/>
              <a:gd name="connsiteX27" fmla="*/ 6028 w 17879"/>
              <a:gd name="connsiteY27" fmla="*/ 7799 h 20914"/>
              <a:gd name="connsiteX0" fmla="*/ 6028 w 17879"/>
              <a:gd name="connsiteY0" fmla="*/ 7799 h 20914"/>
              <a:gd name="connsiteX1" fmla="*/ 3612 w 17879"/>
              <a:gd name="connsiteY1" fmla="*/ 10665 h 20914"/>
              <a:gd name="connsiteX2" fmla="*/ 1285 w 17879"/>
              <a:gd name="connsiteY2" fmla="*/ 13598 h 20914"/>
              <a:gd name="connsiteX3" fmla="*/ 34 w 17879"/>
              <a:gd name="connsiteY3" fmla="*/ 16246 h 20914"/>
              <a:gd name="connsiteX4" fmla="*/ 178 w 17879"/>
              <a:gd name="connsiteY4" fmla="*/ 17532 h 20914"/>
              <a:gd name="connsiteX5" fmla="*/ 910 w 17879"/>
              <a:gd name="connsiteY5" fmla="*/ 18276 h 20914"/>
              <a:gd name="connsiteX6" fmla="*/ 2816 w 17879"/>
              <a:gd name="connsiteY6" fmla="*/ 19221 h 20914"/>
              <a:gd name="connsiteX7" fmla="*/ 7558 w 17879"/>
              <a:gd name="connsiteY7" fmla="*/ 20642 h 20914"/>
              <a:gd name="connsiteX8" fmla="*/ 11588 w 17879"/>
              <a:gd name="connsiteY8" fmla="*/ 20894 h 20914"/>
              <a:gd name="connsiteX9" fmla="*/ 17814 w 17879"/>
              <a:gd name="connsiteY9" fmla="*/ 20914 h 20914"/>
              <a:gd name="connsiteX10" fmla="*/ 17834 w 17879"/>
              <a:gd name="connsiteY10" fmla="*/ 18892 h 20914"/>
              <a:gd name="connsiteX11" fmla="*/ 17878 w 17879"/>
              <a:gd name="connsiteY11" fmla="*/ 14842 h 20914"/>
              <a:gd name="connsiteX12" fmla="*/ 17859 w 17879"/>
              <a:gd name="connsiteY12" fmla="*/ 5414 h 20914"/>
              <a:gd name="connsiteX13" fmla="*/ 15508 w 17879"/>
              <a:gd name="connsiteY13" fmla="*/ 2919 h 20914"/>
              <a:gd name="connsiteX14" fmla="*/ 15091 w 17879"/>
              <a:gd name="connsiteY14" fmla="*/ 2553 h 20914"/>
              <a:gd name="connsiteX15" fmla="*/ 13043 w 17879"/>
              <a:gd name="connsiteY15" fmla="*/ 1180 h 20914"/>
              <a:gd name="connsiteX16" fmla="*/ 10864 w 17879"/>
              <a:gd name="connsiteY16" fmla="*/ 188 h 20914"/>
              <a:gd name="connsiteX17" fmla="*/ 10345 w 17879"/>
              <a:gd name="connsiteY17" fmla="*/ 63 h 20914"/>
              <a:gd name="connsiteX18" fmla="*/ 9835 w 17879"/>
              <a:gd name="connsiteY18" fmla="*/ 0 h 20914"/>
              <a:gd name="connsiteX19" fmla="*/ 9604 w 17879"/>
              <a:gd name="connsiteY19" fmla="*/ 46 h 20914"/>
              <a:gd name="connsiteX20" fmla="*/ 9497 w 17879"/>
              <a:gd name="connsiteY20" fmla="*/ 174 h 20914"/>
              <a:gd name="connsiteX21" fmla="*/ 9565 w 17879"/>
              <a:gd name="connsiteY21" fmla="*/ 321 h 20914"/>
              <a:gd name="connsiteX22" fmla="*/ 9721 w 17879"/>
              <a:gd name="connsiteY22" fmla="*/ 490 h 20914"/>
              <a:gd name="connsiteX23" fmla="*/ 9943 w 17879"/>
              <a:gd name="connsiteY23" fmla="*/ 1358 h 20914"/>
              <a:gd name="connsiteX24" fmla="*/ 9777 w 17879"/>
              <a:gd name="connsiteY24" fmla="*/ 2309 h 20914"/>
              <a:gd name="connsiteX25" fmla="*/ 8940 w 17879"/>
              <a:gd name="connsiteY25" fmla="*/ 4055 h 20914"/>
              <a:gd name="connsiteX26" fmla="*/ 7534 w 17879"/>
              <a:gd name="connsiteY26" fmla="*/ 6018 h 20914"/>
              <a:gd name="connsiteX27" fmla="*/ 6028 w 17879"/>
              <a:gd name="connsiteY27" fmla="*/ 7799 h 20914"/>
              <a:gd name="connsiteX0" fmla="*/ 6028 w 17879"/>
              <a:gd name="connsiteY0" fmla="*/ 7799 h 20923"/>
              <a:gd name="connsiteX1" fmla="*/ 3612 w 17879"/>
              <a:gd name="connsiteY1" fmla="*/ 10665 h 20923"/>
              <a:gd name="connsiteX2" fmla="*/ 1285 w 17879"/>
              <a:gd name="connsiteY2" fmla="*/ 13598 h 20923"/>
              <a:gd name="connsiteX3" fmla="*/ 34 w 17879"/>
              <a:gd name="connsiteY3" fmla="*/ 16246 h 20923"/>
              <a:gd name="connsiteX4" fmla="*/ 178 w 17879"/>
              <a:gd name="connsiteY4" fmla="*/ 17532 h 20923"/>
              <a:gd name="connsiteX5" fmla="*/ 910 w 17879"/>
              <a:gd name="connsiteY5" fmla="*/ 18276 h 20923"/>
              <a:gd name="connsiteX6" fmla="*/ 2816 w 17879"/>
              <a:gd name="connsiteY6" fmla="*/ 19221 h 20923"/>
              <a:gd name="connsiteX7" fmla="*/ 7558 w 17879"/>
              <a:gd name="connsiteY7" fmla="*/ 20642 h 20923"/>
              <a:gd name="connsiteX8" fmla="*/ 10431 w 17879"/>
              <a:gd name="connsiteY8" fmla="*/ 20913 h 20923"/>
              <a:gd name="connsiteX9" fmla="*/ 17814 w 17879"/>
              <a:gd name="connsiteY9" fmla="*/ 20914 h 20923"/>
              <a:gd name="connsiteX10" fmla="*/ 17834 w 17879"/>
              <a:gd name="connsiteY10" fmla="*/ 18892 h 20923"/>
              <a:gd name="connsiteX11" fmla="*/ 17878 w 17879"/>
              <a:gd name="connsiteY11" fmla="*/ 14842 h 20923"/>
              <a:gd name="connsiteX12" fmla="*/ 17859 w 17879"/>
              <a:gd name="connsiteY12" fmla="*/ 5414 h 20923"/>
              <a:gd name="connsiteX13" fmla="*/ 15508 w 17879"/>
              <a:gd name="connsiteY13" fmla="*/ 2919 h 20923"/>
              <a:gd name="connsiteX14" fmla="*/ 15091 w 17879"/>
              <a:gd name="connsiteY14" fmla="*/ 2553 h 20923"/>
              <a:gd name="connsiteX15" fmla="*/ 13043 w 17879"/>
              <a:gd name="connsiteY15" fmla="*/ 1180 h 20923"/>
              <a:gd name="connsiteX16" fmla="*/ 10864 w 17879"/>
              <a:gd name="connsiteY16" fmla="*/ 188 h 20923"/>
              <a:gd name="connsiteX17" fmla="*/ 10345 w 17879"/>
              <a:gd name="connsiteY17" fmla="*/ 63 h 20923"/>
              <a:gd name="connsiteX18" fmla="*/ 9835 w 17879"/>
              <a:gd name="connsiteY18" fmla="*/ 0 h 20923"/>
              <a:gd name="connsiteX19" fmla="*/ 9604 w 17879"/>
              <a:gd name="connsiteY19" fmla="*/ 46 h 20923"/>
              <a:gd name="connsiteX20" fmla="*/ 9497 w 17879"/>
              <a:gd name="connsiteY20" fmla="*/ 174 h 20923"/>
              <a:gd name="connsiteX21" fmla="*/ 9565 w 17879"/>
              <a:gd name="connsiteY21" fmla="*/ 321 h 20923"/>
              <a:gd name="connsiteX22" fmla="*/ 9721 w 17879"/>
              <a:gd name="connsiteY22" fmla="*/ 490 h 20923"/>
              <a:gd name="connsiteX23" fmla="*/ 9943 w 17879"/>
              <a:gd name="connsiteY23" fmla="*/ 1358 h 20923"/>
              <a:gd name="connsiteX24" fmla="*/ 9777 w 17879"/>
              <a:gd name="connsiteY24" fmla="*/ 2309 h 20923"/>
              <a:gd name="connsiteX25" fmla="*/ 8940 w 17879"/>
              <a:gd name="connsiteY25" fmla="*/ 4055 h 20923"/>
              <a:gd name="connsiteX26" fmla="*/ 7534 w 17879"/>
              <a:gd name="connsiteY26" fmla="*/ 6018 h 20923"/>
              <a:gd name="connsiteX27" fmla="*/ 6028 w 17879"/>
              <a:gd name="connsiteY27" fmla="*/ 7799 h 20923"/>
              <a:gd name="connsiteX0" fmla="*/ 6028 w 17879"/>
              <a:gd name="connsiteY0" fmla="*/ 7799 h 20923"/>
              <a:gd name="connsiteX1" fmla="*/ 3612 w 17879"/>
              <a:gd name="connsiteY1" fmla="*/ 10665 h 20923"/>
              <a:gd name="connsiteX2" fmla="*/ 1285 w 17879"/>
              <a:gd name="connsiteY2" fmla="*/ 13598 h 20923"/>
              <a:gd name="connsiteX3" fmla="*/ 34 w 17879"/>
              <a:gd name="connsiteY3" fmla="*/ 16246 h 20923"/>
              <a:gd name="connsiteX4" fmla="*/ 178 w 17879"/>
              <a:gd name="connsiteY4" fmla="*/ 17532 h 20923"/>
              <a:gd name="connsiteX5" fmla="*/ 910 w 17879"/>
              <a:gd name="connsiteY5" fmla="*/ 18276 h 20923"/>
              <a:gd name="connsiteX6" fmla="*/ 2816 w 17879"/>
              <a:gd name="connsiteY6" fmla="*/ 19221 h 20923"/>
              <a:gd name="connsiteX7" fmla="*/ 7558 w 17879"/>
              <a:gd name="connsiteY7" fmla="*/ 20642 h 20923"/>
              <a:gd name="connsiteX8" fmla="*/ 10431 w 17879"/>
              <a:gd name="connsiteY8" fmla="*/ 20913 h 20923"/>
              <a:gd name="connsiteX9" fmla="*/ 17814 w 17879"/>
              <a:gd name="connsiteY9" fmla="*/ 20914 h 20923"/>
              <a:gd name="connsiteX10" fmla="*/ 17834 w 17879"/>
              <a:gd name="connsiteY10" fmla="*/ 18892 h 20923"/>
              <a:gd name="connsiteX11" fmla="*/ 17878 w 17879"/>
              <a:gd name="connsiteY11" fmla="*/ 14842 h 20923"/>
              <a:gd name="connsiteX12" fmla="*/ 17859 w 17879"/>
              <a:gd name="connsiteY12" fmla="*/ 5414 h 20923"/>
              <a:gd name="connsiteX13" fmla="*/ 15508 w 17879"/>
              <a:gd name="connsiteY13" fmla="*/ 2919 h 20923"/>
              <a:gd name="connsiteX14" fmla="*/ 15091 w 17879"/>
              <a:gd name="connsiteY14" fmla="*/ 2553 h 20923"/>
              <a:gd name="connsiteX15" fmla="*/ 13043 w 17879"/>
              <a:gd name="connsiteY15" fmla="*/ 1180 h 20923"/>
              <a:gd name="connsiteX16" fmla="*/ 10864 w 17879"/>
              <a:gd name="connsiteY16" fmla="*/ 188 h 20923"/>
              <a:gd name="connsiteX17" fmla="*/ 10345 w 17879"/>
              <a:gd name="connsiteY17" fmla="*/ 63 h 20923"/>
              <a:gd name="connsiteX18" fmla="*/ 9835 w 17879"/>
              <a:gd name="connsiteY18" fmla="*/ 0 h 20923"/>
              <a:gd name="connsiteX19" fmla="*/ 9604 w 17879"/>
              <a:gd name="connsiteY19" fmla="*/ 46 h 20923"/>
              <a:gd name="connsiteX20" fmla="*/ 9497 w 17879"/>
              <a:gd name="connsiteY20" fmla="*/ 174 h 20923"/>
              <a:gd name="connsiteX21" fmla="*/ 9565 w 17879"/>
              <a:gd name="connsiteY21" fmla="*/ 321 h 20923"/>
              <a:gd name="connsiteX22" fmla="*/ 9721 w 17879"/>
              <a:gd name="connsiteY22" fmla="*/ 490 h 20923"/>
              <a:gd name="connsiteX23" fmla="*/ 9943 w 17879"/>
              <a:gd name="connsiteY23" fmla="*/ 1358 h 20923"/>
              <a:gd name="connsiteX24" fmla="*/ 9777 w 17879"/>
              <a:gd name="connsiteY24" fmla="*/ 2309 h 20923"/>
              <a:gd name="connsiteX25" fmla="*/ 8940 w 17879"/>
              <a:gd name="connsiteY25" fmla="*/ 4055 h 20923"/>
              <a:gd name="connsiteX26" fmla="*/ 7534 w 17879"/>
              <a:gd name="connsiteY26" fmla="*/ 6018 h 20923"/>
              <a:gd name="connsiteX27" fmla="*/ 6028 w 17879"/>
              <a:gd name="connsiteY27" fmla="*/ 7799 h 20923"/>
              <a:gd name="connsiteX0" fmla="*/ 6028 w 17879"/>
              <a:gd name="connsiteY0" fmla="*/ 7799 h 20960"/>
              <a:gd name="connsiteX1" fmla="*/ 3612 w 17879"/>
              <a:gd name="connsiteY1" fmla="*/ 10665 h 20960"/>
              <a:gd name="connsiteX2" fmla="*/ 1285 w 17879"/>
              <a:gd name="connsiteY2" fmla="*/ 13598 h 20960"/>
              <a:gd name="connsiteX3" fmla="*/ 34 w 17879"/>
              <a:gd name="connsiteY3" fmla="*/ 16246 h 20960"/>
              <a:gd name="connsiteX4" fmla="*/ 178 w 17879"/>
              <a:gd name="connsiteY4" fmla="*/ 17532 h 20960"/>
              <a:gd name="connsiteX5" fmla="*/ 910 w 17879"/>
              <a:gd name="connsiteY5" fmla="*/ 18276 h 20960"/>
              <a:gd name="connsiteX6" fmla="*/ 2816 w 17879"/>
              <a:gd name="connsiteY6" fmla="*/ 19221 h 20960"/>
              <a:gd name="connsiteX7" fmla="*/ 7558 w 17879"/>
              <a:gd name="connsiteY7" fmla="*/ 20642 h 20960"/>
              <a:gd name="connsiteX8" fmla="*/ 10431 w 17879"/>
              <a:gd name="connsiteY8" fmla="*/ 20913 h 20960"/>
              <a:gd name="connsiteX9" fmla="*/ 17795 w 17879"/>
              <a:gd name="connsiteY9" fmla="*/ 20960 h 20960"/>
              <a:gd name="connsiteX10" fmla="*/ 17834 w 17879"/>
              <a:gd name="connsiteY10" fmla="*/ 18892 h 20960"/>
              <a:gd name="connsiteX11" fmla="*/ 17878 w 17879"/>
              <a:gd name="connsiteY11" fmla="*/ 14842 h 20960"/>
              <a:gd name="connsiteX12" fmla="*/ 17859 w 17879"/>
              <a:gd name="connsiteY12" fmla="*/ 5414 h 20960"/>
              <a:gd name="connsiteX13" fmla="*/ 15508 w 17879"/>
              <a:gd name="connsiteY13" fmla="*/ 2919 h 20960"/>
              <a:gd name="connsiteX14" fmla="*/ 15091 w 17879"/>
              <a:gd name="connsiteY14" fmla="*/ 2553 h 20960"/>
              <a:gd name="connsiteX15" fmla="*/ 13043 w 17879"/>
              <a:gd name="connsiteY15" fmla="*/ 1180 h 20960"/>
              <a:gd name="connsiteX16" fmla="*/ 10864 w 17879"/>
              <a:gd name="connsiteY16" fmla="*/ 188 h 20960"/>
              <a:gd name="connsiteX17" fmla="*/ 10345 w 17879"/>
              <a:gd name="connsiteY17" fmla="*/ 63 h 20960"/>
              <a:gd name="connsiteX18" fmla="*/ 9835 w 17879"/>
              <a:gd name="connsiteY18" fmla="*/ 0 h 20960"/>
              <a:gd name="connsiteX19" fmla="*/ 9604 w 17879"/>
              <a:gd name="connsiteY19" fmla="*/ 46 h 20960"/>
              <a:gd name="connsiteX20" fmla="*/ 9497 w 17879"/>
              <a:gd name="connsiteY20" fmla="*/ 174 h 20960"/>
              <a:gd name="connsiteX21" fmla="*/ 9565 w 17879"/>
              <a:gd name="connsiteY21" fmla="*/ 321 h 20960"/>
              <a:gd name="connsiteX22" fmla="*/ 9721 w 17879"/>
              <a:gd name="connsiteY22" fmla="*/ 490 h 20960"/>
              <a:gd name="connsiteX23" fmla="*/ 9943 w 17879"/>
              <a:gd name="connsiteY23" fmla="*/ 1358 h 20960"/>
              <a:gd name="connsiteX24" fmla="*/ 9777 w 17879"/>
              <a:gd name="connsiteY24" fmla="*/ 2309 h 20960"/>
              <a:gd name="connsiteX25" fmla="*/ 8940 w 17879"/>
              <a:gd name="connsiteY25" fmla="*/ 4055 h 20960"/>
              <a:gd name="connsiteX26" fmla="*/ 7534 w 17879"/>
              <a:gd name="connsiteY26" fmla="*/ 6018 h 20960"/>
              <a:gd name="connsiteX27" fmla="*/ 6028 w 17879"/>
              <a:gd name="connsiteY27" fmla="*/ 7799 h 20960"/>
              <a:gd name="connsiteX0" fmla="*/ 6028 w 17879"/>
              <a:gd name="connsiteY0" fmla="*/ 7799 h 20977"/>
              <a:gd name="connsiteX1" fmla="*/ 3612 w 17879"/>
              <a:gd name="connsiteY1" fmla="*/ 10665 h 20977"/>
              <a:gd name="connsiteX2" fmla="*/ 1285 w 17879"/>
              <a:gd name="connsiteY2" fmla="*/ 13598 h 20977"/>
              <a:gd name="connsiteX3" fmla="*/ 34 w 17879"/>
              <a:gd name="connsiteY3" fmla="*/ 16246 h 20977"/>
              <a:gd name="connsiteX4" fmla="*/ 178 w 17879"/>
              <a:gd name="connsiteY4" fmla="*/ 17532 h 20977"/>
              <a:gd name="connsiteX5" fmla="*/ 910 w 17879"/>
              <a:gd name="connsiteY5" fmla="*/ 18276 h 20977"/>
              <a:gd name="connsiteX6" fmla="*/ 2816 w 17879"/>
              <a:gd name="connsiteY6" fmla="*/ 19221 h 20977"/>
              <a:gd name="connsiteX7" fmla="*/ 7558 w 17879"/>
              <a:gd name="connsiteY7" fmla="*/ 20642 h 20977"/>
              <a:gd name="connsiteX8" fmla="*/ 10431 w 17879"/>
              <a:gd name="connsiteY8" fmla="*/ 20913 h 20977"/>
              <a:gd name="connsiteX9" fmla="*/ 17795 w 17879"/>
              <a:gd name="connsiteY9" fmla="*/ 20960 h 20977"/>
              <a:gd name="connsiteX10" fmla="*/ 17834 w 17879"/>
              <a:gd name="connsiteY10" fmla="*/ 18892 h 20977"/>
              <a:gd name="connsiteX11" fmla="*/ 17878 w 17879"/>
              <a:gd name="connsiteY11" fmla="*/ 14842 h 20977"/>
              <a:gd name="connsiteX12" fmla="*/ 17859 w 17879"/>
              <a:gd name="connsiteY12" fmla="*/ 5414 h 20977"/>
              <a:gd name="connsiteX13" fmla="*/ 15508 w 17879"/>
              <a:gd name="connsiteY13" fmla="*/ 2919 h 20977"/>
              <a:gd name="connsiteX14" fmla="*/ 15091 w 17879"/>
              <a:gd name="connsiteY14" fmla="*/ 2553 h 20977"/>
              <a:gd name="connsiteX15" fmla="*/ 13043 w 17879"/>
              <a:gd name="connsiteY15" fmla="*/ 1180 h 20977"/>
              <a:gd name="connsiteX16" fmla="*/ 10864 w 17879"/>
              <a:gd name="connsiteY16" fmla="*/ 188 h 20977"/>
              <a:gd name="connsiteX17" fmla="*/ 10345 w 17879"/>
              <a:gd name="connsiteY17" fmla="*/ 63 h 20977"/>
              <a:gd name="connsiteX18" fmla="*/ 9835 w 17879"/>
              <a:gd name="connsiteY18" fmla="*/ 0 h 20977"/>
              <a:gd name="connsiteX19" fmla="*/ 9604 w 17879"/>
              <a:gd name="connsiteY19" fmla="*/ 46 h 20977"/>
              <a:gd name="connsiteX20" fmla="*/ 9497 w 17879"/>
              <a:gd name="connsiteY20" fmla="*/ 174 h 20977"/>
              <a:gd name="connsiteX21" fmla="*/ 9565 w 17879"/>
              <a:gd name="connsiteY21" fmla="*/ 321 h 20977"/>
              <a:gd name="connsiteX22" fmla="*/ 9721 w 17879"/>
              <a:gd name="connsiteY22" fmla="*/ 490 h 20977"/>
              <a:gd name="connsiteX23" fmla="*/ 9943 w 17879"/>
              <a:gd name="connsiteY23" fmla="*/ 1358 h 20977"/>
              <a:gd name="connsiteX24" fmla="*/ 9777 w 17879"/>
              <a:gd name="connsiteY24" fmla="*/ 2309 h 20977"/>
              <a:gd name="connsiteX25" fmla="*/ 8940 w 17879"/>
              <a:gd name="connsiteY25" fmla="*/ 4055 h 20977"/>
              <a:gd name="connsiteX26" fmla="*/ 7534 w 17879"/>
              <a:gd name="connsiteY26" fmla="*/ 6018 h 20977"/>
              <a:gd name="connsiteX27" fmla="*/ 6028 w 17879"/>
              <a:gd name="connsiteY27" fmla="*/ 7799 h 20977"/>
              <a:gd name="connsiteX0" fmla="*/ 6028 w 17879"/>
              <a:gd name="connsiteY0" fmla="*/ 7799 h 20977"/>
              <a:gd name="connsiteX1" fmla="*/ 3612 w 17879"/>
              <a:gd name="connsiteY1" fmla="*/ 10665 h 20977"/>
              <a:gd name="connsiteX2" fmla="*/ 1285 w 17879"/>
              <a:gd name="connsiteY2" fmla="*/ 13598 h 20977"/>
              <a:gd name="connsiteX3" fmla="*/ 34 w 17879"/>
              <a:gd name="connsiteY3" fmla="*/ 16246 h 20977"/>
              <a:gd name="connsiteX4" fmla="*/ 178 w 17879"/>
              <a:gd name="connsiteY4" fmla="*/ 17532 h 20977"/>
              <a:gd name="connsiteX5" fmla="*/ 910 w 17879"/>
              <a:gd name="connsiteY5" fmla="*/ 18276 h 20977"/>
              <a:gd name="connsiteX6" fmla="*/ 2816 w 17879"/>
              <a:gd name="connsiteY6" fmla="*/ 19221 h 20977"/>
              <a:gd name="connsiteX7" fmla="*/ 7558 w 17879"/>
              <a:gd name="connsiteY7" fmla="*/ 20642 h 20977"/>
              <a:gd name="connsiteX8" fmla="*/ 10431 w 17879"/>
              <a:gd name="connsiteY8" fmla="*/ 20913 h 20977"/>
              <a:gd name="connsiteX9" fmla="*/ 17853 w 17879"/>
              <a:gd name="connsiteY9" fmla="*/ 20960 h 20977"/>
              <a:gd name="connsiteX10" fmla="*/ 17834 w 17879"/>
              <a:gd name="connsiteY10" fmla="*/ 18892 h 20977"/>
              <a:gd name="connsiteX11" fmla="*/ 17878 w 17879"/>
              <a:gd name="connsiteY11" fmla="*/ 14842 h 20977"/>
              <a:gd name="connsiteX12" fmla="*/ 17859 w 17879"/>
              <a:gd name="connsiteY12" fmla="*/ 5414 h 20977"/>
              <a:gd name="connsiteX13" fmla="*/ 15508 w 17879"/>
              <a:gd name="connsiteY13" fmla="*/ 2919 h 20977"/>
              <a:gd name="connsiteX14" fmla="*/ 15091 w 17879"/>
              <a:gd name="connsiteY14" fmla="*/ 2553 h 20977"/>
              <a:gd name="connsiteX15" fmla="*/ 13043 w 17879"/>
              <a:gd name="connsiteY15" fmla="*/ 1180 h 20977"/>
              <a:gd name="connsiteX16" fmla="*/ 10864 w 17879"/>
              <a:gd name="connsiteY16" fmla="*/ 188 h 20977"/>
              <a:gd name="connsiteX17" fmla="*/ 10345 w 17879"/>
              <a:gd name="connsiteY17" fmla="*/ 63 h 20977"/>
              <a:gd name="connsiteX18" fmla="*/ 9835 w 17879"/>
              <a:gd name="connsiteY18" fmla="*/ 0 h 20977"/>
              <a:gd name="connsiteX19" fmla="*/ 9604 w 17879"/>
              <a:gd name="connsiteY19" fmla="*/ 46 h 20977"/>
              <a:gd name="connsiteX20" fmla="*/ 9497 w 17879"/>
              <a:gd name="connsiteY20" fmla="*/ 174 h 20977"/>
              <a:gd name="connsiteX21" fmla="*/ 9565 w 17879"/>
              <a:gd name="connsiteY21" fmla="*/ 321 h 20977"/>
              <a:gd name="connsiteX22" fmla="*/ 9721 w 17879"/>
              <a:gd name="connsiteY22" fmla="*/ 490 h 20977"/>
              <a:gd name="connsiteX23" fmla="*/ 9943 w 17879"/>
              <a:gd name="connsiteY23" fmla="*/ 1358 h 20977"/>
              <a:gd name="connsiteX24" fmla="*/ 9777 w 17879"/>
              <a:gd name="connsiteY24" fmla="*/ 2309 h 20977"/>
              <a:gd name="connsiteX25" fmla="*/ 8940 w 17879"/>
              <a:gd name="connsiteY25" fmla="*/ 4055 h 20977"/>
              <a:gd name="connsiteX26" fmla="*/ 7534 w 17879"/>
              <a:gd name="connsiteY26" fmla="*/ 6018 h 20977"/>
              <a:gd name="connsiteX27" fmla="*/ 6028 w 17879"/>
              <a:gd name="connsiteY27" fmla="*/ 7799 h 20977"/>
              <a:gd name="connsiteX0" fmla="*/ 6028 w 17878"/>
              <a:gd name="connsiteY0" fmla="*/ 7799 h 20977"/>
              <a:gd name="connsiteX1" fmla="*/ 3612 w 17878"/>
              <a:gd name="connsiteY1" fmla="*/ 10665 h 20977"/>
              <a:gd name="connsiteX2" fmla="*/ 1285 w 17878"/>
              <a:gd name="connsiteY2" fmla="*/ 13598 h 20977"/>
              <a:gd name="connsiteX3" fmla="*/ 34 w 17878"/>
              <a:gd name="connsiteY3" fmla="*/ 16246 h 20977"/>
              <a:gd name="connsiteX4" fmla="*/ 178 w 17878"/>
              <a:gd name="connsiteY4" fmla="*/ 17532 h 20977"/>
              <a:gd name="connsiteX5" fmla="*/ 910 w 17878"/>
              <a:gd name="connsiteY5" fmla="*/ 18276 h 20977"/>
              <a:gd name="connsiteX6" fmla="*/ 2816 w 17878"/>
              <a:gd name="connsiteY6" fmla="*/ 19221 h 20977"/>
              <a:gd name="connsiteX7" fmla="*/ 7558 w 17878"/>
              <a:gd name="connsiteY7" fmla="*/ 20642 h 20977"/>
              <a:gd name="connsiteX8" fmla="*/ 10431 w 17878"/>
              <a:gd name="connsiteY8" fmla="*/ 20913 h 20977"/>
              <a:gd name="connsiteX9" fmla="*/ 17853 w 17878"/>
              <a:gd name="connsiteY9" fmla="*/ 20960 h 20977"/>
              <a:gd name="connsiteX10" fmla="*/ 17873 w 17878"/>
              <a:gd name="connsiteY10" fmla="*/ 18823 h 20977"/>
              <a:gd name="connsiteX11" fmla="*/ 17878 w 17878"/>
              <a:gd name="connsiteY11" fmla="*/ 14842 h 20977"/>
              <a:gd name="connsiteX12" fmla="*/ 17859 w 17878"/>
              <a:gd name="connsiteY12" fmla="*/ 5414 h 20977"/>
              <a:gd name="connsiteX13" fmla="*/ 15508 w 17878"/>
              <a:gd name="connsiteY13" fmla="*/ 2919 h 20977"/>
              <a:gd name="connsiteX14" fmla="*/ 15091 w 17878"/>
              <a:gd name="connsiteY14" fmla="*/ 2553 h 20977"/>
              <a:gd name="connsiteX15" fmla="*/ 13043 w 17878"/>
              <a:gd name="connsiteY15" fmla="*/ 1180 h 20977"/>
              <a:gd name="connsiteX16" fmla="*/ 10864 w 17878"/>
              <a:gd name="connsiteY16" fmla="*/ 188 h 20977"/>
              <a:gd name="connsiteX17" fmla="*/ 10345 w 17878"/>
              <a:gd name="connsiteY17" fmla="*/ 63 h 20977"/>
              <a:gd name="connsiteX18" fmla="*/ 9835 w 17878"/>
              <a:gd name="connsiteY18" fmla="*/ 0 h 20977"/>
              <a:gd name="connsiteX19" fmla="*/ 9604 w 17878"/>
              <a:gd name="connsiteY19" fmla="*/ 46 h 20977"/>
              <a:gd name="connsiteX20" fmla="*/ 9497 w 17878"/>
              <a:gd name="connsiteY20" fmla="*/ 174 h 20977"/>
              <a:gd name="connsiteX21" fmla="*/ 9565 w 17878"/>
              <a:gd name="connsiteY21" fmla="*/ 321 h 20977"/>
              <a:gd name="connsiteX22" fmla="*/ 9721 w 17878"/>
              <a:gd name="connsiteY22" fmla="*/ 490 h 20977"/>
              <a:gd name="connsiteX23" fmla="*/ 9943 w 17878"/>
              <a:gd name="connsiteY23" fmla="*/ 1358 h 20977"/>
              <a:gd name="connsiteX24" fmla="*/ 9777 w 17878"/>
              <a:gd name="connsiteY24" fmla="*/ 2309 h 20977"/>
              <a:gd name="connsiteX25" fmla="*/ 8940 w 17878"/>
              <a:gd name="connsiteY25" fmla="*/ 4055 h 20977"/>
              <a:gd name="connsiteX26" fmla="*/ 7534 w 17878"/>
              <a:gd name="connsiteY26" fmla="*/ 6018 h 20977"/>
              <a:gd name="connsiteX27" fmla="*/ 6028 w 17878"/>
              <a:gd name="connsiteY27" fmla="*/ 7799 h 209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17878" h="20977" extrusionOk="0">
                <a:moveTo>
                  <a:pt x="6028" y="7799"/>
                </a:moveTo>
                <a:cubicBezTo>
                  <a:pt x="5213" y="8743"/>
                  <a:pt x="4411" y="9704"/>
                  <a:pt x="3612" y="10665"/>
                </a:cubicBezTo>
                <a:cubicBezTo>
                  <a:pt x="2816" y="11620"/>
                  <a:pt x="2021" y="12577"/>
                  <a:pt x="1285" y="13598"/>
                </a:cubicBezTo>
                <a:cubicBezTo>
                  <a:pt x="721" y="14380"/>
                  <a:pt x="184" y="15226"/>
                  <a:pt x="34" y="16246"/>
                </a:cubicBezTo>
                <a:cubicBezTo>
                  <a:pt x="-30" y="16686"/>
                  <a:pt x="-13" y="17148"/>
                  <a:pt x="178" y="17532"/>
                </a:cubicBezTo>
                <a:cubicBezTo>
                  <a:pt x="350" y="17875"/>
                  <a:pt x="470" y="17994"/>
                  <a:pt x="910" y="18276"/>
                </a:cubicBezTo>
                <a:cubicBezTo>
                  <a:pt x="1350" y="18558"/>
                  <a:pt x="1708" y="18827"/>
                  <a:pt x="2816" y="19221"/>
                </a:cubicBezTo>
                <a:cubicBezTo>
                  <a:pt x="3924" y="19615"/>
                  <a:pt x="5634" y="20242"/>
                  <a:pt x="7558" y="20642"/>
                </a:cubicBezTo>
                <a:cubicBezTo>
                  <a:pt x="9482" y="21042"/>
                  <a:pt x="8715" y="20860"/>
                  <a:pt x="10431" y="20913"/>
                </a:cubicBezTo>
                <a:cubicBezTo>
                  <a:pt x="12147" y="20966"/>
                  <a:pt x="16362" y="21001"/>
                  <a:pt x="17853" y="20960"/>
                </a:cubicBezTo>
                <a:cubicBezTo>
                  <a:pt x="17879" y="20384"/>
                  <a:pt x="17869" y="19843"/>
                  <a:pt x="17873" y="18823"/>
                </a:cubicBezTo>
                <a:cubicBezTo>
                  <a:pt x="17877" y="17803"/>
                  <a:pt x="17880" y="17077"/>
                  <a:pt x="17878" y="14842"/>
                </a:cubicBezTo>
                <a:cubicBezTo>
                  <a:pt x="17876" y="12607"/>
                  <a:pt x="17880" y="5441"/>
                  <a:pt x="17859" y="5414"/>
                </a:cubicBezTo>
                <a:cubicBezTo>
                  <a:pt x="16768" y="4026"/>
                  <a:pt x="15969" y="3396"/>
                  <a:pt x="15508" y="2919"/>
                </a:cubicBezTo>
                <a:cubicBezTo>
                  <a:pt x="15047" y="2442"/>
                  <a:pt x="15232" y="2673"/>
                  <a:pt x="15091" y="2553"/>
                </a:cubicBezTo>
                <a:cubicBezTo>
                  <a:pt x="14427" y="2051"/>
                  <a:pt x="13744" y="1592"/>
                  <a:pt x="13043" y="1180"/>
                </a:cubicBezTo>
                <a:cubicBezTo>
                  <a:pt x="12345" y="769"/>
                  <a:pt x="11625" y="401"/>
                  <a:pt x="10864" y="188"/>
                </a:cubicBezTo>
                <a:cubicBezTo>
                  <a:pt x="10692" y="140"/>
                  <a:pt x="10518" y="100"/>
                  <a:pt x="10345" y="63"/>
                </a:cubicBezTo>
                <a:cubicBezTo>
                  <a:pt x="10176" y="27"/>
                  <a:pt x="10006" y="-5"/>
                  <a:pt x="9835" y="0"/>
                </a:cubicBezTo>
                <a:cubicBezTo>
                  <a:pt x="9754" y="3"/>
                  <a:pt x="9676" y="14"/>
                  <a:pt x="9604" y="46"/>
                </a:cubicBezTo>
                <a:cubicBezTo>
                  <a:pt x="9554" y="69"/>
                  <a:pt x="9504" y="107"/>
                  <a:pt x="9497" y="174"/>
                </a:cubicBezTo>
                <a:cubicBezTo>
                  <a:pt x="9490" y="240"/>
                  <a:pt x="9525" y="281"/>
                  <a:pt x="9565" y="321"/>
                </a:cubicBezTo>
                <a:cubicBezTo>
                  <a:pt x="9615" y="371"/>
                  <a:pt x="9671" y="430"/>
                  <a:pt x="9721" y="490"/>
                </a:cubicBezTo>
                <a:cubicBezTo>
                  <a:pt x="9905" y="713"/>
                  <a:pt x="9952" y="1047"/>
                  <a:pt x="9943" y="1358"/>
                </a:cubicBezTo>
                <a:cubicBezTo>
                  <a:pt x="9934" y="1677"/>
                  <a:pt x="9869" y="2000"/>
                  <a:pt x="9777" y="2309"/>
                </a:cubicBezTo>
                <a:cubicBezTo>
                  <a:pt x="9585" y="2946"/>
                  <a:pt x="9302" y="3536"/>
                  <a:pt x="8940" y="4055"/>
                </a:cubicBezTo>
                <a:cubicBezTo>
                  <a:pt x="8500" y="4738"/>
                  <a:pt x="8031" y="5394"/>
                  <a:pt x="7534" y="6018"/>
                </a:cubicBezTo>
                <a:cubicBezTo>
                  <a:pt x="7047" y="6630"/>
                  <a:pt x="6535" y="7211"/>
                  <a:pt x="6028" y="7799"/>
                </a:cubicBezTo>
                <a:close/>
              </a:path>
            </a:pathLst>
          </a:cu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25400">
            <a:noFill/>
            <a:miter lim="400000"/>
          </a:ln>
        </p:spPr>
        <p:txBody>
          <a:bodyPr lIns="25400" tIns="25400" rIns="25400" bIns="25400" anchor="ctr"/>
          <a:lstStyle/>
          <a:p>
            <a:pPr>
              <a:defRPr sz="2500"/>
            </a:pPr>
            <a:endParaRPr sz="125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07AAFA3-3A62-312F-C071-F5007296C0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740" t="32109" r="8854" b="12344"/>
          <a:stretch/>
        </p:blipFill>
        <p:spPr>
          <a:xfrm>
            <a:off x="4739915" y="-1"/>
            <a:ext cx="7461230" cy="6855003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16B3D84-9E87-63D9-ABC0-06C62F80F60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5A18A9-FB90-4F92-9633-9A2FCB4DF4A0}" type="slidenum">
              <a:rPr lang="pt-PT" smtClean="0"/>
              <a:pPr/>
              <a:t>‹nº›</a:t>
            </a:fld>
            <a:endParaRPr lang="pt-PT" dirty="0"/>
          </a:p>
        </p:txBody>
      </p:sp>
      <p:pic>
        <p:nvPicPr>
          <p:cNvPr id="6" name="Image" descr="Image">
            <a:extLst>
              <a:ext uri="{FF2B5EF4-FFF2-40B4-BE49-F238E27FC236}">
                <a16:creationId xmlns:a16="http://schemas.microsoft.com/office/drawing/2014/main" id="{3BE7E261-535B-3167-77C0-DED5382DD91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5637" y="409975"/>
            <a:ext cx="1157293" cy="190501"/>
          </a:xfrm>
          <a:prstGeom prst="rect">
            <a:avLst/>
          </a:prstGeom>
          <a:ln w="12700">
            <a:miter lim="400000"/>
          </a:ln>
        </p:spPr>
      </p:pic>
      <p:sp>
        <p:nvSpPr>
          <p:cNvPr id="9" name="Marcador de Posição do Texto 2">
            <a:extLst>
              <a:ext uri="{FF2B5EF4-FFF2-40B4-BE49-F238E27FC236}">
                <a16:creationId xmlns:a16="http://schemas.microsoft.com/office/drawing/2014/main" id="{8B1DCFE6-9A94-789A-E4DC-51494F92E36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4317" y="2281107"/>
            <a:ext cx="4153056" cy="2445035"/>
          </a:xfrm>
          <a:prstGeom prst="rect">
            <a:avLst/>
          </a:prstGeom>
        </p:spPr>
        <p:txBody>
          <a:bodyPr vert="horz" wrap="none" lIns="0" tIns="45720" rIns="0" bIns="45720" rtlCol="0" anchor="t" anchorCtr="0">
            <a:noAutofit/>
          </a:bodyPr>
          <a:lstStyle>
            <a:lvl1pPr marL="0" indent="0">
              <a:lnSpc>
                <a:spcPts val="3860"/>
              </a:lnSpc>
              <a:buNone/>
              <a:defRPr lang="pt-PT" sz="3200" b="1" baseline="0" dirty="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166682" lvl="0" indent="-342891">
              <a:spcBef>
                <a:spcPct val="0"/>
              </a:spcBef>
            </a:pPr>
            <a:r>
              <a:rPr lang="pt-PT" dirty="0"/>
              <a:t>Título do Separador</a:t>
            </a:r>
          </a:p>
        </p:txBody>
      </p:sp>
      <p:sp useBgFill="1">
        <p:nvSpPr>
          <p:cNvPr id="12" name="Marcador de Posição do Texto 2">
            <a:extLst>
              <a:ext uri="{FF2B5EF4-FFF2-40B4-BE49-F238E27FC236}">
                <a16:creationId xmlns:a16="http://schemas.microsoft.com/office/drawing/2014/main" id="{76232CD6-C395-F87E-2079-8C82E68B65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6835" y="253243"/>
            <a:ext cx="1771431" cy="1876776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pt-PT" sz="15000" b="1" i="0" baseline="0" dirty="0">
                <a:ln w="22225">
                  <a:solidFill>
                    <a:srgbClr val="006531"/>
                  </a:solidFill>
                </a:ln>
                <a:noFill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pt-PT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15069891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dor 3_preto_sem imagem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16B3D84-9E87-63D9-ABC0-06C62F80F60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5A18A9-FB90-4F92-9633-9A2FCB4DF4A0}" type="slidenum">
              <a:rPr lang="pt-PT" smtClean="0"/>
              <a:pPr/>
              <a:t>‹nº›</a:t>
            </a:fld>
            <a:endParaRPr lang="pt-PT" dirty="0"/>
          </a:p>
        </p:txBody>
      </p:sp>
      <p:pic>
        <p:nvPicPr>
          <p:cNvPr id="6" name="Image" descr="Image">
            <a:extLst>
              <a:ext uri="{FF2B5EF4-FFF2-40B4-BE49-F238E27FC236}">
                <a16:creationId xmlns:a16="http://schemas.microsoft.com/office/drawing/2014/main" id="{3BE7E261-535B-3167-77C0-DED5382DD9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5637" y="409975"/>
            <a:ext cx="1157293" cy="190501"/>
          </a:xfrm>
          <a:prstGeom prst="rect">
            <a:avLst/>
          </a:prstGeom>
          <a:ln w="12700">
            <a:miter lim="400000"/>
          </a:ln>
        </p:spPr>
      </p:pic>
      <p:sp>
        <p:nvSpPr>
          <p:cNvPr id="9" name="Marcador de Posição do Texto 2">
            <a:extLst>
              <a:ext uri="{FF2B5EF4-FFF2-40B4-BE49-F238E27FC236}">
                <a16:creationId xmlns:a16="http://schemas.microsoft.com/office/drawing/2014/main" id="{8B1DCFE6-9A94-789A-E4DC-51494F92E36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4317" y="2281107"/>
            <a:ext cx="4153056" cy="2445035"/>
          </a:xfrm>
          <a:prstGeom prst="rect">
            <a:avLst/>
          </a:prstGeom>
        </p:spPr>
        <p:txBody>
          <a:bodyPr vert="horz" wrap="none" lIns="0" tIns="45720" rIns="0" bIns="45720" rtlCol="0" anchor="t" anchorCtr="0">
            <a:noAutofit/>
          </a:bodyPr>
          <a:lstStyle>
            <a:lvl1pPr marL="0" indent="0">
              <a:lnSpc>
                <a:spcPts val="3860"/>
              </a:lnSpc>
              <a:buNone/>
              <a:defRPr lang="pt-PT" sz="3200" b="1" baseline="0" dirty="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166682" lvl="0" indent="-342891">
              <a:spcBef>
                <a:spcPct val="0"/>
              </a:spcBef>
            </a:pPr>
            <a:r>
              <a:rPr lang="pt-PT" dirty="0"/>
              <a:t>Título do Separador</a:t>
            </a:r>
          </a:p>
        </p:txBody>
      </p:sp>
      <p:sp useBgFill="1">
        <p:nvSpPr>
          <p:cNvPr id="12" name="Marcador de Posição do Texto 2">
            <a:extLst>
              <a:ext uri="{FF2B5EF4-FFF2-40B4-BE49-F238E27FC236}">
                <a16:creationId xmlns:a16="http://schemas.microsoft.com/office/drawing/2014/main" id="{76232CD6-C395-F87E-2079-8C82E68B65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6835" y="253243"/>
            <a:ext cx="1771431" cy="1876776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pt-PT" sz="15000" b="1" i="0" baseline="0" dirty="0">
                <a:ln w="22225">
                  <a:solidFill>
                    <a:srgbClr val="006531"/>
                  </a:solidFill>
                </a:ln>
                <a:noFill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pt-PT" dirty="0"/>
              <a:t>3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07AAFA3-3A62-312F-C071-F5007296C0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740" t="32109" r="8854" b="12344"/>
          <a:stretch/>
        </p:blipFill>
        <p:spPr>
          <a:xfrm>
            <a:off x="4739915" y="-1"/>
            <a:ext cx="7461230" cy="68550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67387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dor 3_branco_com imag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">
            <a:extLst>
              <a:ext uri="{FF2B5EF4-FFF2-40B4-BE49-F238E27FC236}">
                <a16:creationId xmlns:a16="http://schemas.microsoft.com/office/drawing/2014/main" id="{153CE842-A67A-0726-D9B3-4E3FAF64E941}"/>
              </a:ext>
            </a:extLst>
          </p:cNvPr>
          <p:cNvSpPr/>
          <p:nvPr userDrawn="1"/>
        </p:nvSpPr>
        <p:spPr>
          <a:xfrm rot="21590702">
            <a:off x="6311924" y="1126726"/>
            <a:ext cx="5886552" cy="5750092"/>
          </a:xfrm>
          <a:custGeom>
            <a:avLst/>
            <a:gdLst>
              <a:gd name="connsiteX0" fmla="*/ 6028 w 21483"/>
              <a:gd name="connsiteY0" fmla="*/ 7799 h 21305"/>
              <a:gd name="connsiteX1" fmla="*/ 3612 w 21483"/>
              <a:gd name="connsiteY1" fmla="*/ 10665 h 21305"/>
              <a:gd name="connsiteX2" fmla="*/ 1285 w 21483"/>
              <a:gd name="connsiteY2" fmla="*/ 13598 h 21305"/>
              <a:gd name="connsiteX3" fmla="*/ 34 w 21483"/>
              <a:gd name="connsiteY3" fmla="*/ 16246 h 21305"/>
              <a:gd name="connsiteX4" fmla="*/ 178 w 21483"/>
              <a:gd name="connsiteY4" fmla="*/ 17532 h 21305"/>
              <a:gd name="connsiteX5" fmla="*/ 910 w 21483"/>
              <a:gd name="connsiteY5" fmla="*/ 18276 h 21305"/>
              <a:gd name="connsiteX6" fmla="*/ 1838 w 21483"/>
              <a:gd name="connsiteY6" fmla="*/ 18780 h 21305"/>
              <a:gd name="connsiteX7" fmla="*/ 5988 w 21483"/>
              <a:gd name="connsiteY7" fmla="*/ 20199 h 21305"/>
              <a:gd name="connsiteX8" fmla="*/ 11701 w 21483"/>
              <a:gd name="connsiteY8" fmla="*/ 21304 h 21305"/>
              <a:gd name="connsiteX9" fmla="*/ 19704 w 21483"/>
              <a:gd name="connsiteY9" fmla="*/ 20435 h 21305"/>
              <a:gd name="connsiteX10" fmla="*/ 20687 w 21483"/>
              <a:gd name="connsiteY10" fmla="*/ 19627 h 21305"/>
              <a:gd name="connsiteX11" fmla="*/ 21147 w 21483"/>
              <a:gd name="connsiteY11" fmla="*/ 18859 h 21305"/>
              <a:gd name="connsiteX12" fmla="*/ 21395 w 21483"/>
              <a:gd name="connsiteY12" fmla="*/ 17913 h 21305"/>
              <a:gd name="connsiteX13" fmla="*/ 21293 w 21483"/>
              <a:gd name="connsiteY13" fmla="*/ 14462 h 21305"/>
              <a:gd name="connsiteX14" fmla="*/ 20149 w 21483"/>
              <a:gd name="connsiteY14" fmla="*/ 9658 h 21305"/>
              <a:gd name="connsiteX15" fmla="*/ 15508 w 21483"/>
              <a:gd name="connsiteY15" fmla="*/ 2919 h 21305"/>
              <a:gd name="connsiteX16" fmla="*/ 15091 w 21483"/>
              <a:gd name="connsiteY16" fmla="*/ 2553 h 21305"/>
              <a:gd name="connsiteX17" fmla="*/ 13043 w 21483"/>
              <a:gd name="connsiteY17" fmla="*/ 1180 h 21305"/>
              <a:gd name="connsiteX18" fmla="*/ 10864 w 21483"/>
              <a:gd name="connsiteY18" fmla="*/ 188 h 21305"/>
              <a:gd name="connsiteX19" fmla="*/ 10345 w 21483"/>
              <a:gd name="connsiteY19" fmla="*/ 63 h 21305"/>
              <a:gd name="connsiteX20" fmla="*/ 9835 w 21483"/>
              <a:gd name="connsiteY20" fmla="*/ 0 h 21305"/>
              <a:gd name="connsiteX21" fmla="*/ 9604 w 21483"/>
              <a:gd name="connsiteY21" fmla="*/ 46 h 21305"/>
              <a:gd name="connsiteX22" fmla="*/ 9497 w 21483"/>
              <a:gd name="connsiteY22" fmla="*/ 174 h 21305"/>
              <a:gd name="connsiteX23" fmla="*/ 9565 w 21483"/>
              <a:gd name="connsiteY23" fmla="*/ 321 h 21305"/>
              <a:gd name="connsiteX24" fmla="*/ 9721 w 21483"/>
              <a:gd name="connsiteY24" fmla="*/ 490 h 21305"/>
              <a:gd name="connsiteX25" fmla="*/ 9943 w 21483"/>
              <a:gd name="connsiteY25" fmla="*/ 1358 h 21305"/>
              <a:gd name="connsiteX26" fmla="*/ 9777 w 21483"/>
              <a:gd name="connsiteY26" fmla="*/ 2309 h 21305"/>
              <a:gd name="connsiteX27" fmla="*/ 8940 w 21483"/>
              <a:gd name="connsiteY27" fmla="*/ 4055 h 21305"/>
              <a:gd name="connsiteX28" fmla="*/ 7534 w 21483"/>
              <a:gd name="connsiteY28" fmla="*/ 6018 h 21305"/>
              <a:gd name="connsiteX29" fmla="*/ 6028 w 21483"/>
              <a:gd name="connsiteY29" fmla="*/ 7799 h 21305"/>
              <a:gd name="connsiteX0" fmla="*/ 6028 w 21483"/>
              <a:gd name="connsiteY0" fmla="*/ 7799 h 21305"/>
              <a:gd name="connsiteX1" fmla="*/ 3612 w 21483"/>
              <a:gd name="connsiteY1" fmla="*/ 10665 h 21305"/>
              <a:gd name="connsiteX2" fmla="*/ 1285 w 21483"/>
              <a:gd name="connsiteY2" fmla="*/ 13598 h 21305"/>
              <a:gd name="connsiteX3" fmla="*/ 34 w 21483"/>
              <a:gd name="connsiteY3" fmla="*/ 16246 h 21305"/>
              <a:gd name="connsiteX4" fmla="*/ 178 w 21483"/>
              <a:gd name="connsiteY4" fmla="*/ 17532 h 21305"/>
              <a:gd name="connsiteX5" fmla="*/ 910 w 21483"/>
              <a:gd name="connsiteY5" fmla="*/ 18276 h 21305"/>
              <a:gd name="connsiteX6" fmla="*/ 1838 w 21483"/>
              <a:gd name="connsiteY6" fmla="*/ 18780 h 21305"/>
              <a:gd name="connsiteX7" fmla="*/ 5988 w 21483"/>
              <a:gd name="connsiteY7" fmla="*/ 20199 h 21305"/>
              <a:gd name="connsiteX8" fmla="*/ 11701 w 21483"/>
              <a:gd name="connsiteY8" fmla="*/ 21304 h 21305"/>
              <a:gd name="connsiteX9" fmla="*/ 19704 w 21483"/>
              <a:gd name="connsiteY9" fmla="*/ 20435 h 21305"/>
              <a:gd name="connsiteX10" fmla="*/ 21147 w 21483"/>
              <a:gd name="connsiteY10" fmla="*/ 18859 h 21305"/>
              <a:gd name="connsiteX11" fmla="*/ 21395 w 21483"/>
              <a:gd name="connsiteY11" fmla="*/ 17913 h 21305"/>
              <a:gd name="connsiteX12" fmla="*/ 21293 w 21483"/>
              <a:gd name="connsiteY12" fmla="*/ 14462 h 21305"/>
              <a:gd name="connsiteX13" fmla="*/ 20149 w 21483"/>
              <a:gd name="connsiteY13" fmla="*/ 9658 h 21305"/>
              <a:gd name="connsiteX14" fmla="*/ 15508 w 21483"/>
              <a:gd name="connsiteY14" fmla="*/ 2919 h 21305"/>
              <a:gd name="connsiteX15" fmla="*/ 15091 w 21483"/>
              <a:gd name="connsiteY15" fmla="*/ 2553 h 21305"/>
              <a:gd name="connsiteX16" fmla="*/ 13043 w 21483"/>
              <a:gd name="connsiteY16" fmla="*/ 1180 h 21305"/>
              <a:gd name="connsiteX17" fmla="*/ 10864 w 21483"/>
              <a:gd name="connsiteY17" fmla="*/ 188 h 21305"/>
              <a:gd name="connsiteX18" fmla="*/ 10345 w 21483"/>
              <a:gd name="connsiteY18" fmla="*/ 63 h 21305"/>
              <a:gd name="connsiteX19" fmla="*/ 9835 w 21483"/>
              <a:gd name="connsiteY19" fmla="*/ 0 h 21305"/>
              <a:gd name="connsiteX20" fmla="*/ 9604 w 21483"/>
              <a:gd name="connsiteY20" fmla="*/ 46 h 21305"/>
              <a:gd name="connsiteX21" fmla="*/ 9497 w 21483"/>
              <a:gd name="connsiteY21" fmla="*/ 174 h 21305"/>
              <a:gd name="connsiteX22" fmla="*/ 9565 w 21483"/>
              <a:gd name="connsiteY22" fmla="*/ 321 h 21305"/>
              <a:gd name="connsiteX23" fmla="*/ 9721 w 21483"/>
              <a:gd name="connsiteY23" fmla="*/ 490 h 21305"/>
              <a:gd name="connsiteX24" fmla="*/ 9943 w 21483"/>
              <a:gd name="connsiteY24" fmla="*/ 1358 h 21305"/>
              <a:gd name="connsiteX25" fmla="*/ 9777 w 21483"/>
              <a:gd name="connsiteY25" fmla="*/ 2309 h 21305"/>
              <a:gd name="connsiteX26" fmla="*/ 8940 w 21483"/>
              <a:gd name="connsiteY26" fmla="*/ 4055 h 21305"/>
              <a:gd name="connsiteX27" fmla="*/ 7534 w 21483"/>
              <a:gd name="connsiteY27" fmla="*/ 6018 h 21305"/>
              <a:gd name="connsiteX28" fmla="*/ 6028 w 21483"/>
              <a:gd name="connsiteY28" fmla="*/ 7799 h 21305"/>
              <a:gd name="connsiteX0" fmla="*/ 6028 w 21587"/>
              <a:gd name="connsiteY0" fmla="*/ 7799 h 21305"/>
              <a:gd name="connsiteX1" fmla="*/ 3612 w 21587"/>
              <a:gd name="connsiteY1" fmla="*/ 10665 h 21305"/>
              <a:gd name="connsiteX2" fmla="*/ 1285 w 21587"/>
              <a:gd name="connsiteY2" fmla="*/ 13598 h 21305"/>
              <a:gd name="connsiteX3" fmla="*/ 34 w 21587"/>
              <a:gd name="connsiteY3" fmla="*/ 16246 h 21305"/>
              <a:gd name="connsiteX4" fmla="*/ 178 w 21587"/>
              <a:gd name="connsiteY4" fmla="*/ 17532 h 21305"/>
              <a:gd name="connsiteX5" fmla="*/ 910 w 21587"/>
              <a:gd name="connsiteY5" fmla="*/ 18276 h 21305"/>
              <a:gd name="connsiteX6" fmla="*/ 1838 w 21587"/>
              <a:gd name="connsiteY6" fmla="*/ 18780 h 21305"/>
              <a:gd name="connsiteX7" fmla="*/ 5988 w 21587"/>
              <a:gd name="connsiteY7" fmla="*/ 20199 h 21305"/>
              <a:gd name="connsiteX8" fmla="*/ 11701 w 21587"/>
              <a:gd name="connsiteY8" fmla="*/ 21304 h 21305"/>
              <a:gd name="connsiteX9" fmla="*/ 19704 w 21587"/>
              <a:gd name="connsiteY9" fmla="*/ 20435 h 21305"/>
              <a:gd name="connsiteX10" fmla="*/ 21147 w 21587"/>
              <a:gd name="connsiteY10" fmla="*/ 18859 h 21305"/>
              <a:gd name="connsiteX11" fmla="*/ 21395 w 21587"/>
              <a:gd name="connsiteY11" fmla="*/ 17913 h 21305"/>
              <a:gd name="connsiteX12" fmla="*/ 21293 w 21587"/>
              <a:gd name="connsiteY12" fmla="*/ 14462 h 21305"/>
              <a:gd name="connsiteX13" fmla="*/ 18572 w 21587"/>
              <a:gd name="connsiteY13" fmla="*/ 7218 h 21305"/>
              <a:gd name="connsiteX14" fmla="*/ 15508 w 21587"/>
              <a:gd name="connsiteY14" fmla="*/ 2919 h 21305"/>
              <a:gd name="connsiteX15" fmla="*/ 15091 w 21587"/>
              <a:gd name="connsiteY15" fmla="*/ 2553 h 21305"/>
              <a:gd name="connsiteX16" fmla="*/ 13043 w 21587"/>
              <a:gd name="connsiteY16" fmla="*/ 1180 h 21305"/>
              <a:gd name="connsiteX17" fmla="*/ 10864 w 21587"/>
              <a:gd name="connsiteY17" fmla="*/ 188 h 21305"/>
              <a:gd name="connsiteX18" fmla="*/ 10345 w 21587"/>
              <a:gd name="connsiteY18" fmla="*/ 63 h 21305"/>
              <a:gd name="connsiteX19" fmla="*/ 9835 w 21587"/>
              <a:gd name="connsiteY19" fmla="*/ 0 h 21305"/>
              <a:gd name="connsiteX20" fmla="*/ 9604 w 21587"/>
              <a:gd name="connsiteY20" fmla="*/ 46 h 21305"/>
              <a:gd name="connsiteX21" fmla="*/ 9497 w 21587"/>
              <a:gd name="connsiteY21" fmla="*/ 174 h 21305"/>
              <a:gd name="connsiteX22" fmla="*/ 9565 w 21587"/>
              <a:gd name="connsiteY22" fmla="*/ 321 h 21305"/>
              <a:gd name="connsiteX23" fmla="*/ 9721 w 21587"/>
              <a:gd name="connsiteY23" fmla="*/ 490 h 21305"/>
              <a:gd name="connsiteX24" fmla="*/ 9943 w 21587"/>
              <a:gd name="connsiteY24" fmla="*/ 1358 h 21305"/>
              <a:gd name="connsiteX25" fmla="*/ 9777 w 21587"/>
              <a:gd name="connsiteY25" fmla="*/ 2309 h 21305"/>
              <a:gd name="connsiteX26" fmla="*/ 8940 w 21587"/>
              <a:gd name="connsiteY26" fmla="*/ 4055 h 21305"/>
              <a:gd name="connsiteX27" fmla="*/ 7534 w 21587"/>
              <a:gd name="connsiteY27" fmla="*/ 6018 h 21305"/>
              <a:gd name="connsiteX28" fmla="*/ 6028 w 21587"/>
              <a:gd name="connsiteY28" fmla="*/ 7799 h 21305"/>
              <a:gd name="connsiteX0" fmla="*/ 6028 w 21600"/>
              <a:gd name="connsiteY0" fmla="*/ 7799 h 21305"/>
              <a:gd name="connsiteX1" fmla="*/ 3612 w 21600"/>
              <a:gd name="connsiteY1" fmla="*/ 10665 h 21305"/>
              <a:gd name="connsiteX2" fmla="*/ 1285 w 21600"/>
              <a:gd name="connsiteY2" fmla="*/ 13598 h 21305"/>
              <a:gd name="connsiteX3" fmla="*/ 34 w 21600"/>
              <a:gd name="connsiteY3" fmla="*/ 16246 h 21305"/>
              <a:gd name="connsiteX4" fmla="*/ 178 w 21600"/>
              <a:gd name="connsiteY4" fmla="*/ 17532 h 21305"/>
              <a:gd name="connsiteX5" fmla="*/ 910 w 21600"/>
              <a:gd name="connsiteY5" fmla="*/ 18276 h 21305"/>
              <a:gd name="connsiteX6" fmla="*/ 1838 w 21600"/>
              <a:gd name="connsiteY6" fmla="*/ 18780 h 21305"/>
              <a:gd name="connsiteX7" fmla="*/ 5988 w 21600"/>
              <a:gd name="connsiteY7" fmla="*/ 20199 h 21305"/>
              <a:gd name="connsiteX8" fmla="*/ 11701 w 21600"/>
              <a:gd name="connsiteY8" fmla="*/ 21304 h 21305"/>
              <a:gd name="connsiteX9" fmla="*/ 19704 w 21600"/>
              <a:gd name="connsiteY9" fmla="*/ 20435 h 21305"/>
              <a:gd name="connsiteX10" fmla="*/ 21147 w 21600"/>
              <a:gd name="connsiteY10" fmla="*/ 18859 h 21305"/>
              <a:gd name="connsiteX11" fmla="*/ 21395 w 21600"/>
              <a:gd name="connsiteY11" fmla="*/ 17913 h 21305"/>
              <a:gd name="connsiteX12" fmla="*/ 21293 w 21600"/>
              <a:gd name="connsiteY12" fmla="*/ 14462 h 21305"/>
              <a:gd name="connsiteX13" fmla="*/ 18379 w 21600"/>
              <a:gd name="connsiteY13" fmla="*/ 6617 h 21305"/>
              <a:gd name="connsiteX14" fmla="*/ 15508 w 21600"/>
              <a:gd name="connsiteY14" fmla="*/ 2919 h 21305"/>
              <a:gd name="connsiteX15" fmla="*/ 15091 w 21600"/>
              <a:gd name="connsiteY15" fmla="*/ 2553 h 21305"/>
              <a:gd name="connsiteX16" fmla="*/ 13043 w 21600"/>
              <a:gd name="connsiteY16" fmla="*/ 1180 h 21305"/>
              <a:gd name="connsiteX17" fmla="*/ 10864 w 21600"/>
              <a:gd name="connsiteY17" fmla="*/ 188 h 21305"/>
              <a:gd name="connsiteX18" fmla="*/ 10345 w 21600"/>
              <a:gd name="connsiteY18" fmla="*/ 63 h 21305"/>
              <a:gd name="connsiteX19" fmla="*/ 9835 w 21600"/>
              <a:gd name="connsiteY19" fmla="*/ 0 h 21305"/>
              <a:gd name="connsiteX20" fmla="*/ 9604 w 21600"/>
              <a:gd name="connsiteY20" fmla="*/ 46 h 21305"/>
              <a:gd name="connsiteX21" fmla="*/ 9497 w 21600"/>
              <a:gd name="connsiteY21" fmla="*/ 174 h 21305"/>
              <a:gd name="connsiteX22" fmla="*/ 9565 w 21600"/>
              <a:gd name="connsiteY22" fmla="*/ 321 h 21305"/>
              <a:gd name="connsiteX23" fmla="*/ 9721 w 21600"/>
              <a:gd name="connsiteY23" fmla="*/ 490 h 21305"/>
              <a:gd name="connsiteX24" fmla="*/ 9943 w 21600"/>
              <a:gd name="connsiteY24" fmla="*/ 1358 h 21305"/>
              <a:gd name="connsiteX25" fmla="*/ 9777 w 21600"/>
              <a:gd name="connsiteY25" fmla="*/ 2309 h 21305"/>
              <a:gd name="connsiteX26" fmla="*/ 8940 w 21600"/>
              <a:gd name="connsiteY26" fmla="*/ 4055 h 21305"/>
              <a:gd name="connsiteX27" fmla="*/ 7534 w 21600"/>
              <a:gd name="connsiteY27" fmla="*/ 6018 h 21305"/>
              <a:gd name="connsiteX28" fmla="*/ 6028 w 21600"/>
              <a:gd name="connsiteY28" fmla="*/ 7799 h 21305"/>
              <a:gd name="connsiteX0" fmla="*/ 6028 w 21600"/>
              <a:gd name="connsiteY0" fmla="*/ 7799 h 21305"/>
              <a:gd name="connsiteX1" fmla="*/ 3612 w 21600"/>
              <a:gd name="connsiteY1" fmla="*/ 10665 h 21305"/>
              <a:gd name="connsiteX2" fmla="*/ 1285 w 21600"/>
              <a:gd name="connsiteY2" fmla="*/ 13598 h 21305"/>
              <a:gd name="connsiteX3" fmla="*/ 34 w 21600"/>
              <a:gd name="connsiteY3" fmla="*/ 16246 h 21305"/>
              <a:gd name="connsiteX4" fmla="*/ 178 w 21600"/>
              <a:gd name="connsiteY4" fmla="*/ 17532 h 21305"/>
              <a:gd name="connsiteX5" fmla="*/ 910 w 21600"/>
              <a:gd name="connsiteY5" fmla="*/ 18276 h 21305"/>
              <a:gd name="connsiteX6" fmla="*/ 1838 w 21600"/>
              <a:gd name="connsiteY6" fmla="*/ 18780 h 21305"/>
              <a:gd name="connsiteX7" fmla="*/ 5988 w 21600"/>
              <a:gd name="connsiteY7" fmla="*/ 20199 h 21305"/>
              <a:gd name="connsiteX8" fmla="*/ 11701 w 21600"/>
              <a:gd name="connsiteY8" fmla="*/ 21304 h 21305"/>
              <a:gd name="connsiteX9" fmla="*/ 19704 w 21600"/>
              <a:gd name="connsiteY9" fmla="*/ 20435 h 21305"/>
              <a:gd name="connsiteX10" fmla="*/ 21147 w 21600"/>
              <a:gd name="connsiteY10" fmla="*/ 18859 h 21305"/>
              <a:gd name="connsiteX11" fmla="*/ 21395 w 21600"/>
              <a:gd name="connsiteY11" fmla="*/ 17913 h 21305"/>
              <a:gd name="connsiteX12" fmla="*/ 21293 w 21600"/>
              <a:gd name="connsiteY12" fmla="*/ 14462 h 21305"/>
              <a:gd name="connsiteX13" fmla="*/ 18379 w 21600"/>
              <a:gd name="connsiteY13" fmla="*/ 6617 h 21305"/>
              <a:gd name="connsiteX14" fmla="*/ 15508 w 21600"/>
              <a:gd name="connsiteY14" fmla="*/ 2919 h 21305"/>
              <a:gd name="connsiteX15" fmla="*/ 15091 w 21600"/>
              <a:gd name="connsiteY15" fmla="*/ 2553 h 21305"/>
              <a:gd name="connsiteX16" fmla="*/ 13043 w 21600"/>
              <a:gd name="connsiteY16" fmla="*/ 1180 h 21305"/>
              <a:gd name="connsiteX17" fmla="*/ 10864 w 21600"/>
              <a:gd name="connsiteY17" fmla="*/ 188 h 21305"/>
              <a:gd name="connsiteX18" fmla="*/ 10345 w 21600"/>
              <a:gd name="connsiteY18" fmla="*/ 63 h 21305"/>
              <a:gd name="connsiteX19" fmla="*/ 9835 w 21600"/>
              <a:gd name="connsiteY19" fmla="*/ 0 h 21305"/>
              <a:gd name="connsiteX20" fmla="*/ 9604 w 21600"/>
              <a:gd name="connsiteY20" fmla="*/ 46 h 21305"/>
              <a:gd name="connsiteX21" fmla="*/ 9497 w 21600"/>
              <a:gd name="connsiteY21" fmla="*/ 174 h 21305"/>
              <a:gd name="connsiteX22" fmla="*/ 9565 w 21600"/>
              <a:gd name="connsiteY22" fmla="*/ 321 h 21305"/>
              <a:gd name="connsiteX23" fmla="*/ 9721 w 21600"/>
              <a:gd name="connsiteY23" fmla="*/ 490 h 21305"/>
              <a:gd name="connsiteX24" fmla="*/ 9943 w 21600"/>
              <a:gd name="connsiteY24" fmla="*/ 1358 h 21305"/>
              <a:gd name="connsiteX25" fmla="*/ 9777 w 21600"/>
              <a:gd name="connsiteY25" fmla="*/ 2309 h 21305"/>
              <a:gd name="connsiteX26" fmla="*/ 8940 w 21600"/>
              <a:gd name="connsiteY26" fmla="*/ 4055 h 21305"/>
              <a:gd name="connsiteX27" fmla="*/ 7534 w 21600"/>
              <a:gd name="connsiteY27" fmla="*/ 6018 h 21305"/>
              <a:gd name="connsiteX28" fmla="*/ 6028 w 21600"/>
              <a:gd name="connsiteY28" fmla="*/ 7799 h 21305"/>
              <a:gd name="connsiteX0" fmla="*/ 6028 w 21622"/>
              <a:gd name="connsiteY0" fmla="*/ 7799 h 21305"/>
              <a:gd name="connsiteX1" fmla="*/ 3612 w 21622"/>
              <a:gd name="connsiteY1" fmla="*/ 10665 h 21305"/>
              <a:gd name="connsiteX2" fmla="*/ 1285 w 21622"/>
              <a:gd name="connsiteY2" fmla="*/ 13598 h 21305"/>
              <a:gd name="connsiteX3" fmla="*/ 34 w 21622"/>
              <a:gd name="connsiteY3" fmla="*/ 16246 h 21305"/>
              <a:gd name="connsiteX4" fmla="*/ 178 w 21622"/>
              <a:gd name="connsiteY4" fmla="*/ 17532 h 21305"/>
              <a:gd name="connsiteX5" fmla="*/ 910 w 21622"/>
              <a:gd name="connsiteY5" fmla="*/ 18276 h 21305"/>
              <a:gd name="connsiteX6" fmla="*/ 1838 w 21622"/>
              <a:gd name="connsiteY6" fmla="*/ 18780 h 21305"/>
              <a:gd name="connsiteX7" fmla="*/ 5988 w 21622"/>
              <a:gd name="connsiteY7" fmla="*/ 20199 h 21305"/>
              <a:gd name="connsiteX8" fmla="*/ 11701 w 21622"/>
              <a:gd name="connsiteY8" fmla="*/ 21304 h 21305"/>
              <a:gd name="connsiteX9" fmla="*/ 19704 w 21622"/>
              <a:gd name="connsiteY9" fmla="*/ 20435 h 21305"/>
              <a:gd name="connsiteX10" fmla="*/ 21147 w 21622"/>
              <a:gd name="connsiteY10" fmla="*/ 18859 h 21305"/>
              <a:gd name="connsiteX11" fmla="*/ 21395 w 21622"/>
              <a:gd name="connsiteY11" fmla="*/ 17913 h 21305"/>
              <a:gd name="connsiteX12" fmla="*/ 21293 w 21622"/>
              <a:gd name="connsiteY12" fmla="*/ 14462 h 21305"/>
              <a:gd name="connsiteX13" fmla="*/ 18045 w 21622"/>
              <a:gd name="connsiteY13" fmla="*/ 6883 h 21305"/>
              <a:gd name="connsiteX14" fmla="*/ 15508 w 21622"/>
              <a:gd name="connsiteY14" fmla="*/ 2919 h 21305"/>
              <a:gd name="connsiteX15" fmla="*/ 15091 w 21622"/>
              <a:gd name="connsiteY15" fmla="*/ 2553 h 21305"/>
              <a:gd name="connsiteX16" fmla="*/ 13043 w 21622"/>
              <a:gd name="connsiteY16" fmla="*/ 1180 h 21305"/>
              <a:gd name="connsiteX17" fmla="*/ 10864 w 21622"/>
              <a:gd name="connsiteY17" fmla="*/ 188 h 21305"/>
              <a:gd name="connsiteX18" fmla="*/ 10345 w 21622"/>
              <a:gd name="connsiteY18" fmla="*/ 63 h 21305"/>
              <a:gd name="connsiteX19" fmla="*/ 9835 w 21622"/>
              <a:gd name="connsiteY19" fmla="*/ 0 h 21305"/>
              <a:gd name="connsiteX20" fmla="*/ 9604 w 21622"/>
              <a:gd name="connsiteY20" fmla="*/ 46 h 21305"/>
              <a:gd name="connsiteX21" fmla="*/ 9497 w 21622"/>
              <a:gd name="connsiteY21" fmla="*/ 174 h 21305"/>
              <a:gd name="connsiteX22" fmla="*/ 9565 w 21622"/>
              <a:gd name="connsiteY22" fmla="*/ 321 h 21305"/>
              <a:gd name="connsiteX23" fmla="*/ 9721 w 21622"/>
              <a:gd name="connsiteY23" fmla="*/ 490 h 21305"/>
              <a:gd name="connsiteX24" fmla="*/ 9943 w 21622"/>
              <a:gd name="connsiteY24" fmla="*/ 1358 h 21305"/>
              <a:gd name="connsiteX25" fmla="*/ 9777 w 21622"/>
              <a:gd name="connsiteY25" fmla="*/ 2309 h 21305"/>
              <a:gd name="connsiteX26" fmla="*/ 8940 w 21622"/>
              <a:gd name="connsiteY26" fmla="*/ 4055 h 21305"/>
              <a:gd name="connsiteX27" fmla="*/ 7534 w 21622"/>
              <a:gd name="connsiteY27" fmla="*/ 6018 h 21305"/>
              <a:gd name="connsiteX28" fmla="*/ 6028 w 21622"/>
              <a:gd name="connsiteY28" fmla="*/ 7799 h 21305"/>
              <a:gd name="connsiteX0" fmla="*/ 6028 w 21615"/>
              <a:gd name="connsiteY0" fmla="*/ 7799 h 21305"/>
              <a:gd name="connsiteX1" fmla="*/ 3612 w 21615"/>
              <a:gd name="connsiteY1" fmla="*/ 10665 h 21305"/>
              <a:gd name="connsiteX2" fmla="*/ 1285 w 21615"/>
              <a:gd name="connsiteY2" fmla="*/ 13598 h 21305"/>
              <a:gd name="connsiteX3" fmla="*/ 34 w 21615"/>
              <a:gd name="connsiteY3" fmla="*/ 16246 h 21305"/>
              <a:gd name="connsiteX4" fmla="*/ 178 w 21615"/>
              <a:gd name="connsiteY4" fmla="*/ 17532 h 21305"/>
              <a:gd name="connsiteX5" fmla="*/ 910 w 21615"/>
              <a:gd name="connsiteY5" fmla="*/ 18276 h 21305"/>
              <a:gd name="connsiteX6" fmla="*/ 1838 w 21615"/>
              <a:gd name="connsiteY6" fmla="*/ 18780 h 21305"/>
              <a:gd name="connsiteX7" fmla="*/ 5988 w 21615"/>
              <a:gd name="connsiteY7" fmla="*/ 20199 h 21305"/>
              <a:gd name="connsiteX8" fmla="*/ 11701 w 21615"/>
              <a:gd name="connsiteY8" fmla="*/ 21304 h 21305"/>
              <a:gd name="connsiteX9" fmla="*/ 19704 w 21615"/>
              <a:gd name="connsiteY9" fmla="*/ 20435 h 21305"/>
              <a:gd name="connsiteX10" fmla="*/ 21147 w 21615"/>
              <a:gd name="connsiteY10" fmla="*/ 18859 h 21305"/>
              <a:gd name="connsiteX11" fmla="*/ 21395 w 21615"/>
              <a:gd name="connsiteY11" fmla="*/ 17913 h 21305"/>
              <a:gd name="connsiteX12" fmla="*/ 21293 w 21615"/>
              <a:gd name="connsiteY12" fmla="*/ 14462 h 21305"/>
              <a:gd name="connsiteX13" fmla="*/ 18157 w 21615"/>
              <a:gd name="connsiteY13" fmla="*/ 6450 h 21305"/>
              <a:gd name="connsiteX14" fmla="*/ 15508 w 21615"/>
              <a:gd name="connsiteY14" fmla="*/ 2919 h 21305"/>
              <a:gd name="connsiteX15" fmla="*/ 15091 w 21615"/>
              <a:gd name="connsiteY15" fmla="*/ 2553 h 21305"/>
              <a:gd name="connsiteX16" fmla="*/ 13043 w 21615"/>
              <a:gd name="connsiteY16" fmla="*/ 1180 h 21305"/>
              <a:gd name="connsiteX17" fmla="*/ 10864 w 21615"/>
              <a:gd name="connsiteY17" fmla="*/ 188 h 21305"/>
              <a:gd name="connsiteX18" fmla="*/ 10345 w 21615"/>
              <a:gd name="connsiteY18" fmla="*/ 63 h 21305"/>
              <a:gd name="connsiteX19" fmla="*/ 9835 w 21615"/>
              <a:gd name="connsiteY19" fmla="*/ 0 h 21305"/>
              <a:gd name="connsiteX20" fmla="*/ 9604 w 21615"/>
              <a:gd name="connsiteY20" fmla="*/ 46 h 21305"/>
              <a:gd name="connsiteX21" fmla="*/ 9497 w 21615"/>
              <a:gd name="connsiteY21" fmla="*/ 174 h 21305"/>
              <a:gd name="connsiteX22" fmla="*/ 9565 w 21615"/>
              <a:gd name="connsiteY22" fmla="*/ 321 h 21305"/>
              <a:gd name="connsiteX23" fmla="*/ 9721 w 21615"/>
              <a:gd name="connsiteY23" fmla="*/ 490 h 21305"/>
              <a:gd name="connsiteX24" fmla="*/ 9943 w 21615"/>
              <a:gd name="connsiteY24" fmla="*/ 1358 h 21305"/>
              <a:gd name="connsiteX25" fmla="*/ 9777 w 21615"/>
              <a:gd name="connsiteY25" fmla="*/ 2309 h 21305"/>
              <a:gd name="connsiteX26" fmla="*/ 8940 w 21615"/>
              <a:gd name="connsiteY26" fmla="*/ 4055 h 21305"/>
              <a:gd name="connsiteX27" fmla="*/ 7534 w 21615"/>
              <a:gd name="connsiteY27" fmla="*/ 6018 h 21305"/>
              <a:gd name="connsiteX28" fmla="*/ 6028 w 21615"/>
              <a:gd name="connsiteY28" fmla="*/ 7799 h 21305"/>
              <a:gd name="connsiteX0" fmla="*/ 6028 w 21643"/>
              <a:gd name="connsiteY0" fmla="*/ 7799 h 21305"/>
              <a:gd name="connsiteX1" fmla="*/ 3612 w 21643"/>
              <a:gd name="connsiteY1" fmla="*/ 10665 h 21305"/>
              <a:gd name="connsiteX2" fmla="*/ 1285 w 21643"/>
              <a:gd name="connsiteY2" fmla="*/ 13598 h 21305"/>
              <a:gd name="connsiteX3" fmla="*/ 34 w 21643"/>
              <a:gd name="connsiteY3" fmla="*/ 16246 h 21305"/>
              <a:gd name="connsiteX4" fmla="*/ 178 w 21643"/>
              <a:gd name="connsiteY4" fmla="*/ 17532 h 21305"/>
              <a:gd name="connsiteX5" fmla="*/ 910 w 21643"/>
              <a:gd name="connsiteY5" fmla="*/ 18276 h 21305"/>
              <a:gd name="connsiteX6" fmla="*/ 1838 w 21643"/>
              <a:gd name="connsiteY6" fmla="*/ 18780 h 21305"/>
              <a:gd name="connsiteX7" fmla="*/ 5988 w 21643"/>
              <a:gd name="connsiteY7" fmla="*/ 20199 h 21305"/>
              <a:gd name="connsiteX8" fmla="*/ 11701 w 21643"/>
              <a:gd name="connsiteY8" fmla="*/ 21304 h 21305"/>
              <a:gd name="connsiteX9" fmla="*/ 19704 w 21643"/>
              <a:gd name="connsiteY9" fmla="*/ 20435 h 21305"/>
              <a:gd name="connsiteX10" fmla="*/ 21147 w 21643"/>
              <a:gd name="connsiteY10" fmla="*/ 18859 h 21305"/>
              <a:gd name="connsiteX11" fmla="*/ 21395 w 21643"/>
              <a:gd name="connsiteY11" fmla="*/ 17913 h 21305"/>
              <a:gd name="connsiteX12" fmla="*/ 21293 w 21643"/>
              <a:gd name="connsiteY12" fmla="*/ 14462 h 21305"/>
              <a:gd name="connsiteX13" fmla="*/ 17743 w 21643"/>
              <a:gd name="connsiteY13" fmla="*/ 5381 h 21305"/>
              <a:gd name="connsiteX14" fmla="*/ 15508 w 21643"/>
              <a:gd name="connsiteY14" fmla="*/ 2919 h 21305"/>
              <a:gd name="connsiteX15" fmla="*/ 15091 w 21643"/>
              <a:gd name="connsiteY15" fmla="*/ 2553 h 21305"/>
              <a:gd name="connsiteX16" fmla="*/ 13043 w 21643"/>
              <a:gd name="connsiteY16" fmla="*/ 1180 h 21305"/>
              <a:gd name="connsiteX17" fmla="*/ 10864 w 21643"/>
              <a:gd name="connsiteY17" fmla="*/ 188 h 21305"/>
              <a:gd name="connsiteX18" fmla="*/ 10345 w 21643"/>
              <a:gd name="connsiteY18" fmla="*/ 63 h 21305"/>
              <a:gd name="connsiteX19" fmla="*/ 9835 w 21643"/>
              <a:gd name="connsiteY19" fmla="*/ 0 h 21305"/>
              <a:gd name="connsiteX20" fmla="*/ 9604 w 21643"/>
              <a:gd name="connsiteY20" fmla="*/ 46 h 21305"/>
              <a:gd name="connsiteX21" fmla="*/ 9497 w 21643"/>
              <a:gd name="connsiteY21" fmla="*/ 174 h 21305"/>
              <a:gd name="connsiteX22" fmla="*/ 9565 w 21643"/>
              <a:gd name="connsiteY22" fmla="*/ 321 h 21305"/>
              <a:gd name="connsiteX23" fmla="*/ 9721 w 21643"/>
              <a:gd name="connsiteY23" fmla="*/ 490 h 21305"/>
              <a:gd name="connsiteX24" fmla="*/ 9943 w 21643"/>
              <a:gd name="connsiteY24" fmla="*/ 1358 h 21305"/>
              <a:gd name="connsiteX25" fmla="*/ 9777 w 21643"/>
              <a:gd name="connsiteY25" fmla="*/ 2309 h 21305"/>
              <a:gd name="connsiteX26" fmla="*/ 8940 w 21643"/>
              <a:gd name="connsiteY26" fmla="*/ 4055 h 21305"/>
              <a:gd name="connsiteX27" fmla="*/ 7534 w 21643"/>
              <a:gd name="connsiteY27" fmla="*/ 6018 h 21305"/>
              <a:gd name="connsiteX28" fmla="*/ 6028 w 21643"/>
              <a:gd name="connsiteY28" fmla="*/ 7799 h 21305"/>
              <a:gd name="connsiteX0" fmla="*/ 6028 w 21643"/>
              <a:gd name="connsiteY0" fmla="*/ 7799 h 21305"/>
              <a:gd name="connsiteX1" fmla="*/ 3612 w 21643"/>
              <a:gd name="connsiteY1" fmla="*/ 10665 h 21305"/>
              <a:gd name="connsiteX2" fmla="*/ 1285 w 21643"/>
              <a:gd name="connsiteY2" fmla="*/ 13598 h 21305"/>
              <a:gd name="connsiteX3" fmla="*/ 34 w 21643"/>
              <a:gd name="connsiteY3" fmla="*/ 16246 h 21305"/>
              <a:gd name="connsiteX4" fmla="*/ 178 w 21643"/>
              <a:gd name="connsiteY4" fmla="*/ 17532 h 21305"/>
              <a:gd name="connsiteX5" fmla="*/ 910 w 21643"/>
              <a:gd name="connsiteY5" fmla="*/ 18276 h 21305"/>
              <a:gd name="connsiteX6" fmla="*/ 1838 w 21643"/>
              <a:gd name="connsiteY6" fmla="*/ 18780 h 21305"/>
              <a:gd name="connsiteX7" fmla="*/ 5988 w 21643"/>
              <a:gd name="connsiteY7" fmla="*/ 20199 h 21305"/>
              <a:gd name="connsiteX8" fmla="*/ 11701 w 21643"/>
              <a:gd name="connsiteY8" fmla="*/ 21304 h 21305"/>
              <a:gd name="connsiteX9" fmla="*/ 19704 w 21643"/>
              <a:gd name="connsiteY9" fmla="*/ 20435 h 21305"/>
              <a:gd name="connsiteX10" fmla="*/ 21147 w 21643"/>
              <a:gd name="connsiteY10" fmla="*/ 18859 h 21305"/>
              <a:gd name="connsiteX11" fmla="*/ 21395 w 21643"/>
              <a:gd name="connsiteY11" fmla="*/ 17913 h 21305"/>
              <a:gd name="connsiteX12" fmla="*/ 21293 w 21643"/>
              <a:gd name="connsiteY12" fmla="*/ 14462 h 21305"/>
              <a:gd name="connsiteX13" fmla="*/ 17743 w 21643"/>
              <a:gd name="connsiteY13" fmla="*/ 5381 h 21305"/>
              <a:gd name="connsiteX14" fmla="*/ 15508 w 21643"/>
              <a:gd name="connsiteY14" fmla="*/ 2919 h 21305"/>
              <a:gd name="connsiteX15" fmla="*/ 15091 w 21643"/>
              <a:gd name="connsiteY15" fmla="*/ 2553 h 21305"/>
              <a:gd name="connsiteX16" fmla="*/ 13043 w 21643"/>
              <a:gd name="connsiteY16" fmla="*/ 1180 h 21305"/>
              <a:gd name="connsiteX17" fmla="*/ 10864 w 21643"/>
              <a:gd name="connsiteY17" fmla="*/ 188 h 21305"/>
              <a:gd name="connsiteX18" fmla="*/ 10345 w 21643"/>
              <a:gd name="connsiteY18" fmla="*/ 63 h 21305"/>
              <a:gd name="connsiteX19" fmla="*/ 9835 w 21643"/>
              <a:gd name="connsiteY19" fmla="*/ 0 h 21305"/>
              <a:gd name="connsiteX20" fmla="*/ 9604 w 21643"/>
              <a:gd name="connsiteY20" fmla="*/ 46 h 21305"/>
              <a:gd name="connsiteX21" fmla="*/ 9497 w 21643"/>
              <a:gd name="connsiteY21" fmla="*/ 174 h 21305"/>
              <a:gd name="connsiteX22" fmla="*/ 9565 w 21643"/>
              <a:gd name="connsiteY22" fmla="*/ 321 h 21305"/>
              <a:gd name="connsiteX23" fmla="*/ 9721 w 21643"/>
              <a:gd name="connsiteY23" fmla="*/ 490 h 21305"/>
              <a:gd name="connsiteX24" fmla="*/ 9943 w 21643"/>
              <a:gd name="connsiteY24" fmla="*/ 1358 h 21305"/>
              <a:gd name="connsiteX25" fmla="*/ 9777 w 21643"/>
              <a:gd name="connsiteY25" fmla="*/ 2309 h 21305"/>
              <a:gd name="connsiteX26" fmla="*/ 8940 w 21643"/>
              <a:gd name="connsiteY26" fmla="*/ 4055 h 21305"/>
              <a:gd name="connsiteX27" fmla="*/ 7534 w 21643"/>
              <a:gd name="connsiteY27" fmla="*/ 6018 h 21305"/>
              <a:gd name="connsiteX28" fmla="*/ 6028 w 21643"/>
              <a:gd name="connsiteY28" fmla="*/ 7799 h 21305"/>
              <a:gd name="connsiteX0" fmla="*/ 6028 w 21555"/>
              <a:gd name="connsiteY0" fmla="*/ 7799 h 21305"/>
              <a:gd name="connsiteX1" fmla="*/ 3612 w 21555"/>
              <a:gd name="connsiteY1" fmla="*/ 10665 h 21305"/>
              <a:gd name="connsiteX2" fmla="*/ 1285 w 21555"/>
              <a:gd name="connsiteY2" fmla="*/ 13598 h 21305"/>
              <a:gd name="connsiteX3" fmla="*/ 34 w 21555"/>
              <a:gd name="connsiteY3" fmla="*/ 16246 h 21305"/>
              <a:gd name="connsiteX4" fmla="*/ 178 w 21555"/>
              <a:gd name="connsiteY4" fmla="*/ 17532 h 21305"/>
              <a:gd name="connsiteX5" fmla="*/ 910 w 21555"/>
              <a:gd name="connsiteY5" fmla="*/ 18276 h 21305"/>
              <a:gd name="connsiteX6" fmla="*/ 1838 w 21555"/>
              <a:gd name="connsiteY6" fmla="*/ 18780 h 21305"/>
              <a:gd name="connsiteX7" fmla="*/ 5988 w 21555"/>
              <a:gd name="connsiteY7" fmla="*/ 20199 h 21305"/>
              <a:gd name="connsiteX8" fmla="*/ 11701 w 21555"/>
              <a:gd name="connsiteY8" fmla="*/ 21304 h 21305"/>
              <a:gd name="connsiteX9" fmla="*/ 19704 w 21555"/>
              <a:gd name="connsiteY9" fmla="*/ 20435 h 21305"/>
              <a:gd name="connsiteX10" fmla="*/ 21147 w 21555"/>
              <a:gd name="connsiteY10" fmla="*/ 18859 h 21305"/>
              <a:gd name="connsiteX11" fmla="*/ 21395 w 21555"/>
              <a:gd name="connsiteY11" fmla="*/ 17913 h 21305"/>
              <a:gd name="connsiteX12" fmla="*/ 18963 w 21555"/>
              <a:gd name="connsiteY12" fmla="*/ 13120 h 21305"/>
              <a:gd name="connsiteX13" fmla="*/ 17743 w 21555"/>
              <a:gd name="connsiteY13" fmla="*/ 5381 h 21305"/>
              <a:gd name="connsiteX14" fmla="*/ 15508 w 21555"/>
              <a:gd name="connsiteY14" fmla="*/ 2919 h 21305"/>
              <a:gd name="connsiteX15" fmla="*/ 15091 w 21555"/>
              <a:gd name="connsiteY15" fmla="*/ 2553 h 21305"/>
              <a:gd name="connsiteX16" fmla="*/ 13043 w 21555"/>
              <a:gd name="connsiteY16" fmla="*/ 1180 h 21305"/>
              <a:gd name="connsiteX17" fmla="*/ 10864 w 21555"/>
              <a:gd name="connsiteY17" fmla="*/ 188 h 21305"/>
              <a:gd name="connsiteX18" fmla="*/ 10345 w 21555"/>
              <a:gd name="connsiteY18" fmla="*/ 63 h 21305"/>
              <a:gd name="connsiteX19" fmla="*/ 9835 w 21555"/>
              <a:gd name="connsiteY19" fmla="*/ 0 h 21305"/>
              <a:gd name="connsiteX20" fmla="*/ 9604 w 21555"/>
              <a:gd name="connsiteY20" fmla="*/ 46 h 21305"/>
              <a:gd name="connsiteX21" fmla="*/ 9497 w 21555"/>
              <a:gd name="connsiteY21" fmla="*/ 174 h 21305"/>
              <a:gd name="connsiteX22" fmla="*/ 9565 w 21555"/>
              <a:gd name="connsiteY22" fmla="*/ 321 h 21305"/>
              <a:gd name="connsiteX23" fmla="*/ 9721 w 21555"/>
              <a:gd name="connsiteY23" fmla="*/ 490 h 21305"/>
              <a:gd name="connsiteX24" fmla="*/ 9943 w 21555"/>
              <a:gd name="connsiteY24" fmla="*/ 1358 h 21305"/>
              <a:gd name="connsiteX25" fmla="*/ 9777 w 21555"/>
              <a:gd name="connsiteY25" fmla="*/ 2309 h 21305"/>
              <a:gd name="connsiteX26" fmla="*/ 8940 w 21555"/>
              <a:gd name="connsiteY26" fmla="*/ 4055 h 21305"/>
              <a:gd name="connsiteX27" fmla="*/ 7534 w 21555"/>
              <a:gd name="connsiteY27" fmla="*/ 6018 h 21305"/>
              <a:gd name="connsiteX28" fmla="*/ 6028 w 21555"/>
              <a:gd name="connsiteY28" fmla="*/ 7799 h 21305"/>
              <a:gd name="connsiteX0" fmla="*/ 6028 w 21195"/>
              <a:gd name="connsiteY0" fmla="*/ 7799 h 21305"/>
              <a:gd name="connsiteX1" fmla="*/ 3612 w 21195"/>
              <a:gd name="connsiteY1" fmla="*/ 10665 h 21305"/>
              <a:gd name="connsiteX2" fmla="*/ 1285 w 21195"/>
              <a:gd name="connsiteY2" fmla="*/ 13598 h 21305"/>
              <a:gd name="connsiteX3" fmla="*/ 34 w 21195"/>
              <a:gd name="connsiteY3" fmla="*/ 16246 h 21305"/>
              <a:gd name="connsiteX4" fmla="*/ 178 w 21195"/>
              <a:gd name="connsiteY4" fmla="*/ 17532 h 21305"/>
              <a:gd name="connsiteX5" fmla="*/ 910 w 21195"/>
              <a:gd name="connsiteY5" fmla="*/ 18276 h 21305"/>
              <a:gd name="connsiteX6" fmla="*/ 1838 w 21195"/>
              <a:gd name="connsiteY6" fmla="*/ 18780 h 21305"/>
              <a:gd name="connsiteX7" fmla="*/ 5988 w 21195"/>
              <a:gd name="connsiteY7" fmla="*/ 20199 h 21305"/>
              <a:gd name="connsiteX8" fmla="*/ 11701 w 21195"/>
              <a:gd name="connsiteY8" fmla="*/ 21304 h 21305"/>
              <a:gd name="connsiteX9" fmla="*/ 19704 w 21195"/>
              <a:gd name="connsiteY9" fmla="*/ 20435 h 21305"/>
              <a:gd name="connsiteX10" fmla="*/ 21147 w 21195"/>
              <a:gd name="connsiteY10" fmla="*/ 18859 h 21305"/>
              <a:gd name="connsiteX11" fmla="*/ 18963 w 21195"/>
              <a:gd name="connsiteY11" fmla="*/ 13120 h 21305"/>
              <a:gd name="connsiteX12" fmla="*/ 17743 w 21195"/>
              <a:gd name="connsiteY12" fmla="*/ 5381 h 21305"/>
              <a:gd name="connsiteX13" fmla="*/ 15508 w 21195"/>
              <a:gd name="connsiteY13" fmla="*/ 2919 h 21305"/>
              <a:gd name="connsiteX14" fmla="*/ 15091 w 21195"/>
              <a:gd name="connsiteY14" fmla="*/ 2553 h 21305"/>
              <a:gd name="connsiteX15" fmla="*/ 13043 w 21195"/>
              <a:gd name="connsiteY15" fmla="*/ 1180 h 21305"/>
              <a:gd name="connsiteX16" fmla="*/ 10864 w 21195"/>
              <a:gd name="connsiteY16" fmla="*/ 188 h 21305"/>
              <a:gd name="connsiteX17" fmla="*/ 10345 w 21195"/>
              <a:gd name="connsiteY17" fmla="*/ 63 h 21305"/>
              <a:gd name="connsiteX18" fmla="*/ 9835 w 21195"/>
              <a:gd name="connsiteY18" fmla="*/ 0 h 21305"/>
              <a:gd name="connsiteX19" fmla="*/ 9604 w 21195"/>
              <a:gd name="connsiteY19" fmla="*/ 46 h 21305"/>
              <a:gd name="connsiteX20" fmla="*/ 9497 w 21195"/>
              <a:gd name="connsiteY20" fmla="*/ 174 h 21305"/>
              <a:gd name="connsiteX21" fmla="*/ 9565 w 21195"/>
              <a:gd name="connsiteY21" fmla="*/ 321 h 21305"/>
              <a:gd name="connsiteX22" fmla="*/ 9721 w 21195"/>
              <a:gd name="connsiteY22" fmla="*/ 490 h 21305"/>
              <a:gd name="connsiteX23" fmla="*/ 9943 w 21195"/>
              <a:gd name="connsiteY23" fmla="*/ 1358 h 21305"/>
              <a:gd name="connsiteX24" fmla="*/ 9777 w 21195"/>
              <a:gd name="connsiteY24" fmla="*/ 2309 h 21305"/>
              <a:gd name="connsiteX25" fmla="*/ 8940 w 21195"/>
              <a:gd name="connsiteY25" fmla="*/ 4055 h 21305"/>
              <a:gd name="connsiteX26" fmla="*/ 7534 w 21195"/>
              <a:gd name="connsiteY26" fmla="*/ 6018 h 21305"/>
              <a:gd name="connsiteX27" fmla="*/ 6028 w 21195"/>
              <a:gd name="connsiteY27" fmla="*/ 7799 h 21305"/>
              <a:gd name="connsiteX0" fmla="*/ 6028 w 21161"/>
              <a:gd name="connsiteY0" fmla="*/ 7799 h 21351"/>
              <a:gd name="connsiteX1" fmla="*/ 3612 w 21161"/>
              <a:gd name="connsiteY1" fmla="*/ 10665 h 21351"/>
              <a:gd name="connsiteX2" fmla="*/ 1285 w 21161"/>
              <a:gd name="connsiteY2" fmla="*/ 13598 h 21351"/>
              <a:gd name="connsiteX3" fmla="*/ 34 w 21161"/>
              <a:gd name="connsiteY3" fmla="*/ 16246 h 21351"/>
              <a:gd name="connsiteX4" fmla="*/ 178 w 21161"/>
              <a:gd name="connsiteY4" fmla="*/ 17532 h 21351"/>
              <a:gd name="connsiteX5" fmla="*/ 910 w 21161"/>
              <a:gd name="connsiteY5" fmla="*/ 18276 h 21351"/>
              <a:gd name="connsiteX6" fmla="*/ 1838 w 21161"/>
              <a:gd name="connsiteY6" fmla="*/ 18780 h 21351"/>
              <a:gd name="connsiteX7" fmla="*/ 5988 w 21161"/>
              <a:gd name="connsiteY7" fmla="*/ 20199 h 21351"/>
              <a:gd name="connsiteX8" fmla="*/ 11701 w 21161"/>
              <a:gd name="connsiteY8" fmla="*/ 21304 h 21351"/>
              <a:gd name="connsiteX9" fmla="*/ 17814 w 21161"/>
              <a:gd name="connsiteY9" fmla="*/ 20996 h 21351"/>
              <a:gd name="connsiteX10" fmla="*/ 21147 w 21161"/>
              <a:gd name="connsiteY10" fmla="*/ 18859 h 21351"/>
              <a:gd name="connsiteX11" fmla="*/ 18963 w 21161"/>
              <a:gd name="connsiteY11" fmla="*/ 13120 h 21351"/>
              <a:gd name="connsiteX12" fmla="*/ 17743 w 21161"/>
              <a:gd name="connsiteY12" fmla="*/ 5381 h 21351"/>
              <a:gd name="connsiteX13" fmla="*/ 15508 w 21161"/>
              <a:gd name="connsiteY13" fmla="*/ 2919 h 21351"/>
              <a:gd name="connsiteX14" fmla="*/ 15091 w 21161"/>
              <a:gd name="connsiteY14" fmla="*/ 2553 h 21351"/>
              <a:gd name="connsiteX15" fmla="*/ 13043 w 21161"/>
              <a:gd name="connsiteY15" fmla="*/ 1180 h 21351"/>
              <a:gd name="connsiteX16" fmla="*/ 10864 w 21161"/>
              <a:gd name="connsiteY16" fmla="*/ 188 h 21351"/>
              <a:gd name="connsiteX17" fmla="*/ 10345 w 21161"/>
              <a:gd name="connsiteY17" fmla="*/ 63 h 21351"/>
              <a:gd name="connsiteX18" fmla="*/ 9835 w 21161"/>
              <a:gd name="connsiteY18" fmla="*/ 0 h 21351"/>
              <a:gd name="connsiteX19" fmla="*/ 9604 w 21161"/>
              <a:gd name="connsiteY19" fmla="*/ 46 h 21351"/>
              <a:gd name="connsiteX20" fmla="*/ 9497 w 21161"/>
              <a:gd name="connsiteY20" fmla="*/ 174 h 21351"/>
              <a:gd name="connsiteX21" fmla="*/ 9565 w 21161"/>
              <a:gd name="connsiteY21" fmla="*/ 321 h 21351"/>
              <a:gd name="connsiteX22" fmla="*/ 9721 w 21161"/>
              <a:gd name="connsiteY22" fmla="*/ 490 h 21351"/>
              <a:gd name="connsiteX23" fmla="*/ 9943 w 21161"/>
              <a:gd name="connsiteY23" fmla="*/ 1358 h 21351"/>
              <a:gd name="connsiteX24" fmla="*/ 9777 w 21161"/>
              <a:gd name="connsiteY24" fmla="*/ 2309 h 21351"/>
              <a:gd name="connsiteX25" fmla="*/ 8940 w 21161"/>
              <a:gd name="connsiteY25" fmla="*/ 4055 h 21351"/>
              <a:gd name="connsiteX26" fmla="*/ 7534 w 21161"/>
              <a:gd name="connsiteY26" fmla="*/ 6018 h 21351"/>
              <a:gd name="connsiteX27" fmla="*/ 6028 w 21161"/>
              <a:gd name="connsiteY27" fmla="*/ 7799 h 21351"/>
              <a:gd name="connsiteX0" fmla="*/ 6028 w 19175"/>
              <a:gd name="connsiteY0" fmla="*/ 7799 h 21351"/>
              <a:gd name="connsiteX1" fmla="*/ 3612 w 19175"/>
              <a:gd name="connsiteY1" fmla="*/ 10665 h 21351"/>
              <a:gd name="connsiteX2" fmla="*/ 1285 w 19175"/>
              <a:gd name="connsiteY2" fmla="*/ 13598 h 21351"/>
              <a:gd name="connsiteX3" fmla="*/ 34 w 19175"/>
              <a:gd name="connsiteY3" fmla="*/ 16246 h 21351"/>
              <a:gd name="connsiteX4" fmla="*/ 178 w 19175"/>
              <a:gd name="connsiteY4" fmla="*/ 17532 h 21351"/>
              <a:gd name="connsiteX5" fmla="*/ 910 w 19175"/>
              <a:gd name="connsiteY5" fmla="*/ 18276 h 21351"/>
              <a:gd name="connsiteX6" fmla="*/ 1838 w 19175"/>
              <a:gd name="connsiteY6" fmla="*/ 18780 h 21351"/>
              <a:gd name="connsiteX7" fmla="*/ 5988 w 19175"/>
              <a:gd name="connsiteY7" fmla="*/ 20199 h 21351"/>
              <a:gd name="connsiteX8" fmla="*/ 11701 w 19175"/>
              <a:gd name="connsiteY8" fmla="*/ 21304 h 21351"/>
              <a:gd name="connsiteX9" fmla="*/ 17814 w 19175"/>
              <a:gd name="connsiteY9" fmla="*/ 20996 h 21351"/>
              <a:gd name="connsiteX10" fmla="*/ 19065 w 19175"/>
              <a:gd name="connsiteY10" fmla="*/ 18485 h 21351"/>
              <a:gd name="connsiteX11" fmla="*/ 18963 w 19175"/>
              <a:gd name="connsiteY11" fmla="*/ 13120 h 21351"/>
              <a:gd name="connsiteX12" fmla="*/ 17743 w 19175"/>
              <a:gd name="connsiteY12" fmla="*/ 5381 h 21351"/>
              <a:gd name="connsiteX13" fmla="*/ 15508 w 19175"/>
              <a:gd name="connsiteY13" fmla="*/ 2919 h 21351"/>
              <a:gd name="connsiteX14" fmla="*/ 15091 w 19175"/>
              <a:gd name="connsiteY14" fmla="*/ 2553 h 21351"/>
              <a:gd name="connsiteX15" fmla="*/ 13043 w 19175"/>
              <a:gd name="connsiteY15" fmla="*/ 1180 h 21351"/>
              <a:gd name="connsiteX16" fmla="*/ 10864 w 19175"/>
              <a:gd name="connsiteY16" fmla="*/ 188 h 21351"/>
              <a:gd name="connsiteX17" fmla="*/ 10345 w 19175"/>
              <a:gd name="connsiteY17" fmla="*/ 63 h 21351"/>
              <a:gd name="connsiteX18" fmla="*/ 9835 w 19175"/>
              <a:gd name="connsiteY18" fmla="*/ 0 h 21351"/>
              <a:gd name="connsiteX19" fmla="*/ 9604 w 19175"/>
              <a:gd name="connsiteY19" fmla="*/ 46 h 21351"/>
              <a:gd name="connsiteX20" fmla="*/ 9497 w 19175"/>
              <a:gd name="connsiteY20" fmla="*/ 174 h 21351"/>
              <a:gd name="connsiteX21" fmla="*/ 9565 w 19175"/>
              <a:gd name="connsiteY21" fmla="*/ 321 h 21351"/>
              <a:gd name="connsiteX22" fmla="*/ 9721 w 19175"/>
              <a:gd name="connsiteY22" fmla="*/ 490 h 21351"/>
              <a:gd name="connsiteX23" fmla="*/ 9943 w 19175"/>
              <a:gd name="connsiteY23" fmla="*/ 1358 h 21351"/>
              <a:gd name="connsiteX24" fmla="*/ 9777 w 19175"/>
              <a:gd name="connsiteY24" fmla="*/ 2309 h 21351"/>
              <a:gd name="connsiteX25" fmla="*/ 8940 w 19175"/>
              <a:gd name="connsiteY25" fmla="*/ 4055 h 21351"/>
              <a:gd name="connsiteX26" fmla="*/ 7534 w 19175"/>
              <a:gd name="connsiteY26" fmla="*/ 6018 h 21351"/>
              <a:gd name="connsiteX27" fmla="*/ 6028 w 19175"/>
              <a:gd name="connsiteY27" fmla="*/ 7799 h 21351"/>
              <a:gd name="connsiteX0" fmla="*/ 6028 w 19082"/>
              <a:gd name="connsiteY0" fmla="*/ 7799 h 21351"/>
              <a:gd name="connsiteX1" fmla="*/ 3612 w 19082"/>
              <a:gd name="connsiteY1" fmla="*/ 10665 h 21351"/>
              <a:gd name="connsiteX2" fmla="*/ 1285 w 19082"/>
              <a:gd name="connsiteY2" fmla="*/ 13598 h 21351"/>
              <a:gd name="connsiteX3" fmla="*/ 34 w 19082"/>
              <a:gd name="connsiteY3" fmla="*/ 16246 h 21351"/>
              <a:gd name="connsiteX4" fmla="*/ 178 w 19082"/>
              <a:gd name="connsiteY4" fmla="*/ 17532 h 21351"/>
              <a:gd name="connsiteX5" fmla="*/ 910 w 19082"/>
              <a:gd name="connsiteY5" fmla="*/ 18276 h 21351"/>
              <a:gd name="connsiteX6" fmla="*/ 1838 w 19082"/>
              <a:gd name="connsiteY6" fmla="*/ 18780 h 21351"/>
              <a:gd name="connsiteX7" fmla="*/ 5988 w 19082"/>
              <a:gd name="connsiteY7" fmla="*/ 20199 h 21351"/>
              <a:gd name="connsiteX8" fmla="*/ 11701 w 19082"/>
              <a:gd name="connsiteY8" fmla="*/ 21304 h 21351"/>
              <a:gd name="connsiteX9" fmla="*/ 17814 w 19082"/>
              <a:gd name="connsiteY9" fmla="*/ 20996 h 21351"/>
              <a:gd name="connsiteX10" fmla="*/ 19065 w 19082"/>
              <a:gd name="connsiteY10" fmla="*/ 18485 h 21351"/>
              <a:gd name="connsiteX11" fmla="*/ 18491 w 19082"/>
              <a:gd name="connsiteY11" fmla="*/ 13185 h 21351"/>
              <a:gd name="connsiteX12" fmla="*/ 17743 w 19082"/>
              <a:gd name="connsiteY12" fmla="*/ 5381 h 21351"/>
              <a:gd name="connsiteX13" fmla="*/ 15508 w 19082"/>
              <a:gd name="connsiteY13" fmla="*/ 2919 h 21351"/>
              <a:gd name="connsiteX14" fmla="*/ 15091 w 19082"/>
              <a:gd name="connsiteY14" fmla="*/ 2553 h 21351"/>
              <a:gd name="connsiteX15" fmla="*/ 13043 w 19082"/>
              <a:gd name="connsiteY15" fmla="*/ 1180 h 21351"/>
              <a:gd name="connsiteX16" fmla="*/ 10864 w 19082"/>
              <a:gd name="connsiteY16" fmla="*/ 188 h 21351"/>
              <a:gd name="connsiteX17" fmla="*/ 10345 w 19082"/>
              <a:gd name="connsiteY17" fmla="*/ 63 h 21351"/>
              <a:gd name="connsiteX18" fmla="*/ 9835 w 19082"/>
              <a:gd name="connsiteY18" fmla="*/ 0 h 21351"/>
              <a:gd name="connsiteX19" fmla="*/ 9604 w 19082"/>
              <a:gd name="connsiteY19" fmla="*/ 46 h 21351"/>
              <a:gd name="connsiteX20" fmla="*/ 9497 w 19082"/>
              <a:gd name="connsiteY20" fmla="*/ 174 h 21351"/>
              <a:gd name="connsiteX21" fmla="*/ 9565 w 19082"/>
              <a:gd name="connsiteY21" fmla="*/ 321 h 21351"/>
              <a:gd name="connsiteX22" fmla="*/ 9721 w 19082"/>
              <a:gd name="connsiteY22" fmla="*/ 490 h 21351"/>
              <a:gd name="connsiteX23" fmla="*/ 9943 w 19082"/>
              <a:gd name="connsiteY23" fmla="*/ 1358 h 21351"/>
              <a:gd name="connsiteX24" fmla="*/ 9777 w 19082"/>
              <a:gd name="connsiteY24" fmla="*/ 2309 h 21351"/>
              <a:gd name="connsiteX25" fmla="*/ 8940 w 19082"/>
              <a:gd name="connsiteY25" fmla="*/ 4055 h 21351"/>
              <a:gd name="connsiteX26" fmla="*/ 7534 w 19082"/>
              <a:gd name="connsiteY26" fmla="*/ 6018 h 21351"/>
              <a:gd name="connsiteX27" fmla="*/ 6028 w 19082"/>
              <a:gd name="connsiteY27" fmla="*/ 7799 h 21351"/>
              <a:gd name="connsiteX0" fmla="*/ 6028 w 19081"/>
              <a:gd name="connsiteY0" fmla="*/ 7799 h 21351"/>
              <a:gd name="connsiteX1" fmla="*/ 3612 w 19081"/>
              <a:gd name="connsiteY1" fmla="*/ 10665 h 21351"/>
              <a:gd name="connsiteX2" fmla="*/ 1285 w 19081"/>
              <a:gd name="connsiteY2" fmla="*/ 13598 h 21351"/>
              <a:gd name="connsiteX3" fmla="*/ 34 w 19081"/>
              <a:gd name="connsiteY3" fmla="*/ 16246 h 21351"/>
              <a:gd name="connsiteX4" fmla="*/ 178 w 19081"/>
              <a:gd name="connsiteY4" fmla="*/ 17532 h 21351"/>
              <a:gd name="connsiteX5" fmla="*/ 910 w 19081"/>
              <a:gd name="connsiteY5" fmla="*/ 18276 h 21351"/>
              <a:gd name="connsiteX6" fmla="*/ 1838 w 19081"/>
              <a:gd name="connsiteY6" fmla="*/ 18780 h 21351"/>
              <a:gd name="connsiteX7" fmla="*/ 5988 w 19081"/>
              <a:gd name="connsiteY7" fmla="*/ 20199 h 21351"/>
              <a:gd name="connsiteX8" fmla="*/ 11701 w 19081"/>
              <a:gd name="connsiteY8" fmla="*/ 21304 h 21351"/>
              <a:gd name="connsiteX9" fmla="*/ 17814 w 19081"/>
              <a:gd name="connsiteY9" fmla="*/ 20996 h 21351"/>
              <a:gd name="connsiteX10" fmla="*/ 19065 w 19081"/>
              <a:gd name="connsiteY10" fmla="*/ 18485 h 21351"/>
              <a:gd name="connsiteX11" fmla="*/ 18491 w 19081"/>
              <a:gd name="connsiteY11" fmla="*/ 13185 h 21351"/>
              <a:gd name="connsiteX12" fmla="*/ 17964 w 19081"/>
              <a:gd name="connsiteY12" fmla="*/ 6049 h 21351"/>
              <a:gd name="connsiteX13" fmla="*/ 15508 w 19081"/>
              <a:gd name="connsiteY13" fmla="*/ 2919 h 21351"/>
              <a:gd name="connsiteX14" fmla="*/ 15091 w 19081"/>
              <a:gd name="connsiteY14" fmla="*/ 2553 h 21351"/>
              <a:gd name="connsiteX15" fmla="*/ 13043 w 19081"/>
              <a:gd name="connsiteY15" fmla="*/ 1180 h 21351"/>
              <a:gd name="connsiteX16" fmla="*/ 10864 w 19081"/>
              <a:gd name="connsiteY16" fmla="*/ 188 h 21351"/>
              <a:gd name="connsiteX17" fmla="*/ 10345 w 19081"/>
              <a:gd name="connsiteY17" fmla="*/ 63 h 21351"/>
              <a:gd name="connsiteX18" fmla="*/ 9835 w 19081"/>
              <a:gd name="connsiteY18" fmla="*/ 0 h 21351"/>
              <a:gd name="connsiteX19" fmla="*/ 9604 w 19081"/>
              <a:gd name="connsiteY19" fmla="*/ 46 h 21351"/>
              <a:gd name="connsiteX20" fmla="*/ 9497 w 19081"/>
              <a:gd name="connsiteY20" fmla="*/ 174 h 21351"/>
              <a:gd name="connsiteX21" fmla="*/ 9565 w 19081"/>
              <a:gd name="connsiteY21" fmla="*/ 321 h 21351"/>
              <a:gd name="connsiteX22" fmla="*/ 9721 w 19081"/>
              <a:gd name="connsiteY22" fmla="*/ 490 h 21351"/>
              <a:gd name="connsiteX23" fmla="*/ 9943 w 19081"/>
              <a:gd name="connsiteY23" fmla="*/ 1358 h 21351"/>
              <a:gd name="connsiteX24" fmla="*/ 9777 w 19081"/>
              <a:gd name="connsiteY24" fmla="*/ 2309 h 21351"/>
              <a:gd name="connsiteX25" fmla="*/ 8940 w 19081"/>
              <a:gd name="connsiteY25" fmla="*/ 4055 h 21351"/>
              <a:gd name="connsiteX26" fmla="*/ 7534 w 19081"/>
              <a:gd name="connsiteY26" fmla="*/ 6018 h 21351"/>
              <a:gd name="connsiteX27" fmla="*/ 6028 w 19081"/>
              <a:gd name="connsiteY27" fmla="*/ 7799 h 21351"/>
              <a:gd name="connsiteX0" fmla="*/ 6028 w 19081"/>
              <a:gd name="connsiteY0" fmla="*/ 7799 h 21351"/>
              <a:gd name="connsiteX1" fmla="*/ 3612 w 19081"/>
              <a:gd name="connsiteY1" fmla="*/ 10665 h 21351"/>
              <a:gd name="connsiteX2" fmla="*/ 1285 w 19081"/>
              <a:gd name="connsiteY2" fmla="*/ 13598 h 21351"/>
              <a:gd name="connsiteX3" fmla="*/ 34 w 19081"/>
              <a:gd name="connsiteY3" fmla="*/ 16246 h 21351"/>
              <a:gd name="connsiteX4" fmla="*/ 178 w 19081"/>
              <a:gd name="connsiteY4" fmla="*/ 17532 h 21351"/>
              <a:gd name="connsiteX5" fmla="*/ 910 w 19081"/>
              <a:gd name="connsiteY5" fmla="*/ 18276 h 21351"/>
              <a:gd name="connsiteX6" fmla="*/ 1838 w 19081"/>
              <a:gd name="connsiteY6" fmla="*/ 18780 h 21351"/>
              <a:gd name="connsiteX7" fmla="*/ 5988 w 19081"/>
              <a:gd name="connsiteY7" fmla="*/ 20199 h 21351"/>
              <a:gd name="connsiteX8" fmla="*/ 11701 w 19081"/>
              <a:gd name="connsiteY8" fmla="*/ 21304 h 21351"/>
              <a:gd name="connsiteX9" fmla="*/ 17814 w 19081"/>
              <a:gd name="connsiteY9" fmla="*/ 20996 h 21351"/>
              <a:gd name="connsiteX10" fmla="*/ 19065 w 19081"/>
              <a:gd name="connsiteY10" fmla="*/ 18485 h 21351"/>
              <a:gd name="connsiteX11" fmla="*/ 18491 w 19081"/>
              <a:gd name="connsiteY11" fmla="*/ 13185 h 21351"/>
              <a:gd name="connsiteX12" fmla="*/ 17964 w 19081"/>
              <a:gd name="connsiteY12" fmla="*/ 6049 h 21351"/>
              <a:gd name="connsiteX13" fmla="*/ 15508 w 19081"/>
              <a:gd name="connsiteY13" fmla="*/ 2919 h 21351"/>
              <a:gd name="connsiteX14" fmla="*/ 15091 w 19081"/>
              <a:gd name="connsiteY14" fmla="*/ 2553 h 21351"/>
              <a:gd name="connsiteX15" fmla="*/ 13043 w 19081"/>
              <a:gd name="connsiteY15" fmla="*/ 1180 h 21351"/>
              <a:gd name="connsiteX16" fmla="*/ 10864 w 19081"/>
              <a:gd name="connsiteY16" fmla="*/ 188 h 21351"/>
              <a:gd name="connsiteX17" fmla="*/ 10345 w 19081"/>
              <a:gd name="connsiteY17" fmla="*/ 63 h 21351"/>
              <a:gd name="connsiteX18" fmla="*/ 9835 w 19081"/>
              <a:gd name="connsiteY18" fmla="*/ 0 h 21351"/>
              <a:gd name="connsiteX19" fmla="*/ 9604 w 19081"/>
              <a:gd name="connsiteY19" fmla="*/ 46 h 21351"/>
              <a:gd name="connsiteX20" fmla="*/ 9497 w 19081"/>
              <a:gd name="connsiteY20" fmla="*/ 174 h 21351"/>
              <a:gd name="connsiteX21" fmla="*/ 9565 w 19081"/>
              <a:gd name="connsiteY21" fmla="*/ 321 h 21351"/>
              <a:gd name="connsiteX22" fmla="*/ 9721 w 19081"/>
              <a:gd name="connsiteY22" fmla="*/ 490 h 21351"/>
              <a:gd name="connsiteX23" fmla="*/ 9943 w 19081"/>
              <a:gd name="connsiteY23" fmla="*/ 1358 h 21351"/>
              <a:gd name="connsiteX24" fmla="*/ 9777 w 19081"/>
              <a:gd name="connsiteY24" fmla="*/ 2309 h 21351"/>
              <a:gd name="connsiteX25" fmla="*/ 8940 w 19081"/>
              <a:gd name="connsiteY25" fmla="*/ 4055 h 21351"/>
              <a:gd name="connsiteX26" fmla="*/ 7534 w 19081"/>
              <a:gd name="connsiteY26" fmla="*/ 6018 h 21351"/>
              <a:gd name="connsiteX27" fmla="*/ 6028 w 19081"/>
              <a:gd name="connsiteY27" fmla="*/ 7799 h 21351"/>
              <a:gd name="connsiteX0" fmla="*/ 6028 w 19081"/>
              <a:gd name="connsiteY0" fmla="*/ 7799 h 21351"/>
              <a:gd name="connsiteX1" fmla="*/ 3612 w 19081"/>
              <a:gd name="connsiteY1" fmla="*/ 10665 h 21351"/>
              <a:gd name="connsiteX2" fmla="*/ 1285 w 19081"/>
              <a:gd name="connsiteY2" fmla="*/ 13598 h 21351"/>
              <a:gd name="connsiteX3" fmla="*/ 34 w 19081"/>
              <a:gd name="connsiteY3" fmla="*/ 16246 h 21351"/>
              <a:gd name="connsiteX4" fmla="*/ 178 w 19081"/>
              <a:gd name="connsiteY4" fmla="*/ 17532 h 21351"/>
              <a:gd name="connsiteX5" fmla="*/ 910 w 19081"/>
              <a:gd name="connsiteY5" fmla="*/ 18276 h 21351"/>
              <a:gd name="connsiteX6" fmla="*/ 1838 w 19081"/>
              <a:gd name="connsiteY6" fmla="*/ 18780 h 21351"/>
              <a:gd name="connsiteX7" fmla="*/ 5988 w 19081"/>
              <a:gd name="connsiteY7" fmla="*/ 20199 h 21351"/>
              <a:gd name="connsiteX8" fmla="*/ 11701 w 19081"/>
              <a:gd name="connsiteY8" fmla="*/ 21304 h 21351"/>
              <a:gd name="connsiteX9" fmla="*/ 17814 w 19081"/>
              <a:gd name="connsiteY9" fmla="*/ 20996 h 21351"/>
              <a:gd name="connsiteX10" fmla="*/ 19065 w 19081"/>
              <a:gd name="connsiteY10" fmla="*/ 18485 h 21351"/>
              <a:gd name="connsiteX11" fmla="*/ 18491 w 19081"/>
              <a:gd name="connsiteY11" fmla="*/ 13185 h 21351"/>
              <a:gd name="connsiteX12" fmla="*/ 17964 w 19081"/>
              <a:gd name="connsiteY12" fmla="*/ 6049 h 21351"/>
              <a:gd name="connsiteX13" fmla="*/ 15508 w 19081"/>
              <a:gd name="connsiteY13" fmla="*/ 2919 h 21351"/>
              <a:gd name="connsiteX14" fmla="*/ 15091 w 19081"/>
              <a:gd name="connsiteY14" fmla="*/ 2553 h 21351"/>
              <a:gd name="connsiteX15" fmla="*/ 13043 w 19081"/>
              <a:gd name="connsiteY15" fmla="*/ 1180 h 21351"/>
              <a:gd name="connsiteX16" fmla="*/ 10864 w 19081"/>
              <a:gd name="connsiteY16" fmla="*/ 188 h 21351"/>
              <a:gd name="connsiteX17" fmla="*/ 10345 w 19081"/>
              <a:gd name="connsiteY17" fmla="*/ 63 h 21351"/>
              <a:gd name="connsiteX18" fmla="*/ 9835 w 19081"/>
              <a:gd name="connsiteY18" fmla="*/ 0 h 21351"/>
              <a:gd name="connsiteX19" fmla="*/ 9604 w 19081"/>
              <a:gd name="connsiteY19" fmla="*/ 46 h 21351"/>
              <a:gd name="connsiteX20" fmla="*/ 9497 w 19081"/>
              <a:gd name="connsiteY20" fmla="*/ 174 h 21351"/>
              <a:gd name="connsiteX21" fmla="*/ 9565 w 19081"/>
              <a:gd name="connsiteY21" fmla="*/ 321 h 21351"/>
              <a:gd name="connsiteX22" fmla="*/ 9721 w 19081"/>
              <a:gd name="connsiteY22" fmla="*/ 490 h 21351"/>
              <a:gd name="connsiteX23" fmla="*/ 9943 w 19081"/>
              <a:gd name="connsiteY23" fmla="*/ 1358 h 21351"/>
              <a:gd name="connsiteX24" fmla="*/ 9777 w 19081"/>
              <a:gd name="connsiteY24" fmla="*/ 2309 h 21351"/>
              <a:gd name="connsiteX25" fmla="*/ 8940 w 19081"/>
              <a:gd name="connsiteY25" fmla="*/ 4055 h 21351"/>
              <a:gd name="connsiteX26" fmla="*/ 7534 w 19081"/>
              <a:gd name="connsiteY26" fmla="*/ 6018 h 21351"/>
              <a:gd name="connsiteX27" fmla="*/ 6028 w 19081"/>
              <a:gd name="connsiteY27" fmla="*/ 7799 h 21351"/>
              <a:gd name="connsiteX0" fmla="*/ 6028 w 19071"/>
              <a:gd name="connsiteY0" fmla="*/ 7799 h 21351"/>
              <a:gd name="connsiteX1" fmla="*/ 3612 w 19071"/>
              <a:gd name="connsiteY1" fmla="*/ 10665 h 21351"/>
              <a:gd name="connsiteX2" fmla="*/ 1285 w 19071"/>
              <a:gd name="connsiteY2" fmla="*/ 13598 h 21351"/>
              <a:gd name="connsiteX3" fmla="*/ 34 w 19071"/>
              <a:gd name="connsiteY3" fmla="*/ 16246 h 21351"/>
              <a:gd name="connsiteX4" fmla="*/ 178 w 19071"/>
              <a:gd name="connsiteY4" fmla="*/ 17532 h 21351"/>
              <a:gd name="connsiteX5" fmla="*/ 910 w 19071"/>
              <a:gd name="connsiteY5" fmla="*/ 18276 h 21351"/>
              <a:gd name="connsiteX6" fmla="*/ 1838 w 19071"/>
              <a:gd name="connsiteY6" fmla="*/ 18780 h 21351"/>
              <a:gd name="connsiteX7" fmla="*/ 5988 w 19071"/>
              <a:gd name="connsiteY7" fmla="*/ 20199 h 21351"/>
              <a:gd name="connsiteX8" fmla="*/ 11701 w 19071"/>
              <a:gd name="connsiteY8" fmla="*/ 21304 h 21351"/>
              <a:gd name="connsiteX9" fmla="*/ 17814 w 19071"/>
              <a:gd name="connsiteY9" fmla="*/ 20996 h 21351"/>
              <a:gd name="connsiteX10" fmla="*/ 19065 w 19071"/>
              <a:gd name="connsiteY10" fmla="*/ 18485 h 21351"/>
              <a:gd name="connsiteX11" fmla="*/ 18101 w 19071"/>
              <a:gd name="connsiteY11" fmla="*/ 13551 h 21351"/>
              <a:gd name="connsiteX12" fmla="*/ 17964 w 19071"/>
              <a:gd name="connsiteY12" fmla="*/ 6049 h 21351"/>
              <a:gd name="connsiteX13" fmla="*/ 15508 w 19071"/>
              <a:gd name="connsiteY13" fmla="*/ 2919 h 21351"/>
              <a:gd name="connsiteX14" fmla="*/ 15091 w 19071"/>
              <a:gd name="connsiteY14" fmla="*/ 2553 h 21351"/>
              <a:gd name="connsiteX15" fmla="*/ 13043 w 19071"/>
              <a:gd name="connsiteY15" fmla="*/ 1180 h 21351"/>
              <a:gd name="connsiteX16" fmla="*/ 10864 w 19071"/>
              <a:gd name="connsiteY16" fmla="*/ 188 h 21351"/>
              <a:gd name="connsiteX17" fmla="*/ 10345 w 19071"/>
              <a:gd name="connsiteY17" fmla="*/ 63 h 21351"/>
              <a:gd name="connsiteX18" fmla="*/ 9835 w 19071"/>
              <a:gd name="connsiteY18" fmla="*/ 0 h 21351"/>
              <a:gd name="connsiteX19" fmla="*/ 9604 w 19071"/>
              <a:gd name="connsiteY19" fmla="*/ 46 h 21351"/>
              <a:gd name="connsiteX20" fmla="*/ 9497 w 19071"/>
              <a:gd name="connsiteY20" fmla="*/ 174 h 21351"/>
              <a:gd name="connsiteX21" fmla="*/ 9565 w 19071"/>
              <a:gd name="connsiteY21" fmla="*/ 321 h 21351"/>
              <a:gd name="connsiteX22" fmla="*/ 9721 w 19071"/>
              <a:gd name="connsiteY22" fmla="*/ 490 h 21351"/>
              <a:gd name="connsiteX23" fmla="*/ 9943 w 19071"/>
              <a:gd name="connsiteY23" fmla="*/ 1358 h 21351"/>
              <a:gd name="connsiteX24" fmla="*/ 9777 w 19071"/>
              <a:gd name="connsiteY24" fmla="*/ 2309 h 21351"/>
              <a:gd name="connsiteX25" fmla="*/ 8940 w 19071"/>
              <a:gd name="connsiteY25" fmla="*/ 4055 h 21351"/>
              <a:gd name="connsiteX26" fmla="*/ 7534 w 19071"/>
              <a:gd name="connsiteY26" fmla="*/ 6018 h 21351"/>
              <a:gd name="connsiteX27" fmla="*/ 6028 w 19071"/>
              <a:gd name="connsiteY27" fmla="*/ 7799 h 21351"/>
              <a:gd name="connsiteX0" fmla="*/ 6028 w 19071"/>
              <a:gd name="connsiteY0" fmla="*/ 7799 h 21351"/>
              <a:gd name="connsiteX1" fmla="*/ 3612 w 19071"/>
              <a:gd name="connsiteY1" fmla="*/ 10665 h 21351"/>
              <a:gd name="connsiteX2" fmla="*/ 1285 w 19071"/>
              <a:gd name="connsiteY2" fmla="*/ 13598 h 21351"/>
              <a:gd name="connsiteX3" fmla="*/ 34 w 19071"/>
              <a:gd name="connsiteY3" fmla="*/ 16246 h 21351"/>
              <a:gd name="connsiteX4" fmla="*/ 178 w 19071"/>
              <a:gd name="connsiteY4" fmla="*/ 17532 h 21351"/>
              <a:gd name="connsiteX5" fmla="*/ 910 w 19071"/>
              <a:gd name="connsiteY5" fmla="*/ 18276 h 21351"/>
              <a:gd name="connsiteX6" fmla="*/ 1838 w 19071"/>
              <a:gd name="connsiteY6" fmla="*/ 18780 h 21351"/>
              <a:gd name="connsiteX7" fmla="*/ 5988 w 19071"/>
              <a:gd name="connsiteY7" fmla="*/ 20199 h 21351"/>
              <a:gd name="connsiteX8" fmla="*/ 11701 w 19071"/>
              <a:gd name="connsiteY8" fmla="*/ 21304 h 21351"/>
              <a:gd name="connsiteX9" fmla="*/ 17814 w 19071"/>
              <a:gd name="connsiteY9" fmla="*/ 20996 h 21351"/>
              <a:gd name="connsiteX10" fmla="*/ 19065 w 19071"/>
              <a:gd name="connsiteY10" fmla="*/ 18485 h 21351"/>
              <a:gd name="connsiteX11" fmla="*/ 18101 w 19071"/>
              <a:gd name="connsiteY11" fmla="*/ 13551 h 21351"/>
              <a:gd name="connsiteX12" fmla="*/ 17964 w 19071"/>
              <a:gd name="connsiteY12" fmla="*/ 6049 h 21351"/>
              <a:gd name="connsiteX13" fmla="*/ 15508 w 19071"/>
              <a:gd name="connsiteY13" fmla="*/ 2919 h 21351"/>
              <a:gd name="connsiteX14" fmla="*/ 15091 w 19071"/>
              <a:gd name="connsiteY14" fmla="*/ 2553 h 21351"/>
              <a:gd name="connsiteX15" fmla="*/ 13043 w 19071"/>
              <a:gd name="connsiteY15" fmla="*/ 1180 h 21351"/>
              <a:gd name="connsiteX16" fmla="*/ 10864 w 19071"/>
              <a:gd name="connsiteY16" fmla="*/ 188 h 21351"/>
              <a:gd name="connsiteX17" fmla="*/ 10345 w 19071"/>
              <a:gd name="connsiteY17" fmla="*/ 63 h 21351"/>
              <a:gd name="connsiteX18" fmla="*/ 9835 w 19071"/>
              <a:gd name="connsiteY18" fmla="*/ 0 h 21351"/>
              <a:gd name="connsiteX19" fmla="*/ 9604 w 19071"/>
              <a:gd name="connsiteY19" fmla="*/ 46 h 21351"/>
              <a:gd name="connsiteX20" fmla="*/ 9497 w 19071"/>
              <a:gd name="connsiteY20" fmla="*/ 174 h 21351"/>
              <a:gd name="connsiteX21" fmla="*/ 9565 w 19071"/>
              <a:gd name="connsiteY21" fmla="*/ 321 h 21351"/>
              <a:gd name="connsiteX22" fmla="*/ 9721 w 19071"/>
              <a:gd name="connsiteY22" fmla="*/ 490 h 21351"/>
              <a:gd name="connsiteX23" fmla="*/ 9943 w 19071"/>
              <a:gd name="connsiteY23" fmla="*/ 1358 h 21351"/>
              <a:gd name="connsiteX24" fmla="*/ 9777 w 19071"/>
              <a:gd name="connsiteY24" fmla="*/ 2309 h 21351"/>
              <a:gd name="connsiteX25" fmla="*/ 8940 w 19071"/>
              <a:gd name="connsiteY25" fmla="*/ 4055 h 21351"/>
              <a:gd name="connsiteX26" fmla="*/ 7534 w 19071"/>
              <a:gd name="connsiteY26" fmla="*/ 6018 h 21351"/>
              <a:gd name="connsiteX27" fmla="*/ 6028 w 19071"/>
              <a:gd name="connsiteY27" fmla="*/ 7799 h 21351"/>
              <a:gd name="connsiteX0" fmla="*/ 6028 w 19077"/>
              <a:gd name="connsiteY0" fmla="*/ 7799 h 21351"/>
              <a:gd name="connsiteX1" fmla="*/ 3612 w 19077"/>
              <a:gd name="connsiteY1" fmla="*/ 10665 h 21351"/>
              <a:gd name="connsiteX2" fmla="*/ 1285 w 19077"/>
              <a:gd name="connsiteY2" fmla="*/ 13598 h 21351"/>
              <a:gd name="connsiteX3" fmla="*/ 34 w 19077"/>
              <a:gd name="connsiteY3" fmla="*/ 16246 h 21351"/>
              <a:gd name="connsiteX4" fmla="*/ 178 w 19077"/>
              <a:gd name="connsiteY4" fmla="*/ 17532 h 21351"/>
              <a:gd name="connsiteX5" fmla="*/ 910 w 19077"/>
              <a:gd name="connsiteY5" fmla="*/ 18276 h 21351"/>
              <a:gd name="connsiteX6" fmla="*/ 1838 w 19077"/>
              <a:gd name="connsiteY6" fmla="*/ 18780 h 21351"/>
              <a:gd name="connsiteX7" fmla="*/ 5988 w 19077"/>
              <a:gd name="connsiteY7" fmla="*/ 20199 h 21351"/>
              <a:gd name="connsiteX8" fmla="*/ 11701 w 19077"/>
              <a:gd name="connsiteY8" fmla="*/ 21304 h 21351"/>
              <a:gd name="connsiteX9" fmla="*/ 17814 w 19077"/>
              <a:gd name="connsiteY9" fmla="*/ 20996 h 21351"/>
              <a:gd name="connsiteX10" fmla="*/ 19065 w 19077"/>
              <a:gd name="connsiteY10" fmla="*/ 18485 h 21351"/>
              <a:gd name="connsiteX11" fmla="*/ 18016 w 19077"/>
              <a:gd name="connsiteY11" fmla="*/ 14351 h 21351"/>
              <a:gd name="connsiteX12" fmla="*/ 17964 w 19077"/>
              <a:gd name="connsiteY12" fmla="*/ 6049 h 21351"/>
              <a:gd name="connsiteX13" fmla="*/ 15508 w 19077"/>
              <a:gd name="connsiteY13" fmla="*/ 2919 h 21351"/>
              <a:gd name="connsiteX14" fmla="*/ 15091 w 19077"/>
              <a:gd name="connsiteY14" fmla="*/ 2553 h 21351"/>
              <a:gd name="connsiteX15" fmla="*/ 13043 w 19077"/>
              <a:gd name="connsiteY15" fmla="*/ 1180 h 21351"/>
              <a:gd name="connsiteX16" fmla="*/ 10864 w 19077"/>
              <a:gd name="connsiteY16" fmla="*/ 188 h 21351"/>
              <a:gd name="connsiteX17" fmla="*/ 10345 w 19077"/>
              <a:gd name="connsiteY17" fmla="*/ 63 h 21351"/>
              <a:gd name="connsiteX18" fmla="*/ 9835 w 19077"/>
              <a:gd name="connsiteY18" fmla="*/ 0 h 21351"/>
              <a:gd name="connsiteX19" fmla="*/ 9604 w 19077"/>
              <a:gd name="connsiteY19" fmla="*/ 46 h 21351"/>
              <a:gd name="connsiteX20" fmla="*/ 9497 w 19077"/>
              <a:gd name="connsiteY20" fmla="*/ 174 h 21351"/>
              <a:gd name="connsiteX21" fmla="*/ 9565 w 19077"/>
              <a:gd name="connsiteY21" fmla="*/ 321 h 21351"/>
              <a:gd name="connsiteX22" fmla="*/ 9721 w 19077"/>
              <a:gd name="connsiteY22" fmla="*/ 490 h 21351"/>
              <a:gd name="connsiteX23" fmla="*/ 9943 w 19077"/>
              <a:gd name="connsiteY23" fmla="*/ 1358 h 21351"/>
              <a:gd name="connsiteX24" fmla="*/ 9777 w 19077"/>
              <a:gd name="connsiteY24" fmla="*/ 2309 h 21351"/>
              <a:gd name="connsiteX25" fmla="*/ 8940 w 19077"/>
              <a:gd name="connsiteY25" fmla="*/ 4055 h 21351"/>
              <a:gd name="connsiteX26" fmla="*/ 7534 w 19077"/>
              <a:gd name="connsiteY26" fmla="*/ 6018 h 21351"/>
              <a:gd name="connsiteX27" fmla="*/ 6028 w 19077"/>
              <a:gd name="connsiteY27" fmla="*/ 7799 h 21351"/>
              <a:gd name="connsiteX0" fmla="*/ 6028 w 19077"/>
              <a:gd name="connsiteY0" fmla="*/ 7799 h 21351"/>
              <a:gd name="connsiteX1" fmla="*/ 3612 w 19077"/>
              <a:gd name="connsiteY1" fmla="*/ 10665 h 21351"/>
              <a:gd name="connsiteX2" fmla="*/ 1285 w 19077"/>
              <a:gd name="connsiteY2" fmla="*/ 13598 h 21351"/>
              <a:gd name="connsiteX3" fmla="*/ 34 w 19077"/>
              <a:gd name="connsiteY3" fmla="*/ 16246 h 21351"/>
              <a:gd name="connsiteX4" fmla="*/ 178 w 19077"/>
              <a:gd name="connsiteY4" fmla="*/ 17532 h 21351"/>
              <a:gd name="connsiteX5" fmla="*/ 910 w 19077"/>
              <a:gd name="connsiteY5" fmla="*/ 18276 h 21351"/>
              <a:gd name="connsiteX6" fmla="*/ 1838 w 19077"/>
              <a:gd name="connsiteY6" fmla="*/ 18780 h 21351"/>
              <a:gd name="connsiteX7" fmla="*/ 5988 w 19077"/>
              <a:gd name="connsiteY7" fmla="*/ 20199 h 21351"/>
              <a:gd name="connsiteX8" fmla="*/ 11701 w 19077"/>
              <a:gd name="connsiteY8" fmla="*/ 21304 h 21351"/>
              <a:gd name="connsiteX9" fmla="*/ 17814 w 19077"/>
              <a:gd name="connsiteY9" fmla="*/ 20996 h 21351"/>
              <a:gd name="connsiteX10" fmla="*/ 19065 w 19077"/>
              <a:gd name="connsiteY10" fmla="*/ 18485 h 21351"/>
              <a:gd name="connsiteX11" fmla="*/ 18016 w 19077"/>
              <a:gd name="connsiteY11" fmla="*/ 14351 h 21351"/>
              <a:gd name="connsiteX12" fmla="*/ 17964 w 19077"/>
              <a:gd name="connsiteY12" fmla="*/ 6049 h 21351"/>
              <a:gd name="connsiteX13" fmla="*/ 15508 w 19077"/>
              <a:gd name="connsiteY13" fmla="*/ 2919 h 21351"/>
              <a:gd name="connsiteX14" fmla="*/ 15091 w 19077"/>
              <a:gd name="connsiteY14" fmla="*/ 2553 h 21351"/>
              <a:gd name="connsiteX15" fmla="*/ 13043 w 19077"/>
              <a:gd name="connsiteY15" fmla="*/ 1180 h 21351"/>
              <a:gd name="connsiteX16" fmla="*/ 10864 w 19077"/>
              <a:gd name="connsiteY16" fmla="*/ 188 h 21351"/>
              <a:gd name="connsiteX17" fmla="*/ 10345 w 19077"/>
              <a:gd name="connsiteY17" fmla="*/ 63 h 21351"/>
              <a:gd name="connsiteX18" fmla="*/ 9835 w 19077"/>
              <a:gd name="connsiteY18" fmla="*/ 0 h 21351"/>
              <a:gd name="connsiteX19" fmla="*/ 9604 w 19077"/>
              <a:gd name="connsiteY19" fmla="*/ 46 h 21351"/>
              <a:gd name="connsiteX20" fmla="*/ 9497 w 19077"/>
              <a:gd name="connsiteY20" fmla="*/ 174 h 21351"/>
              <a:gd name="connsiteX21" fmla="*/ 9565 w 19077"/>
              <a:gd name="connsiteY21" fmla="*/ 321 h 21351"/>
              <a:gd name="connsiteX22" fmla="*/ 9721 w 19077"/>
              <a:gd name="connsiteY22" fmla="*/ 490 h 21351"/>
              <a:gd name="connsiteX23" fmla="*/ 9943 w 19077"/>
              <a:gd name="connsiteY23" fmla="*/ 1358 h 21351"/>
              <a:gd name="connsiteX24" fmla="*/ 9777 w 19077"/>
              <a:gd name="connsiteY24" fmla="*/ 2309 h 21351"/>
              <a:gd name="connsiteX25" fmla="*/ 8940 w 19077"/>
              <a:gd name="connsiteY25" fmla="*/ 4055 h 21351"/>
              <a:gd name="connsiteX26" fmla="*/ 7534 w 19077"/>
              <a:gd name="connsiteY26" fmla="*/ 6018 h 21351"/>
              <a:gd name="connsiteX27" fmla="*/ 6028 w 19077"/>
              <a:gd name="connsiteY27" fmla="*/ 7799 h 21351"/>
              <a:gd name="connsiteX0" fmla="*/ 6028 w 19077"/>
              <a:gd name="connsiteY0" fmla="*/ 7799 h 21351"/>
              <a:gd name="connsiteX1" fmla="*/ 3612 w 19077"/>
              <a:gd name="connsiteY1" fmla="*/ 10665 h 21351"/>
              <a:gd name="connsiteX2" fmla="*/ 1285 w 19077"/>
              <a:gd name="connsiteY2" fmla="*/ 13598 h 21351"/>
              <a:gd name="connsiteX3" fmla="*/ 34 w 19077"/>
              <a:gd name="connsiteY3" fmla="*/ 16246 h 21351"/>
              <a:gd name="connsiteX4" fmla="*/ 178 w 19077"/>
              <a:gd name="connsiteY4" fmla="*/ 17532 h 21351"/>
              <a:gd name="connsiteX5" fmla="*/ 910 w 19077"/>
              <a:gd name="connsiteY5" fmla="*/ 18276 h 21351"/>
              <a:gd name="connsiteX6" fmla="*/ 1838 w 19077"/>
              <a:gd name="connsiteY6" fmla="*/ 18780 h 21351"/>
              <a:gd name="connsiteX7" fmla="*/ 5988 w 19077"/>
              <a:gd name="connsiteY7" fmla="*/ 20199 h 21351"/>
              <a:gd name="connsiteX8" fmla="*/ 11701 w 19077"/>
              <a:gd name="connsiteY8" fmla="*/ 21304 h 21351"/>
              <a:gd name="connsiteX9" fmla="*/ 17814 w 19077"/>
              <a:gd name="connsiteY9" fmla="*/ 20996 h 21351"/>
              <a:gd name="connsiteX10" fmla="*/ 19065 w 19077"/>
              <a:gd name="connsiteY10" fmla="*/ 18485 h 21351"/>
              <a:gd name="connsiteX11" fmla="*/ 18016 w 19077"/>
              <a:gd name="connsiteY11" fmla="*/ 14351 h 21351"/>
              <a:gd name="connsiteX12" fmla="*/ 17686 w 19077"/>
              <a:gd name="connsiteY12" fmla="*/ 6081 h 21351"/>
              <a:gd name="connsiteX13" fmla="*/ 15508 w 19077"/>
              <a:gd name="connsiteY13" fmla="*/ 2919 h 21351"/>
              <a:gd name="connsiteX14" fmla="*/ 15091 w 19077"/>
              <a:gd name="connsiteY14" fmla="*/ 2553 h 21351"/>
              <a:gd name="connsiteX15" fmla="*/ 13043 w 19077"/>
              <a:gd name="connsiteY15" fmla="*/ 1180 h 21351"/>
              <a:gd name="connsiteX16" fmla="*/ 10864 w 19077"/>
              <a:gd name="connsiteY16" fmla="*/ 188 h 21351"/>
              <a:gd name="connsiteX17" fmla="*/ 10345 w 19077"/>
              <a:gd name="connsiteY17" fmla="*/ 63 h 21351"/>
              <a:gd name="connsiteX18" fmla="*/ 9835 w 19077"/>
              <a:gd name="connsiteY18" fmla="*/ 0 h 21351"/>
              <a:gd name="connsiteX19" fmla="*/ 9604 w 19077"/>
              <a:gd name="connsiteY19" fmla="*/ 46 h 21351"/>
              <a:gd name="connsiteX20" fmla="*/ 9497 w 19077"/>
              <a:gd name="connsiteY20" fmla="*/ 174 h 21351"/>
              <a:gd name="connsiteX21" fmla="*/ 9565 w 19077"/>
              <a:gd name="connsiteY21" fmla="*/ 321 h 21351"/>
              <a:gd name="connsiteX22" fmla="*/ 9721 w 19077"/>
              <a:gd name="connsiteY22" fmla="*/ 490 h 21351"/>
              <a:gd name="connsiteX23" fmla="*/ 9943 w 19077"/>
              <a:gd name="connsiteY23" fmla="*/ 1358 h 21351"/>
              <a:gd name="connsiteX24" fmla="*/ 9777 w 19077"/>
              <a:gd name="connsiteY24" fmla="*/ 2309 h 21351"/>
              <a:gd name="connsiteX25" fmla="*/ 8940 w 19077"/>
              <a:gd name="connsiteY25" fmla="*/ 4055 h 21351"/>
              <a:gd name="connsiteX26" fmla="*/ 7534 w 19077"/>
              <a:gd name="connsiteY26" fmla="*/ 6018 h 21351"/>
              <a:gd name="connsiteX27" fmla="*/ 6028 w 19077"/>
              <a:gd name="connsiteY27" fmla="*/ 7799 h 21351"/>
              <a:gd name="connsiteX0" fmla="*/ 6028 w 19077"/>
              <a:gd name="connsiteY0" fmla="*/ 7799 h 21351"/>
              <a:gd name="connsiteX1" fmla="*/ 3612 w 19077"/>
              <a:gd name="connsiteY1" fmla="*/ 10665 h 21351"/>
              <a:gd name="connsiteX2" fmla="*/ 1285 w 19077"/>
              <a:gd name="connsiteY2" fmla="*/ 13598 h 21351"/>
              <a:gd name="connsiteX3" fmla="*/ 34 w 19077"/>
              <a:gd name="connsiteY3" fmla="*/ 16246 h 21351"/>
              <a:gd name="connsiteX4" fmla="*/ 178 w 19077"/>
              <a:gd name="connsiteY4" fmla="*/ 17532 h 21351"/>
              <a:gd name="connsiteX5" fmla="*/ 910 w 19077"/>
              <a:gd name="connsiteY5" fmla="*/ 18276 h 21351"/>
              <a:gd name="connsiteX6" fmla="*/ 1838 w 19077"/>
              <a:gd name="connsiteY6" fmla="*/ 18780 h 21351"/>
              <a:gd name="connsiteX7" fmla="*/ 5988 w 19077"/>
              <a:gd name="connsiteY7" fmla="*/ 20199 h 21351"/>
              <a:gd name="connsiteX8" fmla="*/ 11701 w 19077"/>
              <a:gd name="connsiteY8" fmla="*/ 21304 h 21351"/>
              <a:gd name="connsiteX9" fmla="*/ 17814 w 19077"/>
              <a:gd name="connsiteY9" fmla="*/ 20996 h 21351"/>
              <a:gd name="connsiteX10" fmla="*/ 19065 w 19077"/>
              <a:gd name="connsiteY10" fmla="*/ 18485 h 21351"/>
              <a:gd name="connsiteX11" fmla="*/ 18016 w 19077"/>
              <a:gd name="connsiteY11" fmla="*/ 14351 h 21351"/>
              <a:gd name="connsiteX12" fmla="*/ 17686 w 19077"/>
              <a:gd name="connsiteY12" fmla="*/ 6081 h 21351"/>
              <a:gd name="connsiteX13" fmla="*/ 15508 w 19077"/>
              <a:gd name="connsiteY13" fmla="*/ 2919 h 21351"/>
              <a:gd name="connsiteX14" fmla="*/ 15091 w 19077"/>
              <a:gd name="connsiteY14" fmla="*/ 2553 h 21351"/>
              <a:gd name="connsiteX15" fmla="*/ 13043 w 19077"/>
              <a:gd name="connsiteY15" fmla="*/ 1180 h 21351"/>
              <a:gd name="connsiteX16" fmla="*/ 10864 w 19077"/>
              <a:gd name="connsiteY16" fmla="*/ 188 h 21351"/>
              <a:gd name="connsiteX17" fmla="*/ 10345 w 19077"/>
              <a:gd name="connsiteY17" fmla="*/ 63 h 21351"/>
              <a:gd name="connsiteX18" fmla="*/ 9835 w 19077"/>
              <a:gd name="connsiteY18" fmla="*/ 0 h 21351"/>
              <a:gd name="connsiteX19" fmla="*/ 9604 w 19077"/>
              <a:gd name="connsiteY19" fmla="*/ 46 h 21351"/>
              <a:gd name="connsiteX20" fmla="*/ 9497 w 19077"/>
              <a:gd name="connsiteY20" fmla="*/ 174 h 21351"/>
              <a:gd name="connsiteX21" fmla="*/ 9565 w 19077"/>
              <a:gd name="connsiteY21" fmla="*/ 321 h 21351"/>
              <a:gd name="connsiteX22" fmla="*/ 9721 w 19077"/>
              <a:gd name="connsiteY22" fmla="*/ 490 h 21351"/>
              <a:gd name="connsiteX23" fmla="*/ 9943 w 19077"/>
              <a:gd name="connsiteY23" fmla="*/ 1358 h 21351"/>
              <a:gd name="connsiteX24" fmla="*/ 9777 w 19077"/>
              <a:gd name="connsiteY24" fmla="*/ 2309 h 21351"/>
              <a:gd name="connsiteX25" fmla="*/ 8940 w 19077"/>
              <a:gd name="connsiteY25" fmla="*/ 4055 h 21351"/>
              <a:gd name="connsiteX26" fmla="*/ 7534 w 19077"/>
              <a:gd name="connsiteY26" fmla="*/ 6018 h 21351"/>
              <a:gd name="connsiteX27" fmla="*/ 6028 w 19077"/>
              <a:gd name="connsiteY27" fmla="*/ 7799 h 21351"/>
              <a:gd name="connsiteX0" fmla="*/ 6028 w 19077"/>
              <a:gd name="connsiteY0" fmla="*/ 7799 h 21351"/>
              <a:gd name="connsiteX1" fmla="*/ 3612 w 19077"/>
              <a:gd name="connsiteY1" fmla="*/ 10665 h 21351"/>
              <a:gd name="connsiteX2" fmla="*/ 1285 w 19077"/>
              <a:gd name="connsiteY2" fmla="*/ 13598 h 21351"/>
              <a:gd name="connsiteX3" fmla="*/ 34 w 19077"/>
              <a:gd name="connsiteY3" fmla="*/ 16246 h 21351"/>
              <a:gd name="connsiteX4" fmla="*/ 178 w 19077"/>
              <a:gd name="connsiteY4" fmla="*/ 17532 h 21351"/>
              <a:gd name="connsiteX5" fmla="*/ 910 w 19077"/>
              <a:gd name="connsiteY5" fmla="*/ 18276 h 21351"/>
              <a:gd name="connsiteX6" fmla="*/ 1838 w 19077"/>
              <a:gd name="connsiteY6" fmla="*/ 18780 h 21351"/>
              <a:gd name="connsiteX7" fmla="*/ 5988 w 19077"/>
              <a:gd name="connsiteY7" fmla="*/ 20199 h 21351"/>
              <a:gd name="connsiteX8" fmla="*/ 11701 w 19077"/>
              <a:gd name="connsiteY8" fmla="*/ 21304 h 21351"/>
              <a:gd name="connsiteX9" fmla="*/ 17814 w 19077"/>
              <a:gd name="connsiteY9" fmla="*/ 20996 h 21351"/>
              <a:gd name="connsiteX10" fmla="*/ 19065 w 19077"/>
              <a:gd name="connsiteY10" fmla="*/ 18485 h 21351"/>
              <a:gd name="connsiteX11" fmla="*/ 18016 w 19077"/>
              <a:gd name="connsiteY11" fmla="*/ 14351 h 21351"/>
              <a:gd name="connsiteX12" fmla="*/ 17771 w 19077"/>
              <a:gd name="connsiteY12" fmla="*/ 5347 h 21351"/>
              <a:gd name="connsiteX13" fmla="*/ 15508 w 19077"/>
              <a:gd name="connsiteY13" fmla="*/ 2919 h 21351"/>
              <a:gd name="connsiteX14" fmla="*/ 15091 w 19077"/>
              <a:gd name="connsiteY14" fmla="*/ 2553 h 21351"/>
              <a:gd name="connsiteX15" fmla="*/ 13043 w 19077"/>
              <a:gd name="connsiteY15" fmla="*/ 1180 h 21351"/>
              <a:gd name="connsiteX16" fmla="*/ 10864 w 19077"/>
              <a:gd name="connsiteY16" fmla="*/ 188 h 21351"/>
              <a:gd name="connsiteX17" fmla="*/ 10345 w 19077"/>
              <a:gd name="connsiteY17" fmla="*/ 63 h 21351"/>
              <a:gd name="connsiteX18" fmla="*/ 9835 w 19077"/>
              <a:gd name="connsiteY18" fmla="*/ 0 h 21351"/>
              <a:gd name="connsiteX19" fmla="*/ 9604 w 19077"/>
              <a:gd name="connsiteY19" fmla="*/ 46 h 21351"/>
              <a:gd name="connsiteX20" fmla="*/ 9497 w 19077"/>
              <a:gd name="connsiteY20" fmla="*/ 174 h 21351"/>
              <a:gd name="connsiteX21" fmla="*/ 9565 w 19077"/>
              <a:gd name="connsiteY21" fmla="*/ 321 h 21351"/>
              <a:gd name="connsiteX22" fmla="*/ 9721 w 19077"/>
              <a:gd name="connsiteY22" fmla="*/ 490 h 21351"/>
              <a:gd name="connsiteX23" fmla="*/ 9943 w 19077"/>
              <a:gd name="connsiteY23" fmla="*/ 1358 h 21351"/>
              <a:gd name="connsiteX24" fmla="*/ 9777 w 19077"/>
              <a:gd name="connsiteY24" fmla="*/ 2309 h 21351"/>
              <a:gd name="connsiteX25" fmla="*/ 8940 w 19077"/>
              <a:gd name="connsiteY25" fmla="*/ 4055 h 21351"/>
              <a:gd name="connsiteX26" fmla="*/ 7534 w 19077"/>
              <a:gd name="connsiteY26" fmla="*/ 6018 h 21351"/>
              <a:gd name="connsiteX27" fmla="*/ 6028 w 19077"/>
              <a:gd name="connsiteY27" fmla="*/ 7799 h 21351"/>
              <a:gd name="connsiteX0" fmla="*/ 6028 w 19077"/>
              <a:gd name="connsiteY0" fmla="*/ 7799 h 21351"/>
              <a:gd name="connsiteX1" fmla="*/ 3612 w 19077"/>
              <a:gd name="connsiteY1" fmla="*/ 10665 h 21351"/>
              <a:gd name="connsiteX2" fmla="*/ 1285 w 19077"/>
              <a:gd name="connsiteY2" fmla="*/ 13598 h 21351"/>
              <a:gd name="connsiteX3" fmla="*/ 34 w 19077"/>
              <a:gd name="connsiteY3" fmla="*/ 16246 h 21351"/>
              <a:gd name="connsiteX4" fmla="*/ 178 w 19077"/>
              <a:gd name="connsiteY4" fmla="*/ 17532 h 21351"/>
              <a:gd name="connsiteX5" fmla="*/ 910 w 19077"/>
              <a:gd name="connsiteY5" fmla="*/ 18276 h 21351"/>
              <a:gd name="connsiteX6" fmla="*/ 1838 w 19077"/>
              <a:gd name="connsiteY6" fmla="*/ 18780 h 21351"/>
              <a:gd name="connsiteX7" fmla="*/ 5988 w 19077"/>
              <a:gd name="connsiteY7" fmla="*/ 20199 h 21351"/>
              <a:gd name="connsiteX8" fmla="*/ 11701 w 19077"/>
              <a:gd name="connsiteY8" fmla="*/ 21304 h 21351"/>
              <a:gd name="connsiteX9" fmla="*/ 17814 w 19077"/>
              <a:gd name="connsiteY9" fmla="*/ 20996 h 21351"/>
              <a:gd name="connsiteX10" fmla="*/ 19065 w 19077"/>
              <a:gd name="connsiteY10" fmla="*/ 18485 h 21351"/>
              <a:gd name="connsiteX11" fmla="*/ 18016 w 19077"/>
              <a:gd name="connsiteY11" fmla="*/ 14351 h 21351"/>
              <a:gd name="connsiteX12" fmla="*/ 17771 w 19077"/>
              <a:gd name="connsiteY12" fmla="*/ 5347 h 21351"/>
              <a:gd name="connsiteX13" fmla="*/ 15508 w 19077"/>
              <a:gd name="connsiteY13" fmla="*/ 2919 h 21351"/>
              <a:gd name="connsiteX14" fmla="*/ 15091 w 19077"/>
              <a:gd name="connsiteY14" fmla="*/ 2553 h 21351"/>
              <a:gd name="connsiteX15" fmla="*/ 13043 w 19077"/>
              <a:gd name="connsiteY15" fmla="*/ 1180 h 21351"/>
              <a:gd name="connsiteX16" fmla="*/ 10864 w 19077"/>
              <a:gd name="connsiteY16" fmla="*/ 188 h 21351"/>
              <a:gd name="connsiteX17" fmla="*/ 10345 w 19077"/>
              <a:gd name="connsiteY17" fmla="*/ 63 h 21351"/>
              <a:gd name="connsiteX18" fmla="*/ 9835 w 19077"/>
              <a:gd name="connsiteY18" fmla="*/ 0 h 21351"/>
              <a:gd name="connsiteX19" fmla="*/ 9604 w 19077"/>
              <a:gd name="connsiteY19" fmla="*/ 46 h 21351"/>
              <a:gd name="connsiteX20" fmla="*/ 9497 w 19077"/>
              <a:gd name="connsiteY20" fmla="*/ 174 h 21351"/>
              <a:gd name="connsiteX21" fmla="*/ 9565 w 19077"/>
              <a:gd name="connsiteY21" fmla="*/ 321 h 21351"/>
              <a:gd name="connsiteX22" fmla="*/ 9721 w 19077"/>
              <a:gd name="connsiteY22" fmla="*/ 490 h 21351"/>
              <a:gd name="connsiteX23" fmla="*/ 9943 w 19077"/>
              <a:gd name="connsiteY23" fmla="*/ 1358 h 21351"/>
              <a:gd name="connsiteX24" fmla="*/ 9777 w 19077"/>
              <a:gd name="connsiteY24" fmla="*/ 2309 h 21351"/>
              <a:gd name="connsiteX25" fmla="*/ 8940 w 19077"/>
              <a:gd name="connsiteY25" fmla="*/ 4055 h 21351"/>
              <a:gd name="connsiteX26" fmla="*/ 7534 w 19077"/>
              <a:gd name="connsiteY26" fmla="*/ 6018 h 21351"/>
              <a:gd name="connsiteX27" fmla="*/ 6028 w 19077"/>
              <a:gd name="connsiteY27" fmla="*/ 7799 h 21351"/>
              <a:gd name="connsiteX0" fmla="*/ 6028 w 19077"/>
              <a:gd name="connsiteY0" fmla="*/ 7799 h 21351"/>
              <a:gd name="connsiteX1" fmla="*/ 3612 w 19077"/>
              <a:gd name="connsiteY1" fmla="*/ 10665 h 21351"/>
              <a:gd name="connsiteX2" fmla="*/ 1285 w 19077"/>
              <a:gd name="connsiteY2" fmla="*/ 13598 h 21351"/>
              <a:gd name="connsiteX3" fmla="*/ 34 w 19077"/>
              <a:gd name="connsiteY3" fmla="*/ 16246 h 21351"/>
              <a:gd name="connsiteX4" fmla="*/ 178 w 19077"/>
              <a:gd name="connsiteY4" fmla="*/ 17532 h 21351"/>
              <a:gd name="connsiteX5" fmla="*/ 910 w 19077"/>
              <a:gd name="connsiteY5" fmla="*/ 18276 h 21351"/>
              <a:gd name="connsiteX6" fmla="*/ 1838 w 19077"/>
              <a:gd name="connsiteY6" fmla="*/ 18780 h 21351"/>
              <a:gd name="connsiteX7" fmla="*/ 5988 w 19077"/>
              <a:gd name="connsiteY7" fmla="*/ 20199 h 21351"/>
              <a:gd name="connsiteX8" fmla="*/ 11701 w 19077"/>
              <a:gd name="connsiteY8" fmla="*/ 21304 h 21351"/>
              <a:gd name="connsiteX9" fmla="*/ 17814 w 19077"/>
              <a:gd name="connsiteY9" fmla="*/ 20996 h 21351"/>
              <a:gd name="connsiteX10" fmla="*/ 19065 w 19077"/>
              <a:gd name="connsiteY10" fmla="*/ 18485 h 21351"/>
              <a:gd name="connsiteX11" fmla="*/ 18016 w 19077"/>
              <a:gd name="connsiteY11" fmla="*/ 14351 h 21351"/>
              <a:gd name="connsiteX12" fmla="*/ 17882 w 19077"/>
              <a:gd name="connsiteY12" fmla="*/ 5414 h 21351"/>
              <a:gd name="connsiteX13" fmla="*/ 15508 w 19077"/>
              <a:gd name="connsiteY13" fmla="*/ 2919 h 21351"/>
              <a:gd name="connsiteX14" fmla="*/ 15091 w 19077"/>
              <a:gd name="connsiteY14" fmla="*/ 2553 h 21351"/>
              <a:gd name="connsiteX15" fmla="*/ 13043 w 19077"/>
              <a:gd name="connsiteY15" fmla="*/ 1180 h 21351"/>
              <a:gd name="connsiteX16" fmla="*/ 10864 w 19077"/>
              <a:gd name="connsiteY16" fmla="*/ 188 h 21351"/>
              <a:gd name="connsiteX17" fmla="*/ 10345 w 19077"/>
              <a:gd name="connsiteY17" fmla="*/ 63 h 21351"/>
              <a:gd name="connsiteX18" fmla="*/ 9835 w 19077"/>
              <a:gd name="connsiteY18" fmla="*/ 0 h 21351"/>
              <a:gd name="connsiteX19" fmla="*/ 9604 w 19077"/>
              <a:gd name="connsiteY19" fmla="*/ 46 h 21351"/>
              <a:gd name="connsiteX20" fmla="*/ 9497 w 19077"/>
              <a:gd name="connsiteY20" fmla="*/ 174 h 21351"/>
              <a:gd name="connsiteX21" fmla="*/ 9565 w 19077"/>
              <a:gd name="connsiteY21" fmla="*/ 321 h 21351"/>
              <a:gd name="connsiteX22" fmla="*/ 9721 w 19077"/>
              <a:gd name="connsiteY22" fmla="*/ 490 h 21351"/>
              <a:gd name="connsiteX23" fmla="*/ 9943 w 19077"/>
              <a:gd name="connsiteY23" fmla="*/ 1358 h 21351"/>
              <a:gd name="connsiteX24" fmla="*/ 9777 w 19077"/>
              <a:gd name="connsiteY24" fmla="*/ 2309 h 21351"/>
              <a:gd name="connsiteX25" fmla="*/ 8940 w 19077"/>
              <a:gd name="connsiteY25" fmla="*/ 4055 h 21351"/>
              <a:gd name="connsiteX26" fmla="*/ 7534 w 19077"/>
              <a:gd name="connsiteY26" fmla="*/ 6018 h 21351"/>
              <a:gd name="connsiteX27" fmla="*/ 6028 w 19077"/>
              <a:gd name="connsiteY27" fmla="*/ 7799 h 21351"/>
              <a:gd name="connsiteX0" fmla="*/ 6028 w 18669"/>
              <a:gd name="connsiteY0" fmla="*/ 7799 h 21351"/>
              <a:gd name="connsiteX1" fmla="*/ 3612 w 18669"/>
              <a:gd name="connsiteY1" fmla="*/ 10665 h 21351"/>
              <a:gd name="connsiteX2" fmla="*/ 1285 w 18669"/>
              <a:gd name="connsiteY2" fmla="*/ 13598 h 21351"/>
              <a:gd name="connsiteX3" fmla="*/ 34 w 18669"/>
              <a:gd name="connsiteY3" fmla="*/ 16246 h 21351"/>
              <a:gd name="connsiteX4" fmla="*/ 178 w 18669"/>
              <a:gd name="connsiteY4" fmla="*/ 17532 h 21351"/>
              <a:gd name="connsiteX5" fmla="*/ 910 w 18669"/>
              <a:gd name="connsiteY5" fmla="*/ 18276 h 21351"/>
              <a:gd name="connsiteX6" fmla="*/ 1838 w 18669"/>
              <a:gd name="connsiteY6" fmla="*/ 18780 h 21351"/>
              <a:gd name="connsiteX7" fmla="*/ 5988 w 18669"/>
              <a:gd name="connsiteY7" fmla="*/ 20199 h 21351"/>
              <a:gd name="connsiteX8" fmla="*/ 11701 w 18669"/>
              <a:gd name="connsiteY8" fmla="*/ 21304 h 21351"/>
              <a:gd name="connsiteX9" fmla="*/ 17814 w 18669"/>
              <a:gd name="connsiteY9" fmla="*/ 20996 h 21351"/>
              <a:gd name="connsiteX10" fmla="*/ 18336 w 18669"/>
              <a:gd name="connsiteY10" fmla="*/ 18537 h 21351"/>
              <a:gd name="connsiteX11" fmla="*/ 18016 w 18669"/>
              <a:gd name="connsiteY11" fmla="*/ 14351 h 21351"/>
              <a:gd name="connsiteX12" fmla="*/ 17882 w 18669"/>
              <a:gd name="connsiteY12" fmla="*/ 5414 h 21351"/>
              <a:gd name="connsiteX13" fmla="*/ 15508 w 18669"/>
              <a:gd name="connsiteY13" fmla="*/ 2919 h 21351"/>
              <a:gd name="connsiteX14" fmla="*/ 15091 w 18669"/>
              <a:gd name="connsiteY14" fmla="*/ 2553 h 21351"/>
              <a:gd name="connsiteX15" fmla="*/ 13043 w 18669"/>
              <a:gd name="connsiteY15" fmla="*/ 1180 h 21351"/>
              <a:gd name="connsiteX16" fmla="*/ 10864 w 18669"/>
              <a:gd name="connsiteY16" fmla="*/ 188 h 21351"/>
              <a:gd name="connsiteX17" fmla="*/ 10345 w 18669"/>
              <a:gd name="connsiteY17" fmla="*/ 63 h 21351"/>
              <a:gd name="connsiteX18" fmla="*/ 9835 w 18669"/>
              <a:gd name="connsiteY18" fmla="*/ 0 h 21351"/>
              <a:gd name="connsiteX19" fmla="*/ 9604 w 18669"/>
              <a:gd name="connsiteY19" fmla="*/ 46 h 21351"/>
              <a:gd name="connsiteX20" fmla="*/ 9497 w 18669"/>
              <a:gd name="connsiteY20" fmla="*/ 174 h 21351"/>
              <a:gd name="connsiteX21" fmla="*/ 9565 w 18669"/>
              <a:gd name="connsiteY21" fmla="*/ 321 h 21351"/>
              <a:gd name="connsiteX22" fmla="*/ 9721 w 18669"/>
              <a:gd name="connsiteY22" fmla="*/ 490 h 21351"/>
              <a:gd name="connsiteX23" fmla="*/ 9943 w 18669"/>
              <a:gd name="connsiteY23" fmla="*/ 1358 h 21351"/>
              <a:gd name="connsiteX24" fmla="*/ 9777 w 18669"/>
              <a:gd name="connsiteY24" fmla="*/ 2309 h 21351"/>
              <a:gd name="connsiteX25" fmla="*/ 8940 w 18669"/>
              <a:gd name="connsiteY25" fmla="*/ 4055 h 21351"/>
              <a:gd name="connsiteX26" fmla="*/ 7534 w 18669"/>
              <a:gd name="connsiteY26" fmla="*/ 6018 h 21351"/>
              <a:gd name="connsiteX27" fmla="*/ 6028 w 18669"/>
              <a:gd name="connsiteY27" fmla="*/ 7799 h 21351"/>
              <a:gd name="connsiteX0" fmla="*/ 6028 w 18582"/>
              <a:gd name="connsiteY0" fmla="*/ 7799 h 21351"/>
              <a:gd name="connsiteX1" fmla="*/ 3612 w 18582"/>
              <a:gd name="connsiteY1" fmla="*/ 10665 h 21351"/>
              <a:gd name="connsiteX2" fmla="*/ 1285 w 18582"/>
              <a:gd name="connsiteY2" fmla="*/ 13598 h 21351"/>
              <a:gd name="connsiteX3" fmla="*/ 34 w 18582"/>
              <a:gd name="connsiteY3" fmla="*/ 16246 h 21351"/>
              <a:gd name="connsiteX4" fmla="*/ 178 w 18582"/>
              <a:gd name="connsiteY4" fmla="*/ 17532 h 21351"/>
              <a:gd name="connsiteX5" fmla="*/ 910 w 18582"/>
              <a:gd name="connsiteY5" fmla="*/ 18276 h 21351"/>
              <a:gd name="connsiteX6" fmla="*/ 1838 w 18582"/>
              <a:gd name="connsiteY6" fmla="*/ 18780 h 21351"/>
              <a:gd name="connsiteX7" fmla="*/ 5988 w 18582"/>
              <a:gd name="connsiteY7" fmla="*/ 20199 h 21351"/>
              <a:gd name="connsiteX8" fmla="*/ 11701 w 18582"/>
              <a:gd name="connsiteY8" fmla="*/ 21304 h 21351"/>
              <a:gd name="connsiteX9" fmla="*/ 17814 w 18582"/>
              <a:gd name="connsiteY9" fmla="*/ 20996 h 21351"/>
              <a:gd name="connsiteX10" fmla="*/ 18085 w 18582"/>
              <a:gd name="connsiteY10" fmla="*/ 18673 h 21351"/>
              <a:gd name="connsiteX11" fmla="*/ 18016 w 18582"/>
              <a:gd name="connsiteY11" fmla="*/ 14351 h 21351"/>
              <a:gd name="connsiteX12" fmla="*/ 17882 w 18582"/>
              <a:gd name="connsiteY12" fmla="*/ 5414 h 21351"/>
              <a:gd name="connsiteX13" fmla="*/ 15508 w 18582"/>
              <a:gd name="connsiteY13" fmla="*/ 2919 h 21351"/>
              <a:gd name="connsiteX14" fmla="*/ 15091 w 18582"/>
              <a:gd name="connsiteY14" fmla="*/ 2553 h 21351"/>
              <a:gd name="connsiteX15" fmla="*/ 13043 w 18582"/>
              <a:gd name="connsiteY15" fmla="*/ 1180 h 21351"/>
              <a:gd name="connsiteX16" fmla="*/ 10864 w 18582"/>
              <a:gd name="connsiteY16" fmla="*/ 188 h 21351"/>
              <a:gd name="connsiteX17" fmla="*/ 10345 w 18582"/>
              <a:gd name="connsiteY17" fmla="*/ 63 h 21351"/>
              <a:gd name="connsiteX18" fmla="*/ 9835 w 18582"/>
              <a:gd name="connsiteY18" fmla="*/ 0 h 21351"/>
              <a:gd name="connsiteX19" fmla="*/ 9604 w 18582"/>
              <a:gd name="connsiteY19" fmla="*/ 46 h 21351"/>
              <a:gd name="connsiteX20" fmla="*/ 9497 w 18582"/>
              <a:gd name="connsiteY20" fmla="*/ 174 h 21351"/>
              <a:gd name="connsiteX21" fmla="*/ 9565 w 18582"/>
              <a:gd name="connsiteY21" fmla="*/ 321 h 21351"/>
              <a:gd name="connsiteX22" fmla="*/ 9721 w 18582"/>
              <a:gd name="connsiteY22" fmla="*/ 490 h 21351"/>
              <a:gd name="connsiteX23" fmla="*/ 9943 w 18582"/>
              <a:gd name="connsiteY23" fmla="*/ 1358 h 21351"/>
              <a:gd name="connsiteX24" fmla="*/ 9777 w 18582"/>
              <a:gd name="connsiteY24" fmla="*/ 2309 h 21351"/>
              <a:gd name="connsiteX25" fmla="*/ 8940 w 18582"/>
              <a:gd name="connsiteY25" fmla="*/ 4055 h 21351"/>
              <a:gd name="connsiteX26" fmla="*/ 7534 w 18582"/>
              <a:gd name="connsiteY26" fmla="*/ 6018 h 21351"/>
              <a:gd name="connsiteX27" fmla="*/ 6028 w 18582"/>
              <a:gd name="connsiteY27" fmla="*/ 7799 h 21351"/>
              <a:gd name="connsiteX0" fmla="*/ 6028 w 18094"/>
              <a:gd name="connsiteY0" fmla="*/ 7799 h 21351"/>
              <a:gd name="connsiteX1" fmla="*/ 3612 w 18094"/>
              <a:gd name="connsiteY1" fmla="*/ 10665 h 21351"/>
              <a:gd name="connsiteX2" fmla="*/ 1285 w 18094"/>
              <a:gd name="connsiteY2" fmla="*/ 13598 h 21351"/>
              <a:gd name="connsiteX3" fmla="*/ 34 w 18094"/>
              <a:gd name="connsiteY3" fmla="*/ 16246 h 21351"/>
              <a:gd name="connsiteX4" fmla="*/ 178 w 18094"/>
              <a:gd name="connsiteY4" fmla="*/ 17532 h 21351"/>
              <a:gd name="connsiteX5" fmla="*/ 910 w 18094"/>
              <a:gd name="connsiteY5" fmla="*/ 18276 h 21351"/>
              <a:gd name="connsiteX6" fmla="*/ 1838 w 18094"/>
              <a:gd name="connsiteY6" fmla="*/ 18780 h 21351"/>
              <a:gd name="connsiteX7" fmla="*/ 5988 w 18094"/>
              <a:gd name="connsiteY7" fmla="*/ 20199 h 21351"/>
              <a:gd name="connsiteX8" fmla="*/ 11701 w 18094"/>
              <a:gd name="connsiteY8" fmla="*/ 21304 h 21351"/>
              <a:gd name="connsiteX9" fmla="*/ 17814 w 18094"/>
              <a:gd name="connsiteY9" fmla="*/ 20996 h 21351"/>
              <a:gd name="connsiteX10" fmla="*/ 18085 w 18094"/>
              <a:gd name="connsiteY10" fmla="*/ 18673 h 21351"/>
              <a:gd name="connsiteX11" fmla="*/ 18016 w 18094"/>
              <a:gd name="connsiteY11" fmla="*/ 14351 h 21351"/>
              <a:gd name="connsiteX12" fmla="*/ 17882 w 18094"/>
              <a:gd name="connsiteY12" fmla="*/ 5414 h 21351"/>
              <a:gd name="connsiteX13" fmla="*/ 15508 w 18094"/>
              <a:gd name="connsiteY13" fmla="*/ 2919 h 21351"/>
              <a:gd name="connsiteX14" fmla="*/ 15091 w 18094"/>
              <a:gd name="connsiteY14" fmla="*/ 2553 h 21351"/>
              <a:gd name="connsiteX15" fmla="*/ 13043 w 18094"/>
              <a:gd name="connsiteY15" fmla="*/ 1180 h 21351"/>
              <a:gd name="connsiteX16" fmla="*/ 10864 w 18094"/>
              <a:gd name="connsiteY16" fmla="*/ 188 h 21351"/>
              <a:gd name="connsiteX17" fmla="*/ 10345 w 18094"/>
              <a:gd name="connsiteY17" fmla="*/ 63 h 21351"/>
              <a:gd name="connsiteX18" fmla="*/ 9835 w 18094"/>
              <a:gd name="connsiteY18" fmla="*/ 0 h 21351"/>
              <a:gd name="connsiteX19" fmla="*/ 9604 w 18094"/>
              <a:gd name="connsiteY19" fmla="*/ 46 h 21351"/>
              <a:gd name="connsiteX20" fmla="*/ 9497 w 18094"/>
              <a:gd name="connsiteY20" fmla="*/ 174 h 21351"/>
              <a:gd name="connsiteX21" fmla="*/ 9565 w 18094"/>
              <a:gd name="connsiteY21" fmla="*/ 321 h 21351"/>
              <a:gd name="connsiteX22" fmla="*/ 9721 w 18094"/>
              <a:gd name="connsiteY22" fmla="*/ 490 h 21351"/>
              <a:gd name="connsiteX23" fmla="*/ 9943 w 18094"/>
              <a:gd name="connsiteY23" fmla="*/ 1358 h 21351"/>
              <a:gd name="connsiteX24" fmla="*/ 9777 w 18094"/>
              <a:gd name="connsiteY24" fmla="*/ 2309 h 21351"/>
              <a:gd name="connsiteX25" fmla="*/ 8940 w 18094"/>
              <a:gd name="connsiteY25" fmla="*/ 4055 h 21351"/>
              <a:gd name="connsiteX26" fmla="*/ 7534 w 18094"/>
              <a:gd name="connsiteY26" fmla="*/ 6018 h 21351"/>
              <a:gd name="connsiteX27" fmla="*/ 6028 w 18094"/>
              <a:gd name="connsiteY27" fmla="*/ 7799 h 21351"/>
              <a:gd name="connsiteX0" fmla="*/ 6028 w 18094"/>
              <a:gd name="connsiteY0" fmla="*/ 7799 h 21351"/>
              <a:gd name="connsiteX1" fmla="*/ 3612 w 18094"/>
              <a:gd name="connsiteY1" fmla="*/ 10665 h 21351"/>
              <a:gd name="connsiteX2" fmla="*/ 1285 w 18094"/>
              <a:gd name="connsiteY2" fmla="*/ 13598 h 21351"/>
              <a:gd name="connsiteX3" fmla="*/ 34 w 18094"/>
              <a:gd name="connsiteY3" fmla="*/ 16246 h 21351"/>
              <a:gd name="connsiteX4" fmla="*/ 178 w 18094"/>
              <a:gd name="connsiteY4" fmla="*/ 17532 h 21351"/>
              <a:gd name="connsiteX5" fmla="*/ 910 w 18094"/>
              <a:gd name="connsiteY5" fmla="*/ 18276 h 21351"/>
              <a:gd name="connsiteX6" fmla="*/ 1838 w 18094"/>
              <a:gd name="connsiteY6" fmla="*/ 18780 h 21351"/>
              <a:gd name="connsiteX7" fmla="*/ 5988 w 18094"/>
              <a:gd name="connsiteY7" fmla="*/ 20199 h 21351"/>
              <a:gd name="connsiteX8" fmla="*/ 11701 w 18094"/>
              <a:gd name="connsiteY8" fmla="*/ 21304 h 21351"/>
              <a:gd name="connsiteX9" fmla="*/ 17814 w 18094"/>
              <a:gd name="connsiteY9" fmla="*/ 20996 h 21351"/>
              <a:gd name="connsiteX10" fmla="*/ 18085 w 18094"/>
              <a:gd name="connsiteY10" fmla="*/ 18673 h 21351"/>
              <a:gd name="connsiteX11" fmla="*/ 18016 w 18094"/>
              <a:gd name="connsiteY11" fmla="*/ 14351 h 21351"/>
              <a:gd name="connsiteX12" fmla="*/ 17882 w 18094"/>
              <a:gd name="connsiteY12" fmla="*/ 5414 h 21351"/>
              <a:gd name="connsiteX13" fmla="*/ 15508 w 18094"/>
              <a:gd name="connsiteY13" fmla="*/ 2919 h 21351"/>
              <a:gd name="connsiteX14" fmla="*/ 15091 w 18094"/>
              <a:gd name="connsiteY14" fmla="*/ 2553 h 21351"/>
              <a:gd name="connsiteX15" fmla="*/ 13043 w 18094"/>
              <a:gd name="connsiteY15" fmla="*/ 1180 h 21351"/>
              <a:gd name="connsiteX16" fmla="*/ 10864 w 18094"/>
              <a:gd name="connsiteY16" fmla="*/ 188 h 21351"/>
              <a:gd name="connsiteX17" fmla="*/ 10345 w 18094"/>
              <a:gd name="connsiteY17" fmla="*/ 63 h 21351"/>
              <a:gd name="connsiteX18" fmla="*/ 9835 w 18094"/>
              <a:gd name="connsiteY18" fmla="*/ 0 h 21351"/>
              <a:gd name="connsiteX19" fmla="*/ 9604 w 18094"/>
              <a:gd name="connsiteY19" fmla="*/ 46 h 21351"/>
              <a:gd name="connsiteX20" fmla="*/ 9497 w 18094"/>
              <a:gd name="connsiteY20" fmla="*/ 174 h 21351"/>
              <a:gd name="connsiteX21" fmla="*/ 9565 w 18094"/>
              <a:gd name="connsiteY21" fmla="*/ 321 h 21351"/>
              <a:gd name="connsiteX22" fmla="*/ 9721 w 18094"/>
              <a:gd name="connsiteY22" fmla="*/ 490 h 21351"/>
              <a:gd name="connsiteX23" fmla="*/ 9943 w 18094"/>
              <a:gd name="connsiteY23" fmla="*/ 1358 h 21351"/>
              <a:gd name="connsiteX24" fmla="*/ 9777 w 18094"/>
              <a:gd name="connsiteY24" fmla="*/ 2309 h 21351"/>
              <a:gd name="connsiteX25" fmla="*/ 8940 w 18094"/>
              <a:gd name="connsiteY25" fmla="*/ 4055 h 21351"/>
              <a:gd name="connsiteX26" fmla="*/ 7534 w 18094"/>
              <a:gd name="connsiteY26" fmla="*/ 6018 h 21351"/>
              <a:gd name="connsiteX27" fmla="*/ 6028 w 18094"/>
              <a:gd name="connsiteY27" fmla="*/ 7799 h 21351"/>
              <a:gd name="connsiteX0" fmla="*/ 6028 w 18021"/>
              <a:gd name="connsiteY0" fmla="*/ 7799 h 21351"/>
              <a:gd name="connsiteX1" fmla="*/ 3612 w 18021"/>
              <a:gd name="connsiteY1" fmla="*/ 10665 h 21351"/>
              <a:gd name="connsiteX2" fmla="*/ 1285 w 18021"/>
              <a:gd name="connsiteY2" fmla="*/ 13598 h 21351"/>
              <a:gd name="connsiteX3" fmla="*/ 34 w 18021"/>
              <a:gd name="connsiteY3" fmla="*/ 16246 h 21351"/>
              <a:gd name="connsiteX4" fmla="*/ 178 w 18021"/>
              <a:gd name="connsiteY4" fmla="*/ 17532 h 21351"/>
              <a:gd name="connsiteX5" fmla="*/ 910 w 18021"/>
              <a:gd name="connsiteY5" fmla="*/ 18276 h 21351"/>
              <a:gd name="connsiteX6" fmla="*/ 1838 w 18021"/>
              <a:gd name="connsiteY6" fmla="*/ 18780 h 21351"/>
              <a:gd name="connsiteX7" fmla="*/ 5988 w 18021"/>
              <a:gd name="connsiteY7" fmla="*/ 20199 h 21351"/>
              <a:gd name="connsiteX8" fmla="*/ 11701 w 18021"/>
              <a:gd name="connsiteY8" fmla="*/ 21304 h 21351"/>
              <a:gd name="connsiteX9" fmla="*/ 17814 w 18021"/>
              <a:gd name="connsiteY9" fmla="*/ 20996 h 21351"/>
              <a:gd name="connsiteX10" fmla="*/ 17720 w 18021"/>
              <a:gd name="connsiteY10" fmla="*/ 18809 h 21351"/>
              <a:gd name="connsiteX11" fmla="*/ 18016 w 18021"/>
              <a:gd name="connsiteY11" fmla="*/ 14351 h 21351"/>
              <a:gd name="connsiteX12" fmla="*/ 17882 w 18021"/>
              <a:gd name="connsiteY12" fmla="*/ 5414 h 21351"/>
              <a:gd name="connsiteX13" fmla="*/ 15508 w 18021"/>
              <a:gd name="connsiteY13" fmla="*/ 2919 h 21351"/>
              <a:gd name="connsiteX14" fmla="*/ 15091 w 18021"/>
              <a:gd name="connsiteY14" fmla="*/ 2553 h 21351"/>
              <a:gd name="connsiteX15" fmla="*/ 13043 w 18021"/>
              <a:gd name="connsiteY15" fmla="*/ 1180 h 21351"/>
              <a:gd name="connsiteX16" fmla="*/ 10864 w 18021"/>
              <a:gd name="connsiteY16" fmla="*/ 188 h 21351"/>
              <a:gd name="connsiteX17" fmla="*/ 10345 w 18021"/>
              <a:gd name="connsiteY17" fmla="*/ 63 h 21351"/>
              <a:gd name="connsiteX18" fmla="*/ 9835 w 18021"/>
              <a:gd name="connsiteY18" fmla="*/ 0 h 21351"/>
              <a:gd name="connsiteX19" fmla="*/ 9604 w 18021"/>
              <a:gd name="connsiteY19" fmla="*/ 46 h 21351"/>
              <a:gd name="connsiteX20" fmla="*/ 9497 w 18021"/>
              <a:gd name="connsiteY20" fmla="*/ 174 h 21351"/>
              <a:gd name="connsiteX21" fmla="*/ 9565 w 18021"/>
              <a:gd name="connsiteY21" fmla="*/ 321 h 21351"/>
              <a:gd name="connsiteX22" fmla="*/ 9721 w 18021"/>
              <a:gd name="connsiteY22" fmla="*/ 490 h 21351"/>
              <a:gd name="connsiteX23" fmla="*/ 9943 w 18021"/>
              <a:gd name="connsiteY23" fmla="*/ 1358 h 21351"/>
              <a:gd name="connsiteX24" fmla="*/ 9777 w 18021"/>
              <a:gd name="connsiteY24" fmla="*/ 2309 h 21351"/>
              <a:gd name="connsiteX25" fmla="*/ 8940 w 18021"/>
              <a:gd name="connsiteY25" fmla="*/ 4055 h 21351"/>
              <a:gd name="connsiteX26" fmla="*/ 7534 w 18021"/>
              <a:gd name="connsiteY26" fmla="*/ 6018 h 21351"/>
              <a:gd name="connsiteX27" fmla="*/ 6028 w 18021"/>
              <a:gd name="connsiteY27" fmla="*/ 7799 h 21351"/>
              <a:gd name="connsiteX0" fmla="*/ 6028 w 18027"/>
              <a:gd name="connsiteY0" fmla="*/ 7799 h 21351"/>
              <a:gd name="connsiteX1" fmla="*/ 3612 w 18027"/>
              <a:gd name="connsiteY1" fmla="*/ 10665 h 21351"/>
              <a:gd name="connsiteX2" fmla="*/ 1285 w 18027"/>
              <a:gd name="connsiteY2" fmla="*/ 13598 h 21351"/>
              <a:gd name="connsiteX3" fmla="*/ 34 w 18027"/>
              <a:gd name="connsiteY3" fmla="*/ 16246 h 21351"/>
              <a:gd name="connsiteX4" fmla="*/ 178 w 18027"/>
              <a:gd name="connsiteY4" fmla="*/ 17532 h 21351"/>
              <a:gd name="connsiteX5" fmla="*/ 910 w 18027"/>
              <a:gd name="connsiteY5" fmla="*/ 18276 h 21351"/>
              <a:gd name="connsiteX6" fmla="*/ 1838 w 18027"/>
              <a:gd name="connsiteY6" fmla="*/ 18780 h 21351"/>
              <a:gd name="connsiteX7" fmla="*/ 5988 w 18027"/>
              <a:gd name="connsiteY7" fmla="*/ 20199 h 21351"/>
              <a:gd name="connsiteX8" fmla="*/ 11701 w 18027"/>
              <a:gd name="connsiteY8" fmla="*/ 21304 h 21351"/>
              <a:gd name="connsiteX9" fmla="*/ 17814 w 18027"/>
              <a:gd name="connsiteY9" fmla="*/ 20996 h 21351"/>
              <a:gd name="connsiteX10" fmla="*/ 17720 w 18027"/>
              <a:gd name="connsiteY10" fmla="*/ 18809 h 21351"/>
              <a:gd name="connsiteX11" fmla="*/ 17765 w 18027"/>
              <a:gd name="connsiteY11" fmla="*/ 14514 h 21351"/>
              <a:gd name="connsiteX12" fmla="*/ 17882 w 18027"/>
              <a:gd name="connsiteY12" fmla="*/ 5414 h 21351"/>
              <a:gd name="connsiteX13" fmla="*/ 15508 w 18027"/>
              <a:gd name="connsiteY13" fmla="*/ 2919 h 21351"/>
              <a:gd name="connsiteX14" fmla="*/ 15091 w 18027"/>
              <a:gd name="connsiteY14" fmla="*/ 2553 h 21351"/>
              <a:gd name="connsiteX15" fmla="*/ 13043 w 18027"/>
              <a:gd name="connsiteY15" fmla="*/ 1180 h 21351"/>
              <a:gd name="connsiteX16" fmla="*/ 10864 w 18027"/>
              <a:gd name="connsiteY16" fmla="*/ 188 h 21351"/>
              <a:gd name="connsiteX17" fmla="*/ 10345 w 18027"/>
              <a:gd name="connsiteY17" fmla="*/ 63 h 21351"/>
              <a:gd name="connsiteX18" fmla="*/ 9835 w 18027"/>
              <a:gd name="connsiteY18" fmla="*/ 0 h 21351"/>
              <a:gd name="connsiteX19" fmla="*/ 9604 w 18027"/>
              <a:gd name="connsiteY19" fmla="*/ 46 h 21351"/>
              <a:gd name="connsiteX20" fmla="*/ 9497 w 18027"/>
              <a:gd name="connsiteY20" fmla="*/ 174 h 21351"/>
              <a:gd name="connsiteX21" fmla="*/ 9565 w 18027"/>
              <a:gd name="connsiteY21" fmla="*/ 321 h 21351"/>
              <a:gd name="connsiteX22" fmla="*/ 9721 w 18027"/>
              <a:gd name="connsiteY22" fmla="*/ 490 h 21351"/>
              <a:gd name="connsiteX23" fmla="*/ 9943 w 18027"/>
              <a:gd name="connsiteY23" fmla="*/ 1358 h 21351"/>
              <a:gd name="connsiteX24" fmla="*/ 9777 w 18027"/>
              <a:gd name="connsiteY24" fmla="*/ 2309 h 21351"/>
              <a:gd name="connsiteX25" fmla="*/ 8940 w 18027"/>
              <a:gd name="connsiteY25" fmla="*/ 4055 h 21351"/>
              <a:gd name="connsiteX26" fmla="*/ 7534 w 18027"/>
              <a:gd name="connsiteY26" fmla="*/ 6018 h 21351"/>
              <a:gd name="connsiteX27" fmla="*/ 6028 w 18027"/>
              <a:gd name="connsiteY27" fmla="*/ 7799 h 21351"/>
              <a:gd name="connsiteX0" fmla="*/ 6028 w 18062"/>
              <a:gd name="connsiteY0" fmla="*/ 7799 h 21351"/>
              <a:gd name="connsiteX1" fmla="*/ 3612 w 18062"/>
              <a:gd name="connsiteY1" fmla="*/ 10665 h 21351"/>
              <a:gd name="connsiteX2" fmla="*/ 1285 w 18062"/>
              <a:gd name="connsiteY2" fmla="*/ 13598 h 21351"/>
              <a:gd name="connsiteX3" fmla="*/ 34 w 18062"/>
              <a:gd name="connsiteY3" fmla="*/ 16246 h 21351"/>
              <a:gd name="connsiteX4" fmla="*/ 178 w 18062"/>
              <a:gd name="connsiteY4" fmla="*/ 17532 h 21351"/>
              <a:gd name="connsiteX5" fmla="*/ 910 w 18062"/>
              <a:gd name="connsiteY5" fmla="*/ 18276 h 21351"/>
              <a:gd name="connsiteX6" fmla="*/ 1838 w 18062"/>
              <a:gd name="connsiteY6" fmla="*/ 18780 h 21351"/>
              <a:gd name="connsiteX7" fmla="*/ 5988 w 18062"/>
              <a:gd name="connsiteY7" fmla="*/ 20199 h 21351"/>
              <a:gd name="connsiteX8" fmla="*/ 11701 w 18062"/>
              <a:gd name="connsiteY8" fmla="*/ 21304 h 21351"/>
              <a:gd name="connsiteX9" fmla="*/ 17814 w 18062"/>
              <a:gd name="connsiteY9" fmla="*/ 20996 h 21351"/>
              <a:gd name="connsiteX10" fmla="*/ 17720 w 18062"/>
              <a:gd name="connsiteY10" fmla="*/ 18809 h 21351"/>
              <a:gd name="connsiteX11" fmla="*/ 17878 w 18062"/>
              <a:gd name="connsiteY11" fmla="*/ 14842 h 21351"/>
              <a:gd name="connsiteX12" fmla="*/ 17882 w 18062"/>
              <a:gd name="connsiteY12" fmla="*/ 5414 h 21351"/>
              <a:gd name="connsiteX13" fmla="*/ 15508 w 18062"/>
              <a:gd name="connsiteY13" fmla="*/ 2919 h 21351"/>
              <a:gd name="connsiteX14" fmla="*/ 15091 w 18062"/>
              <a:gd name="connsiteY14" fmla="*/ 2553 h 21351"/>
              <a:gd name="connsiteX15" fmla="*/ 13043 w 18062"/>
              <a:gd name="connsiteY15" fmla="*/ 1180 h 21351"/>
              <a:gd name="connsiteX16" fmla="*/ 10864 w 18062"/>
              <a:gd name="connsiteY16" fmla="*/ 188 h 21351"/>
              <a:gd name="connsiteX17" fmla="*/ 10345 w 18062"/>
              <a:gd name="connsiteY17" fmla="*/ 63 h 21351"/>
              <a:gd name="connsiteX18" fmla="*/ 9835 w 18062"/>
              <a:gd name="connsiteY18" fmla="*/ 0 h 21351"/>
              <a:gd name="connsiteX19" fmla="*/ 9604 w 18062"/>
              <a:gd name="connsiteY19" fmla="*/ 46 h 21351"/>
              <a:gd name="connsiteX20" fmla="*/ 9497 w 18062"/>
              <a:gd name="connsiteY20" fmla="*/ 174 h 21351"/>
              <a:gd name="connsiteX21" fmla="*/ 9565 w 18062"/>
              <a:gd name="connsiteY21" fmla="*/ 321 h 21351"/>
              <a:gd name="connsiteX22" fmla="*/ 9721 w 18062"/>
              <a:gd name="connsiteY22" fmla="*/ 490 h 21351"/>
              <a:gd name="connsiteX23" fmla="*/ 9943 w 18062"/>
              <a:gd name="connsiteY23" fmla="*/ 1358 h 21351"/>
              <a:gd name="connsiteX24" fmla="*/ 9777 w 18062"/>
              <a:gd name="connsiteY24" fmla="*/ 2309 h 21351"/>
              <a:gd name="connsiteX25" fmla="*/ 8940 w 18062"/>
              <a:gd name="connsiteY25" fmla="*/ 4055 h 21351"/>
              <a:gd name="connsiteX26" fmla="*/ 7534 w 18062"/>
              <a:gd name="connsiteY26" fmla="*/ 6018 h 21351"/>
              <a:gd name="connsiteX27" fmla="*/ 6028 w 18062"/>
              <a:gd name="connsiteY27" fmla="*/ 7799 h 21351"/>
              <a:gd name="connsiteX0" fmla="*/ 6028 w 18434"/>
              <a:gd name="connsiteY0" fmla="*/ 7799 h 21351"/>
              <a:gd name="connsiteX1" fmla="*/ 3612 w 18434"/>
              <a:gd name="connsiteY1" fmla="*/ 10665 h 21351"/>
              <a:gd name="connsiteX2" fmla="*/ 1285 w 18434"/>
              <a:gd name="connsiteY2" fmla="*/ 13598 h 21351"/>
              <a:gd name="connsiteX3" fmla="*/ 34 w 18434"/>
              <a:gd name="connsiteY3" fmla="*/ 16246 h 21351"/>
              <a:gd name="connsiteX4" fmla="*/ 178 w 18434"/>
              <a:gd name="connsiteY4" fmla="*/ 17532 h 21351"/>
              <a:gd name="connsiteX5" fmla="*/ 910 w 18434"/>
              <a:gd name="connsiteY5" fmla="*/ 18276 h 21351"/>
              <a:gd name="connsiteX6" fmla="*/ 1838 w 18434"/>
              <a:gd name="connsiteY6" fmla="*/ 18780 h 21351"/>
              <a:gd name="connsiteX7" fmla="*/ 5988 w 18434"/>
              <a:gd name="connsiteY7" fmla="*/ 20199 h 21351"/>
              <a:gd name="connsiteX8" fmla="*/ 11701 w 18434"/>
              <a:gd name="connsiteY8" fmla="*/ 21304 h 21351"/>
              <a:gd name="connsiteX9" fmla="*/ 17814 w 18434"/>
              <a:gd name="connsiteY9" fmla="*/ 20996 h 21351"/>
              <a:gd name="connsiteX10" fmla="*/ 17720 w 18434"/>
              <a:gd name="connsiteY10" fmla="*/ 18809 h 21351"/>
              <a:gd name="connsiteX11" fmla="*/ 17878 w 18434"/>
              <a:gd name="connsiteY11" fmla="*/ 14842 h 21351"/>
              <a:gd name="connsiteX12" fmla="*/ 17882 w 18434"/>
              <a:gd name="connsiteY12" fmla="*/ 5414 h 21351"/>
              <a:gd name="connsiteX13" fmla="*/ 15508 w 18434"/>
              <a:gd name="connsiteY13" fmla="*/ 2919 h 21351"/>
              <a:gd name="connsiteX14" fmla="*/ 15091 w 18434"/>
              <a:gd name="connsiteY14" fmla="*/ 2553 h 21351"/>
              <a:gd name="connsiteX15" fmla="*/ 13043 w 18434"/>
              <a:gd name="connsiteY15" fmla="*/ 1180 h 21351"/>
              <a:gd name="connsiteX16" fmla="*/ 10864 w 18434"/>
              <a:gd name="connsiteY16" fmla="*/ 188 h 21351"/>
              <a:gd name="connsiteX17" fmla="*/ 10345 w 18434"/>
              <a:gd name="connsiteY17" fmla="*/ 63 h 21351"/>
              <a:gd name="connsiteX18" fmla="*/ 9835 w 18434"/>
              <a:gd name="connsiteY18" fmla="*/ 0 h 21351"/>
              <a:gd name="connsiteX19" fmla="*/ 9604 w 18434"/>
              <a:gd name="connsiteY19" fmla="*/ 46 h 21351"/>
              <a:gd name="connsiteX20" fmla="*/ 9497 w 18434"/>
              <a:gd name="connsiteY20" fmla="*/ 174 h 21351"/>
              <a:gd name="connsiteX21" fmla="*/ 9565 w 18434"/>
              <a:gd name="connsiteY21" fmla="*/ 321 h 21351"/>
              <a:gd name="connsiteX22" fmla="*/ 9721 w 18434"/>
              <a:gd name="connsiteY22" fmla="*/ 490 h 21351"/>
              <a:gd name="connsiteX23" fmla="*/ 9943 w 18434"/>
              <a:gd name="connsiteY23" fmla="*/ 1358 h 21351"/>
              <a:gd name="connsiteX24" fmla="*/ 9777 w 18434"/>
              <a:gd name="connsiteY24" fmla="*/ 2309 h 21351"/>
              <a:gd name="connsiteX25" fmla="*/ 8940 w 18434"/>
              <a:gd name="connsiteY25" fmla="*/ 4055 h 21351"/>
              <a:gd name="connsiteX26" fmla="*/ 7534 w 18434"/>
              <a:gd name="connsiteY26" fmla="*/ 6018 h 21351"/>
              <a:gd name="connsiteX27" fmla="*/ 6028 w 18434"/>
              <a:gd name="connsiteY27" fmla="*/ 7799 h 21351"/>
              <a:gd name="connsiteX0" fmla="*/ 6028 w 18182"/>
              <a:gd name="connsiteY0" fmla="*/ 7799 h 21351"/>
              <a:gd name="connsiteX1" fmla="*/ 3612 w 18182"/>
              <a:gd name="connsiteY1" fmla="*/ 10665 h 21351"/>
              <a:gd name="connsiteX2" fmla="*/ 1285 w 18182"/>
              <a:gd name="connsiteY2" fmla="*/ 13598 h 21351"/>
              <a:gd name="connsiteX3" fmla="*/ 34 w 18182"/>
              <a:gd name="connsiteY3" fmla="*/ 16246 h 21351"/>
              <a:gd name="connsiteX4" fmla="*/ 178 w 18182"/>
              <a:gd name="connsiteY4" fmla="*/ 17532 h 21351"/>
              <a:gd name="connsiteX5" fmla="*/ 910 w 18182"/>
              <a:gd name="connsiteY5" fmla="*/ 18276 h 21351"/>
              <a:gd name="connsiteX6" fmla="*/ 1838 w 18182"/>
              <a:gd name="connsiteY6" fmla="*/ 18780 h 21351"/>
              <a:gd name="connsiteX7" fmla="*/ 5988 w 18182"/>
              <a:gd name="connsiteY7" fmla="*/ 20199 h 21351"/>
              <a:gd name="connsiteX8" fmla="*/ 11701 w 18182"/>
              <a:gd name="connsiteY8" fmla="*/ 21304 h 21351"/>
              <a:gd name="connsiteX9" fmla="*/ 17814 w 18182"/>
              <a:gd name="connsiteY9" fmla="*/ 20996 h 21351"/>
              <a:gd name="connsiteX10" fmla="*/ 17720 w 18182"/>
              <a:gd name="connsiteY10" fmla="*/ 18809 h 21351"/>
              <a:gd name="connsiteX11" fmla="*/ 17878 w 18182"/>
              <a:gd name="connsiteY11" fmla="*/ 14842 h 21351"/>
              <a:gd name="connsiteX12" fmla="*/ 17541 w 18182"/>
              <a:gd name="connsiteY12" fmla="*/ 5194 h 21351"/>
              <a:gd name="connsiteX13" fmla="*/ 15508 w 18182"/>
              <a:gd name="connsiteY13" fmla="*/ 2919 h 21351"/>
              <a:gd name="connsiteX14" fmla="*/ 15091 w 18182"/>
              <a:gd name="connsiteY14" fmla="*/ 2553 h 21351"/>
              <a:gd name="connsiteX15" fmla="*/ 13043 w 18182"/>
              <a:gd name="connsiteY15" fmla="*/ 1180 h 21351"/>
              <a:gd name="connsiteX16" fmla="*/ 10864 w 18182"/>
              <a:gd name="connsiteY16" fmla="*/ 188 h 21351"/>
              <a:gd name="connsiteX17" fmla="*/ 10345 w 18182"/>
              <a:gd name="connsiteY17" fmla="*/ 63 h 21351"/>
              <a:gd name="connsiteX18" fmla="*/ 9835 w 18182"/>
              <a:gd name="connsiteY18" fmla="*/ 0 h 21351"/>
              <a:gd name="connsiteX19" fmla="*/ 9604 w 18182"/>
              <a:gd name="connsiteY19" fmla="*/ 46 h 21351"/>
              <a:gd name="connsiteX20" fmla="*/ 9497 w 18182"/>
              <a:gd name="connsiteY20" fmla="*/ 174 h 21351"/>
              <a:gd name="connsiteX21" fmla="*/ 9565 w 18182"/>
              <a:gd name="connsiteY21" fmla="*/ 321 h 21351"/>
              <a:gd name="connsiteX22" fmla="*/ 9721 w 18182"/>
              <a:gd name="connsiteY22" fmla="*/ 490 h 21351"/>
              <a:gd name="connsiteX23" fmla="*/ 9943 w 18182"/>
              <a:gd name="connsiteY23" fmla="*/ 1358 h 21351"/>
              <a:gd name="connsiteX24" fmla="*/ 9777 w 18182"/>
              <a:gd name="connsiteY24" fmla="*/ 2309 h 21351"/>
              <a:gd name="connsiteX25" fmla="*/ 8940 w 18182"/>
              <a:gd name="connsiteY25" fmla="*/ 4055 h 21351"/>
              <a:gd name="connsiteX26" fmla="*/ 7534 w 18182"/>
              <a:gd name="connsiteY26" fmla="*/ 6018 h 21351"/>
              <a:gd name="connsiteX27" fmla="*/ 6028 w 18182"/>
              <a:gd name="connsiteY27" fmla="*/ 7799 h 21351"/>
              <a:gd name="connsiteX0" fmla="*/ 6028 w 17881"/>
              <a:gd name="connsiteY0" fmla="*/ 7799 h 21351"/>
              <a:gd name="connsiteX1" fmla="*/ 3612 w 17881"/>
              <a:gd name="connsiteY1" fmla="*/ 10665 h 21351"/>
              <a:gd name="connsiteX2" fmla="*/ 1285 w 17881"/>
              <a:gd name="connsiteY2" fmla="*/ 13598 h 21351"/>
              <a:gd name="connsiteX3" fmla="*/ 34 w 17881"/>
              <a:gd name="connsiteY3" fmla="*/ 16246 h 21351"/>
              <a:gd name="connsiteX4" fmla="*/ 178 w 17881"/>
              <a:gd name="connsiteY4" fmla="*/ 17532 h 21351"/>
              <a:gd name="connsiteX5" fmla="*/ 910 w 17881"/>
              <a:gd name="connsiteY5" fmla="*/ 18276 h 21351"/>
              <a:gd name="connsiteX6" fmla="*/ 1838 w 17881"/>
              <a:gd name="connsiteY6" fmla="*/ 18780 h 21351"/>
              <a:gd name="connsiteX7" fmla="*/ 5988 w 17881"/>
              <a:gd name="connsiteY7" fmla="*/ 20199 h 21351"/>
              <a:gd name="connsiteX8" fmla="*/ 11701 w 17881"/>
              <a:gd name="connsiteY8" fmla="*/ 21304 h 21351"/>
              <a:gd name="connsiteX9" fmla="*/ 17814 w 17881"/>
              <a:gd name="connsiteY9" fmla="*/ 20996 h 21351"/>
              <a:gd name="connsiteX10" fmla="*/ 17720 w 17881"/>
              <a:gd name="connsiteY10" fmla="*/ 18809 h 21351"/>
              <a:gd name="connsiteX11" fmla="*/ 17878 w 17881"/>
              <a:gd name="connsiteY11" fmla="*/ 14842 h 21351"/>
              <a:gd name="connsiteX12" fmla="*/ 17541 w 17881"/>
              <a:gd name="connsiteY12" fmla="*/ 5194 h 21351"/>
              <a:gd name="connsiteX13" fmla="*/ 15508 w 17881"/>
              <a:gd name="connsiteY13" fmla="*/ 2919 h 21351"/>
              <a:gd name="connsiteX14" fmla="*/ 15091 w 17881"/>
              <a:gd name="connsiteY14" fmla="*/ 2553 h 21351"/>
              <a:gd name="connsiteX15" fmla="*/ 13043 w 17881"/>
              <a:gd name="connsiteY15" fmla="*/ 1180 h 21351"/>
              <a:gd name="connsiteX16" fmla="*/ 10864 w 17881"/>
              <a:gd name="connsiteY16" fmla="*/ 188 h 21351"/>
              <a:gd name="connsiteX17" fmla="*/ 10345 w 17881"/>
              <a:gd name="connsiteY17" fmla="*/ 63 h 21351"/>
              <a:gd name="connsiteX18" fmla="*/ 9835 w 17881"/>
              <a:gd name="connsiteY18" fmla="*/ 0 h 21351"/>
              <a:gd name="connsiteX19" fmla="*/ 9604 w 17881"/>
              <a:gd name="connsiteY19" fmla="*/ 46 h 21351"/>
              <a:gd name="connsiteX20" fmla="*/ 9497 w 17881"/>
              <a:gd name="connsiteY20" fmla="*/ 174 h 21351"/>
              <a:gd name="connsiteX21" fmla="*/ 9565 w 17881"/>
              <a:gd name="connsiteY21" fmla="*/ 321 h 21351"/>
              <a:gd name="connsiteX22" fmla="*/ 9721 w 17881"/>
              <a:gd name="connsiteY22" fmla="*/ 490 h 21351"/>
              <a:gd name="connsiteX23" fmla="*/ 9943 w 17881"/>
              <a:gd name="connsiteY23" fmla="*/ 1358 h 21351"/>
              <a:gd name="connsiteX24" fmla="*/ 9777 w 17881"/>
              <a:gd name="connsiteY24" fmla="*/ 2309 h 21351"/>
              <a:gd name="connsiteX25" fmla="*/ 8940 w 17881"/>
              <a:gd name="connsiteY25" fmla="*/ 4055 h 21351"/>
              <a:gd name="connsiteX26" fmla="*/ 7534 w 17881"/>
              <a:gd name="connsiteY26" fmla="*/ 6018 h 21351"/>
              <a:gd name="connsiteX27" fmla="*/ 6028 w 17881"/>
              <a:gd name="connsiteY27" fmla="*/ 7799 h 21351"/>
              <a:gd name="connsiteX0" fmla="*/ 6028 w 17889"/>
              <a:gd name="connsiteY0" fmla="*/ 7799 h 21351"/>
              <a:gd name="connsiteX1" fmla="*/ 3612 w 17889"/>
              <a:gd name="connsiteY1" fmla="*/ 10665 h 21351"/>
              <a:gd name="connsiteX2" fmla="*/ 1285 w 17889"/>
              <a:gd name="connsiteY2" fmla="*/ 13598 h 21351"/>
              <a:gd name="connsiteX3" fmla="*/ 34 w 17889"/>
              <a:gd name="connsiteY3" fmla="*/ 16246 h 21351"/>
              <a:gd name="connsiteX4" fmla="*/ 178 w 17889"/>
              <a:gd name="connsiteY4" fmla="*/ 17532 h 21351"/>
              <a:gd name="connsiteX5" fmla="*/ 910 w 17889"/>
              <a:gd name="connsiteY5" fmla="*/ 18276 h 21351"/>
              <a:gd name="connsiteX6" fmla="*/ 1838 w 17889"/>
              <a:gd name="connsiteY6" fmla="*/ 18780 h 21351"/>
              <a:gd name="connsiteX7" fmla="*/ 5988 w 17889"/>
              <a:gd name="connsiteY7" fmla="*/ 20199 h 21351"/>
              <a:gd name="connsiteX8" fmla="*/ 11701 w 17889"/>
              <a:gd name="connsiteY8" fmla="*/ 21304 h 21351"/>
              <a:gd name="connsiteX9" fmla="*/ 17814 w 17889"/>
              <a:gd name="connsiteY9" fmla="*/ 20996 h 21351"/>
              <a:gd name="connsiteX10" fmla="*/ 17720 w 17889"/>
              <a:gd name="connsiteY10" fmla="*/ 18809 h 21351"/>
              <a:gd name="connsiteX11" fmla="*/ 17878 w 17889"/>
              <a:gd name="connsiteY11" fmla="*/ 14842 h 21351"/>
              <a:gd name="connsiteX12" fmla="*/ 17859 w 17889"/>
              <a:gd name="connsiteY12" fmla="*/ 5414 h 21351"/>
              <a:gd name="connsiteX13" fmla="*/ 15508 w 17889"/>
              <a:gd name="connsiteY13" fmla="*/ 2919 h 21351"/>
              <a:gd name="connsiteX14" fmla="*/ 15091 w 17889"/>
              <a:gd name="connsiteY14" fmla="*/ 2553 h 21351"/>
              <a:gd name="connsiteX15" fmla="*/ 13043 w 17889"/>
              <a:gd name="connsiteY15" fmla="*/ 1180 h 21351"/>
              <a:gd name="connsiteX16" fmla="*/ 10864 w 17889"/>
              <a:gd name="connsiteY16" fmla="*/ 188 h 21351"/>
              <a:gd name="connsiteX17" fmla="*/ 10345 w 17889"/>
              <a:gd name="connsiteY17" fmla="*/ 63 h 21351"/>
              <a:gd name="connsiteX18" fmla="*/ 9835 w 17889"/>
              <a:gd name="connsiteY18" fmla="*/ 0 h 21351"/>
              <a:gd name="connsiteX19" fmla="*/ 9604 w 17889"/>
              <a:gd name="connsiteY19" fmla="*/ 46 h 21351"/>
              <a:gd name="connsiteX20" fmla="*/ 9497 w 17889"/>
              <a:gd name="connsiteY20" fmla="*/ 174 h 21351"/>
              <a:gd name="connsiteX21" fmla="*/ 9565 w 17889"/>
              <a:gd name="connsiteY21" fmla="*/ 321 h 21351"/>
              <a:gd name="connsiteX22" fmla="*/ 9721 w 17889"/>
              <a:gd name="connsiteY22" fmla="*/ 490 h 21351"/>
              <a:gd name="connsiteX23" fmla="*/ 9943 w 17889"/>
              <a:gd name="connsiteY23" fmla="*/ 1358 h 21351"/>
              <a:gd name="connsiteX24" fmla="*/ 9777 w 17889"/>
              <a:gd name="connsiteY24" fmla="*/ 2309 h 21351"/>
              <a:gd name="connsiteX25" fmla="*/ 8940 w 17889"/>
              <a:gd name="connsiteY25" fmla="*/ 4055 h 21351"/>
              <a:gd name="connsiteX26" fmla="*/ 7534 w 17889"/>
              <a:gd name="connsiteY26" fmla="*/ 6018 h 21351"/>
              <a:gd name="connsiteX27" fmla="*/ 6028 w 17889"/>
              <a:gd name="connsiteY27" fmla="*/ 7799 h 21351"/>
              <a:gd name="connsiteX0" fmla="*/ 6028 w 17888"/>
              <a:gd name="connsiteY0" fmla="*/ 7799 h 21351"/>
              <a:gd name="connsiteX1" fmla="*/ 3612 w 17888"/>
              <a:gd name="connsiteY1" fmla="*/ 10665 h 21351"/>
              <a:gd name="connsiteX2" fmla="*/ 1285 w 17888"/>
              <a:gd name="connsiteY2" fmla="*/ 13598 h 21351"/>
              <a:gd name="connsiteX3" fmla="*/ 34 w 17888"/>
              <a:gd name="connsiteY3" fmla="*/ 16246 h 21351"/>
              <a:gd name="connsiteX4" fmla="*/ 178 w 17888"/>
              <a:gd name="connsiteY4" fmla="*/ 17532 h 21351"/>
              <a:gd name="connsiteX5" fmla="*/ 910 w 17888"/>
              <a:gd name="connsiteY5" fmla="*/ 18276 h 21351"/>
              <a:gd name="connsiteX6" fmla="*/ 1838 w 17888"/>
              <a:gd name="connsiteY6" fmla="*/ 18780 h 21351"/>
              <a:gd name="connsiteX7" fmla="*/ 5988 w 17888"/>
              <a:gd name="connsiteY7" fmla="*/ 20199 h 21351"/>
              <a:gd name="connsiteX8" fmla="*/ 11701 w 17888"/>
              <a:gd name="connsiteY8" fmla="*/ 21304 h 21351"/>
              <a:gd name="connsiteX9" fmla="*/ 17814 w 17888"/>
              <a:gd name="connsiteY9" fmla="*/ 20996 h 21351"/>
              <a:gd name="connsiteX10" fmla="*/ 17720 w 17888"/>
              <a:gd name="connsiteY10" fmla="*/ 18809 h 21351"/>
              <a:gd name="connsiteX11" fmla="*/ 17878 w 17888"/>
              <a:gd name="connsiteY11" fmla="*/ 14842 h 21351"/>
              <a:gd name="connsiteX12" fmla="*/ 17859 w 17888"/>
              <a:gd name="connsiteY12" fmla="*/ 5414 h 21351"/>
              <a:gd name="connsiteX13" fmla="*/ 15508 w 17888"/>
              <a:gd name="connsiteY13" fmla="*/ 2919 h 21351"/>
              <a:gd name="connsiteX14" fmla="*/ 15091 w 17888"/>
              <a:gd name="connsiteY14" fmla="*/ 2553 h 21351"/>
              <a:gd name="connsiteX15" fmla="*/ 13043 w 17888"/>
              <a:gd name="connsiteY15" fmla="*/ 1180 h 21351"/>
              <a:gd name="connsiteX16" fmla="*/ 10864 w 17888"/>
              <a:gd name="connsiteY16" fmla="*/ 188 h 21351"/>
              <a:gd name="connsiteX17" fmla="*/ 10345 w 17888"/>
              <a:gd name="connsiteY17" fmla="*/ 63 h 21351"/>
              <a:gd name="connsiteX18" fmla="*/ 9835 w 17888"/>
              <a:gd name="connsiteY18" fmla="*/ 0 h 21351"/>
              <a:gd name="connsiteX19" fmla="*/ 9604 w 17888"/>
              <a:gd name="connsiteY19" fmla="*/ 46 h 21351"/>
              <a:gd name="connsiteX20" fmla="*/ 9497 w 17888"/>
              <a:gd name="connsiteY20" fmla="*/ 174 h 21351"/>
              <a:gd name="connsiteX21" fmla="*/ 9565 w 17888"/>
              <a:gd name="connsiteY21" fmla="*/ 321 h 21351"/>
              <a:gd name="connsiteX22" fmla="*/ 9721 w 17888"/>
              <a:gd name="connsiteY22" fmla="*/ 490 h 21351"/>
              <a:gd name="connsiteX23" fmla="*/ 9943 w 17888"/>
              <a:gd name="connsiteY23" fmla="*/ 1358 h 21351"/>
              <a:gd name="connsiteX24" fmla="*/ 9777 w 17888"/>
              <a:gd name="connsiteY24" fmla="*/ 2309 h 21351"/>
              <a:gd name="connsiteX25" fmla="*/ 8940 w 17888"/>
              <a:gd name="connsiteY25" fmla="*/ 4055 h 21351"/>
              <a:gd name="connsiteX26" fmla="*/ 7534 w 17888"/>
              <a:gd name="connsiteY26" fmla="*/ 6018 h 21351"/>
              <a:gd name="connsiteX27" fmla="*/ 6028 w 17888"/>
              <a:gd name="connsiteY27" fmla="*/ 7799 h 21351"/>
              <a:gd name="connsiteX0" fmla="*/ 6028 w 17878"/>
              <a:gd name="connsiteY0" fmla="*/ 7799 h 21351"/>
              <a:gd name="connsiteX1" fmla="*/ 3612 w 17878"/>
              <a:gd name="connsiteY1" fmla="*/ 10665 h 21351"/>
              <a:gd name="connsiteX2" fmla="*/ 1285 w 17878"/>
              <a:gd name="connsiteY2" fmla="*/ 13598 h 21351"/>
              <a:gd name="connsiteX3" fmla="*/ 34 w 17878"/>
              <a:gd name="connsiteY3" fmla="*/ 16246 h 21351"/>
              <a:gd name="connsiteX4" fmla="*/ 178 w 17878"/>
              <a:gd name="connsiteY4" fmla="*/ 17532 h 21351"/>
              <a:gd name="connsiteX5" fmla="*/ 910 w 17878"/>
              <a:gd name="connsiteY5" fmla="*/ 18276 h 21351"/>
              <a:gd name="connsiteX6" fmla="*/ 1838 w 17878"/>
              <a:gd name="connsiteY6" fmla="*/ 18780 h 21351"/>
              <a:gd name="connsiteX7" fmla="*/ 5988 w 17878"/>
              <a:gd name="connsiteY7" fmla="*/ 20199 h 21351"/>
              <a:gd name="connsiteX8" fmla="*/ 11701 w 17878"/>
              <a:gd name="connsiteY8" fmla="*/ 21304 h 21351"/>
              <a:gd name="connsiteX9" fmla="*/ 17814 w 17878"/>
              <a:gd name="connsiteY9" fmla="*/ 20996 h 21351"/>
              <a:gd name="connsiteX10" fmla="*/ 17857 w 17878"/>
              <a:gd name="connsiteY10" fmla="*/ 18837 h 21351"/>
              <a:gd name="connsiteX11" fmla="*/ 17878 w 17878"/>
              <a:gd name="connsiteY11" fmla="*/ 14842 h 21351"/>
              <a:gd name="connsiteX12" fmla="*/ 17859 w 17878"/>
              <a:gd name="connsiteY12" fmla="*/ 5414 h 21351"/>
              <a:gd name="connsiteX13" fmla="*/ 15508 w 17878"/>
              <a:gd name="connsiteY13" fmla="*/ 2919 h 21351"/>
              <a:gd name="connsiteX14" fmla="*/ 15091 w 17878"/>
              <a:gd name="connsiteY14" fmla="*/ 2553 h 21351"/>
              <a:gd name="connsiteX15" fmla="*/ 13043 w 17878"/>
              <a:gd name="connsiteY15" fmla="*/ 1180 h 21351"/>
              <a:gd name="connsiteX16" fmla="*/ 10864 w 17878"/>
              <a:gd name="connsiteY16" fmla="*/ 188 h 21351"/>
              <a:gd name="connsiteX17" fmla="*/ 10345 w 17878"/>
              <a:gd name="connsiteY17" fmla="*/ 63 h 21351"/>
              <a:gd name="connsiteX18" fmla="*/ 9835 w 17878"/>
              <a:gd name="connsiteY18" fmla="*/ 0 h 21351"/>
              <a:gd name="connsiteX19" fmla="*/ 9604 w 17878"/>
              <a:gd name="connsiteY19" fmla="*/ 46 h 21351"/>
              <a:gd name="connsiteX20" fmla="*/ 9497 w 17878"/>
              <a:gd name="connsiteY20" fmla="*/ 174 h 21351"/>
              <a:gd name="connsiteX21" fmla="*/ 9565 w 17878"/>
              <a:gd name="connsiteY21" fmla="*/ 321 h 21351"/>
              <a:gd name="connsiteX22" fmla="*/ 9721 w 17878"/>
              <a:gd name="connsiteY22" fmla="*/ 490 h 21351"/>
              <a:gd name="connsiteX23" fmla="*/ 9943 w 17878"/>
              <a:gd name="connsiteY23" fmla="*/ 1358 h 21351"/>
              <a:gd name="connsiteX24" fmla="*/ 9777 w 17878"/>
              <a:gd name="connsiteY24" fmla="*/ 2309 h 21351"/>
              <a:gd name="connsiteX25" fmla="*/ 8940 w 17878"/>
              <a:gd name="connsiteY25" fmla="*/ 4055 h 21351"/>
              <a:gd name="connsiteX26" fmla="*/ 7534 w 17878"/>
              <a:gd name="connsiteY26" fmla="*/ 6018 h 21351"/>
              <a:gd name="connsiteX27" fmla="*/ 6028 w 17878"/>
              <a:gd name="connsiteY27" fmla="*/ 7799 h 21351"/>
              <a:gd name="connsiteX0" fmla="*/ 6028 w 17901"/>
              <a:gd name="connsiteY0" fmla="*/ 7799 h 21351"/>
              <a:gd name="connsiteX1" fmla="*/ 3612 w 17901"/>
              <a:gd name="connsiteY1" fmla="*/ 10665 h 21351"/>
              <a:gd name="connsiteX2" fmla="*/ 1285 w 17901"/>
              <a:gd name="connsiteY2" fmla="*/ 13598 h 21351"/>
              <a:gd name="connsiteX3" fmla="*/ 34 w 17901"/>
              <a:gd name="connsiteY3" fmla="*/ 16246 h 21351"/>
              <a:gd name="connsiteX4" fmla="*/ 178 w 17901"/>
              <a:gd name="connsiteY4" fmla="*/ 17532 h 21351"/>
              <a:gd name="connsiteX5" fmla="*/ 910 w 17901"/>
              <a:gd name="connsiteY5" fmla="*/ 18276 h 21351"/>
              <a:gd name="connsiteX6" fmla="*/ 1838 w 17901"/>
              <a:gd name="connsiteY6" fmla="*/ 18780 h 21351"/>
              <a:gd name="connsiteX7" fmla="*/ 5988 w 17901"/>
              <a:gd name="connsiteY7" fmla="*/ 20199 h 21351"/>
              <a:gd name="connsiteX8" fmla="*/ 11701 w 17901"/>
              <a:gd name="connsiteY8" fmla="*/ 21304 h 21351"/>
              <a:gd name="connsiteX9" fmla="*/ 17814 w 17901"/>
              <a:gd name="connsiteY9" fmla="*/ 20996 h 21351"/>
              <a:gd name="connsiteX10" fmla="*/ 17538 w 17901"/>
              <a:gd name="connsiteY10" fmla="*/ 18891 h 21351"/>
              <a:gd name="connsiteX11" fmla="*/ 17878 w 17901"/>
              <a:gd name="connsiteY11" fmla="*/ 14842 h 21351"/>
              <a:gd name="connsiteX12" fmla="*/ 17859 w 17901"/>
              <a:gd name="connsiteY12" fmla="*/ 5414 h 21351"/>
              <a:gd name="connsiteX13" fmla="*/ 15508 w 17901"/>
              <a:gd name="connsiteY13" fmla="*/ 2919 h 21351"/>
              <a:gd name="connsiteX14" fmla="*/ 15091 w 17901"/>
              <a:gd name="connsiteY14" fmla="*/ 2553 h 21351"/>
              <a:gd name="connsiteX15" fmla="*/ 13043 w 17901"/>
              <a:gd name="connsiteY15" fmla="*/ 1180 h 21351"/>
              <a:gd name="connsiteX16" fmla="*/ 10864 w 17901"/>
              <a:gd name="connsiteY16" fmla="*/ 188 h 21351"/>
              <a:gd name="connsiteX17" fmla="*/ 10345 w 17901"/>
              <a:gd name="connsiteY17" fmla="*/ 63 h 21351"/>
              <a:gd name="connsiteX18" fmla="*/ 9835 w 17901"/>
              <a:gd name="connsiteY18" fmla="*/ 0 h 21351"/>
              <a:gd name="connsiteX19" fmla="*/ 9604 w 17901"/>
              <a:gd name="connsiteY19" fmla="*/ 46 h 21351"/>
              <a:gd name="connsiteX20" fmla="*/ 9497 w 17901"/>
              <a:gd name="connsiteY20" fmla="*/ 174 h 21351"/>
              <a:gd name="connsiteX21" fmla="*/ 9565 w 17901"/>
              <a:gd name="connsiteY21" fmla="*/ 321 h 21351"/>
              <a:gd name="connsiteX22" fmla="*/ 9721 w 17901"/>
              <a:gd name="connsiteY22" fmla="*/ 490 h 21351"/>
              <a:gd name="connsiteX23" fmla="*/ 9943 w 17901"/>
              <a:gd name="connsiteY23" fmla="*/ 1358 h 21351"/>
              <a:gd name="connsiteX24" fmla="*/ 9777 w 17901"/>
              <a:gd name="connsiteY24" fmla="*/ 2309 h 21351"/>
              <a:gd name="connsiteX25" fmla="*/ 8940 w 17901"/>
              <a:gd name="connsiteY25" fmla="*/ 4055 h 21351"/>
              <a:gd name="connsiteX26" fmla="*/ 7534 w 17901"/>
              <a:gd name="connsiteY26" fmla="*/ 6018 h 21351"/>
              <a:gd name="connsiteX27" fmla="*/ 6028 w 17901"/>
              <a:gd name="connsiteY27" fmla="*/ 7799 h 21351"/>
              <a:gd name="connsiteX0" fmla="*/ 6028 w 17901"/>
              <a:gd name="connsiteY0" fmla="*/ 7799 h 21351"/>
              <a:gd name="connsiteX1" fmla="*/ 3612 w 17901"/>
              <a:gd name="connsiteY1" fmla="*/ 10665 h 21351"/>
              <a:gd name="connsiteX2" fmla="*/ 1285 w 17901"/>
              <a:gd name="connsiteY2" fmla="*/ 13598 h 21351"/>
              <a:gd name="connsiteX3" fmla="*/ 34 w 17901"/>
              <a:gd name="connsiteY3" fmla="*/ 16246 h 21351"/>
              <a:gd name="connsiteX4" fmla="*/ 178 w 17901"/>
              <a:gd name="connsiteY4" fmla="*/ 17532 h 21351"/>
              <a:gd name="connsiteX5" fmla="*/ 910 w 17901"/>
              <a:gd name="connsiteY5" fmla="*/ 18276 h 21351"/>
              <a:gd name="connsiteX6" fmla="*/ 1838 w 17901"/>
              <a:gd name="connsiteY6" fmla="*/ 18780 h 21351"/>
              <a:gd name="connsiteX7" fmla="*/ 5988 w 17901"/>
              <a:gd name="connsiteY7" fmla="*/ 20199 h 21351"/>
              <a:gd name="connsiteX8" fmla="*/ 11701 w 17901"/>
              <a:gd name="connsiteY8" fmla="*/ 21304 h 21351"/>
              <a:gd name="connsiteX9" fmla="*/ 17814 w 17901"/>
              <a:gd name="connsiteY9" fmla="*/ 20996 h 21351"/>
              <a:gd name="connsiteX10" fmla="*/ 17538 w 17901"/>
              <a:gd name="connsiteY10" fmla="*/ 18891 h 21351"/>
              <a:gd name="connsiteX11" fmla="*/ 17878 w 17901"/>
              <a:gd name="connsiteY11" fmla="*/ 14842 h 21351"/>
              <a:gd name="connsiteX12" fmla="*/ 17859 w 17901"/>
              <a:gd name="connsiteY12" fmla="*/ 5414 h 21351"/>
              <a:gd name="connsiteX13" fmla="*/ 15508 w 17901"/>
              <a:gd name="connsiteY13" fmla="*/ 2919 h 21351"/>
              <a:gd name="connsiteX14" fmla="*/ 15091 w 17901"/>
              <a:gd name="connsiteY14" fmla="*/ 2553 h 21351"/>
              <a:gd name="connsiteX15" fmla="*/ 13043 w 17901"/>
              <a:gd name="connsiteY15" fmla="*/ 1180 h 21351"/>
              <a:gd name="connsiteX16" fmla="*/ 10864 w 17901"/>
              <a:gd name="connsiteY16" fmla="*/ 188 h 21351"/>
              <a:gd name="connsiteX17" fmla="*/ 10345 w 17901"/>
              <a:gd name="connsiteY17" fmla="*/ 63 h 21351"/>
              <a:gd name="connsiteX18" fmla="*/ 9835 w 17901"/>
              <a:gd name="connsiteY18" fmla="*/ 0 h 21351"/>
              <a:gd name="connsiteX19" fmla="*/ 9604 w 17901"/>
              <a:gd name="connsiteY19" fmla="*/ 46 h 21351"/>
              <a:gd name="connsiteX20" fmla="*/ 9497 w 17901"/>
              <a:gd name="connsiteY20" fmla="*/ 174 h 21351"/>
              <a:gd name="connsiteX21" fmla="*/ 9565 w 17901"/>
              <a:gd name="connsiteY21" fmla="*/ 321 h 21351"/>
              <a:gd name="connsiteX22" fmla="*/ 9721 w 17901"/>
              <a:gd name="connsiteY22" fmla="*/ 490 h 21351"/>
              <a:gd name="connsiteX23" fmla="*/ 9943 w 17901"/>
              <a:gd name="connsiteY23" fmla="*/ 1358 h 21351"/>
              <a:gd name="connsiteX24" fmla="*/ 9777 w 17901"/>
              <a:gd name="connsiteY24" fmla="*/ 2309 h 21351"/>
              <a:gd name="connsiteX25" fmla="*/ 8940 w 17901"/>
              <a:gd name="connsiteY25" fmla="*/ 4055 h 21351"/>
              <a:gd name="connsiteX26" fmla="*/ 7534 w 17901"/>
              <a:gd name="connsiteY26" fmla="*/ 6018 h 21351"/>
              <a:gd name="connsiteX27" fmla="*/ 6028 w 17901"/>
              <a:gd name="connsiteY27" fmla="*/ 7799 h 21351"/>
              <a:gd name="connsiteX0" fmla="*/ 6028 w 17901"/>
              <a:gd name="connsiteY0" fmla="*/ 7799 h 21351"/>
              <a:gd name="connsiteX1" fmla="*/ 3612 w 17901"/>
              <a:gd name="connsiteY1" fmla="*/ 10665 h 21351"/>
              <a:gd name="connsiteX2" fmla="*/ 1285 w 17901"/>
              <a:gd name="connsiteY2" fmla="*/ 13598 h 21351"/>
              <a:gd name="connsiteX3" fmla="*/ 34 w 17901"/>
              <a:gd name="connsiteY3" fmla="*/ 16246 h 21351"/>
              <a:gd name="connsiteX4" fmla="*/ 178 w 17901"/>
              <a:gd name="connsiteY4" fmla="*/ 17532 h 21351"/>
              <a:gd name="connsiteX5" fmla="*/ 910 w 17901"/>
              <a:gd name="connsiteY5" fmla="*/ 18276 h 21351"/>
              <a:gd name="connsiteX6" fmla="*/ 1838 w 17901"/>
              <a:gd name="connsiteY6" fmla="*/ 18780 h 21351"/>
              <a:gd name="connsiteX7" fmla="*/ 5988 w 17901"/>
              <a:gd name="connsiteY7" fmla="*/ 20199 h 21351"/>
              <a:gd name="connsiteX8" fmla="*/ 11701 w 17901"/>
              <a:gd name="connsiteY8" fmla="*/ 21304 h 21351"/>
              <a:gd name="connsiteX9" fmla="*/ 17814 w 17901"/>
              <a:gd name="connsiteY9" fmla="*/ 20996 h 21351"/>
              <a:gd name="connsiteX10" fmla="*/ 17538 w 17901"/>
              <a:gd name="connsiteY10" fmla="*/ 18891 h 21351"/>
              <a:gd name="connsiteX11" fmla="*/ 17878 w 17901"/>
              <a:gd name="connsiteY11" fmla="*/ 14842 h 21351"/>
              <a:gd name="connsiteX12" fmla="*/ 17859 w 17901"/>
              <a:gd name="connsiteY12" fmla="*/ 5414 h 21351"/>
              <a:gd name="connsiteX13" fmla="*/ 15508 w 17901"/>
              <a:gd name="connsiteY13" fmla="*/ 2919 h 21351"/>
              <a:gd name="connsiteX14" fmla="*/ 15091 w 17901"/>
              <a:gd name="connsiteY14" fmla="*/ 2553 h 21351"/>
              <a:gd name="connsiteX15" fmla="*/ 13043 w 17901"/>
              <a:gd name="connsiteY15" fmla="*/ 1180 h 21351"/>
              <a:gd name="connsiteX16" fmla="*/ 10864 w 17901"/>
              <a:gd name="connsiteY16" fmla="*/ 188 h 21351"/>
              <a:gd name="connsiteX17" fmla="*/ 10345 w 17901"/>
              <a:gd name="connsiteY17" fmla="*/ 63 h 21351"/>
              <a:gd name="connsiteX18" fmla="*/ 9835 w 17901"/>
              <a:gd name="connsiteY18" fmla="*/ 0 h 21351"/>
              <a:gd name="connsiteX19" fmla="*/ 9604 w 17901"/>
              <a:gd name="connsiteY19" fmla="*/ 46 h 21351"/>
              <a:gd name="connsiteX20" fmla="*/ 9497 w 17901"/>
              <a:gd name="connsiteY20" fmla="*/ 174 h 21351"/>
              <a:gd name="connsiteX21" fmla="*/ 9565 w 17901"/>
              <a:gd name="connsiteY21" fmla="*/ 321 h 21351"/>
              <a:gd name="connsiteX22" fmla="*/ 9721 w 17901"/>
              <a:gd name="connsiteY22" fmla="*/ 490 h 21351"/>
              <a:gd name="connsiteX23" fmla="*/ 9943 w 17901"/>
              <a:gd name="connsiteY23" fmla="*/ 1358 h 21351"/>
              <a:gd name="connsiteX24" fmla="*/ 9777 w 17901"/>
              <a:gd name="connsiteY24" fmla="*/ 2309 h 21351"/>
              <a:gd name="connsiteX25" fmla="*/ 8940 w 17901"/>
              <a:gd name="connsiteY25" fmla="*/ 4055 h 21351"/>
              <a:gd name="connsiteX26" fmla="*/ 7534 w 17901"/>
              <a:gd name="connsiteY26" fmla="*/ 6018 h 21351"/>
              <a:gd name="connsiteX27" fmla="*/ 6028 w 17901"/>
              <a:gd name="connsiteY27" fmla="*/ 7799 h 21351"/>
              <a:gd name="connsiteX0" fmla="*/ 6028 w 17879"/>
              <a:gd name="connsiteY0" fmla="*/ 7799 h 21351"/>
              <a:gd name="connsiteX1" fmla="*/ 3612 w 17879"/>
              <a:gd name="connsiteY1" fmla="*/ 10665 h 21351"/>
              <a:gd name="connsiteX2" fmla="*/ 1285 w 17879"/>
              <a:gd name="connsiteY2" fmla="*/ 13598 h 21351"/>
              <a:gd name="connsiteX3" fmla="*/ 34 w 17879"/>
              <a:gd name="connsiteY3" fmla="*/ 16246 h 21351"/>
              <a:gd name="connsiteX4" fmla="*/ 178 w 17879"/>
              <a:gd name="connsiteY4" fmla="*/ 17532 h 21351"/>
              <a:gd name="connsiteX5" fmla="*/ 910 w 17879"/>
              <a:gd name="connsiteY5" fmla="*/ 18276 h 21351"/>
              <a:gd name="connsiteX6" fmla="*/ 1838 w 17879"/>
              <a:gd name="connsiteY6" fmla="*/ 18780 h 21351"/>
              <a:gd name="connsiteX7" fmla="*/ 5988 w 17879"/>
              <a:gd name="connsiteY7" fmla="*/ 20199 h 21351"/>
              <a:gd name="connsiteX8" fmla="*/ 11701 w 17879"/>
              <a:gd name="connsiteY8" fmla="*/ 21304 h 21351"/>
              <a:gd name="connsiteX9" fmla="*/ 17814 w 17879"/>
              <a:gd name="connsiteY9" fmla="*/ 20996 h 21351"/>
              <a:gd name="connsiteX10" fmla="*/ 17834 w 17879"/>
              <a:gd name="connsiteY10" fmla="*/ 18892 h 21351"/>
              <a:gd name="connsiteX11" fmla="*/ 17878 w 17879"/>
              <a:gd name="connsiteY11" fmla="*/ 14842 h 21351"/>
              <a:gd name="connsiteX12" fmla="*/ 17859 w 17879"/>
              <a:gd name="connsiteY12" fmla="*/ 5414 h 21351"/>
              <a:gd name="connsiteX13" fmla="*/ 15508 w 17879"/>
              <a:gd name="connsiteY13" fmla="*/ 2919 h 21351"/>
              <a:gd name="connsiteX14" fmla="*/ 15091 w 17879"/>
              <a:gd name="connsiteY14" fmla="*/ 2553 h 21351"/>
              <a:gd name="connsiteX15" fmla="*/ 13043 w 17879"/>
              <a:gd name="connsiteY15" fmla="*/ 1180 h 21351"/>
              <a:gd name="connsiteX16" fmla="*/ 10864 w 17879"/>
              <a:gd name="connsiteY16" fmla="*/ 188 h 21351"/>
              <a:gd name="connsiteX17" fmla="*/ 10345 w 17879"/>
              <a:gd name="connsiteY17" fmla="*/ 63 h 21351"/>
              <a:gd name="connsiteX18" fmla="*/ 9835 w 17879"/>
              <a:gd name="connsiteY18" fmla="*/ 0 h 21351"/>
              <a:gd name="connsiteX19" fmla="*/ 9604 w 17879"/>
              <a:gd name="connsiteY19" fmla="*/ 46 h 21351"/>
              <a:gd name="connsiteX20" fmla="*/ 9497 w 17879"/>
              <a:gd name="connsiteY20" fmla="*/ 174 h 21351"/>
              <a:gd name="connsiteX21" fmla="*/ 9565 w 17879"/>
              <a:gd name="connsiteY21" fmla="*/ 321 h 21351"/>
              <a:gd name="connsiteX22" fmla="*/ 9721 w 17879"/>
              <a:gd name="connsiteY22" fmla="*/ 490 h 21351"/>
              <a:gd name="connsiteX23" fmla="*/ 9943 w 17879"/>
              <a:gd name="connsiteY23" fmla="*/ 1358 h 21351"/>
              <a:gd name="connsiteX24" fmla="*/ 9777 w 17879"/>
              <a:gd name="connsiteY24" fmla="*/ 2309 h 21351"/>
              <a:gd name="connsiteX25" fmla="*/ 8940 w 17879"/>
              <a:gd name="connsiteY25" fmla="*/ 4055 h 21351"/>
              <a:gd name="connsiteX26" fmla="*/ 7534 w 17879"/>
              <a:gd name="connsiteY26" fmla="*/ 6018 h 21351"/>
              <a:gd name="connsiteX27" fmla="*/ 6028 w 17879"/>
              <a:gd name="connsiteY27" fmla="*/ 7799 h 21351"/>
              <a:gd name="connsiteX0" fmla="*/ 6028 w 17879"/>
              <a:gd name="connsiteY0" fmla="*/ 7799 h 21351"/>
              <a:gd name="connsiteX1" fmla="*/ 3612 w 17879"/>
              <a:gd name="connsiteY1" fmla="*/ 10665 h 21351"/>
              <a:gd name="connsiteX2" fmla="*/ 1285 w 17879"/>
              <a:gd name="connsiteY2" fmla="*/ 13598 h 21351"/>
              <a:gd name="connsiteX3" fmla="*/ 34 w 17879"/>
              <a:gd name="connsiteY3" fmla="*/ 16246 h 21351"/>
              <a:gd name="connsiteX4" fmla="*/ 178 w 17879"/>
              <a:gd name="connsiteY4" fmla="*/ 17532 h 21351"/>
              <a:gd name="connsiteX5" fmla="*/ 910 w 17879"/>
              <a:gd name="connsiteY5" fmla="*/ 18276 h 21351"/>
              <a:gd name="connsiteX6" fmla="*/ 1838 w 17879"/>
              <a:gd name="connsiteY6" fmla="*/ 18780 h 21351"/>
              <a:gd name="connsiteX7" fmla="*/ 5988 w 17879"/>
              <a:gd name="connsiteY7" fmla="*/ 20199 h 21351"/>
              <a:gd name="connsiteX8" fmla="*/ 11701 w 17879"/>
              <a:gd name="connsiteY8" fmla="*/ 21304 h 21351"/>
              <a:gd name="connsiteX9" fmla="*/ 17814 w 17879"/>
              <a:gd name="connsiteY9" fmla="*/ 20996 h 21351"/>
              <a:gd name="connsiteX10" fmla="*/ 17834 w 17879"/>
              <a:gd name="connsiteY10" fmla="*/ 18892 h 21351"/>
              <a:gd name="connsiteX11" fmla="*/ 17878 w 17879"/>
              <a:gd name="connsiteY11" fmla="*/ 14842 h 21351"/>
              <a:gd name="connsiteX12" fmla="*/ 17859 w 17879"/>
              <a:gd name="connsiteY12" fmla="*/ 5414 h 21351"/>
              <a:gd name="connsiteX13" fmla="*/ 15508 w 17879"/>
              <a:gd name="connsiteY13" fmla="*/ 2919 h 21351"/>
              <a:gd name="connsiteX14" fmla="*/ 15091 w 17879"/>
              <a:gd name="connsiteY14" fmla="*/ 2553 h 21351"/>
              <a:gd name="connsiteX15" fmla="*/ 13043 w 17879"/>
              <a:gd name="connsiteY15" fmla="*/ 1180 h 21351"/>
              <a:gd name="connsiteX16" fmla="*/ 10864 w 17879"/>
              <a:gd name="connsiteY16" fmla="*/ 188 h 21351"/>
              <a:gd name="connsiteX17" fmla="*/ 10345 w 17879"/>
              <a:gd name="connsiteY17" fmla="*/ 63 h 21351"/>
              <a:gd name="connsiteX18" fmla="*/ 9835 w 17879"/>
              <a:gd name="connsiteY18" fmla="*/ 0 h 21351"/>
              <a:gd name="connsiteX19" fmla="*/ 9604 w 17879"/>
              <a:gd name="connsiteY19" fmla="*/ 46 h 21351"/>
              <a:gd name="connsiteX20" fmla="*/ 9497 w 17879"/>
              <a:gd name="connsiteY20" fmla="*/ 174 h 21351"/>
              <a:gd name="connsiteX21" fmla="*/ 9565 w 17879"/>
              <a:gd name="connsiteY21" fmla="*/ 321 h 21351"/>
              <a:gd name="connsiteX22" fmla="*/ 9721 w 17879"/>
              <a:gd name="connsiteY22" fmla="*/ 490 h 21351"/>
              <a:gd name="connsiteX23" fmla="*/ 9943 w 17879"/>
              <a:gd name="connsiteY23" fmla="*/ 1358 h 21351"/>
              <a:gd name="connsiteX24" fmla="*/ 9777 w 17879"/>
              <a:gd name="connsiteY24" fmla="*/ 2309 h 21351"/>
              <a:gd name="connsiteX25" fmla="*/ 8940 w 17879"/>
              <a:gd name="connsiteY25" fmla="*/ 4055 h 21351"/>
              <a:gd name="connsiteX26" fmla="*/ 7534 w 17879"/>
              <a:gd name="connsiteY26" fmla="*/ 6018 h 21351"/>
              <a:gd name="connsiteX27" fmla="*/ 6028 w 17879"/>
              <a:gd name="connsiteY27" fmla="*/ 7799 h 21351"/>
              <a:gd name="connsiteX0" fmla="*/ 6028 w 17879"/>
              <a:gd name="connsiteY0" fmla="*/ 7799 h 21148"/>
              <a:gd name="connsiteX1" fmla="*/ 3612 w 17879"/>
              <a:gd name="connsiteY1" fmla="*/ 10665 h 21148"/>
              <a:gd name="connsiteX2" fmla="*/ 1285 w 17879"/>
              <a:gd name="connsiteY2" fmla="*/ 13598 h 21148"/>
              <a:gd name="connsiteX3" fmla="*/ 34 w 17879"/>
              <a:gd name="connsiteY3" fmla="*/ 16246 h 21148"/>
              <a:gd name="connsiteX4" fmla="*/ 178 w 17879"/>
              <a:gd name="connsiteY4" fmla="*/ 17532 h 21148"/>
              <a:gd name="connsiteX5" fmla="*/ 910 w 17879"/>
              <a:gd name="connsiteY5" fmla="*/ 18276 h 21148"/>
              <a:gd name="connsiteX6" fmla="*/ 1838 w 17879"/>
              <a:gd name="connsiteY6" fmla="*/ 18780 h 21148"/>
              <a:gd name="connsiteX7" fmla="*/ 5988 w 17879"/>
              <a:gd name="connsiteY7" fmla="*/ 20199 h 21148"/>
              <a:gd name="connsiteX8" fmla="*/ 11611 w 17879"/>
              <a:gd name="connsiteY8" fmla="*/ 20976 h 21148"/>
              <a:gd name="connsiteX9" fmla="*/ 17814 w 17879"/>
              <a:gd name="connsiteY9" fmla="*/ 20996 h 21148"/>
              <a:gd name="connsiteX10" fmla="*/ 17834 w 17879"/>
              <a:gd name="connsiteY10" fmla="*/ 18892 h 21148"/>
              <a:gd name="connsiteX11" fmla="*/ 17878 w 17879"/>
              <a:gd name="connsiteY11" fmla="*/ 14842 h 21148"/>
              <a:gd name="connsiteX12" fmla="*/ 17859 w 17879"/>
              <a:gd name="connsiteY12" fmla="*/ 5414 h 21148"/>
              <a:gd name="connsiteX13" fmla="*/ 15508 w 17879"/>
              <a:gd name="connsiteY13" fmla="*/ 2919 h 21148"/>
              <a:gd name="connsiteX14" fmla="*/ 15091 w 17879"/>
              <a:gd name="connsiteY14" fmla="*/ 2553 h 21148"/>
              <a:gd name="connsiteX15" fmla="*/ 13043 w 17879"/>
              <a:gd name="connsiteY15" fmla="*/ 1180 h 21148"/>
              <a:gd name="connsiteX16" fmla="*/ 10864 w 17879"/>
              <a:gd name="connsiteY16" fmla="*/ 188 h 21148"/>
              <a:gd name="connsiteX17" fmla="*/ 10345 w 17879"/>
              <a:gd name="connsiteY17" fmla="*/ 63 h 21148"/>
              <a:gd name="connsiteX18" fmla="*/ 9835 w 17879"/>
              <a:gd name="connsiteY18" fmla="*/ 0 h 21148"/>
              <a:gd name="connsiteX19" fmla="*/ 9604 w 17879"/>
              <a:gd name="connsiteY19" fmla="*/ 46 h 21148"/>
              <a:gd name="connsiteX20" fmla="*/ 9497 w 17879"/>
              <a:gd name="connsiteY20" fmla="*/ 174 h 21148"/>
              <a:gd name="connsiteX21" fmla="*/ 9565 w 17879"/>
              <a:gd name="connsiteY21" fmla="*/ 321 h 21148"/>
              <a:gd name="connsiteX22" fmla="*/ 9721 w 17879"/>
              <a:gd name="connsiteY22" fmla="*/ 490 h 21148"/>
              <a:gd name="connsiteX23" fmla="*/ 9943 w 17879"/>
              <a:gd name="connsiteY23" fmla="*/ 1358 h 21148"/>
              <a:gd name="connsiteX24" fmla="*/ 9777 w 17879"/>
              <a:gd name="connsiteY24" fmla="*/ 2309 h 21148"/>
              <a:gd name="connsiteX25" fmla="*/ 8940 w 17879"/>
              <a:gd name="connsiteY25" fmla="*/ 4055 h 21148"/>
              <a:gd name="connsiteX26" fmla="*/ 7534 w 17879"/>
              <a:gd name="connsiteY26" fmla="*/ 6018 h 21148"/>
              <a:gd name="connsiteX27" fmla="*/ 6028 w 17879"/>
              <a:gd name="connsiteY27" fmla="*/ 7799 h 21148"/>
              <a:gd name="connsiteX0" fmla="*/ 6028 w 17879"/>
              <a:gd name="connsiteY0" fmla="*/ 7799 h 21084"/>
              <a:gd name="connsiteX1" fmla="*/ 3612 w 17879"/>
              <a:gd name="connsiteY1" fmla="*/ 10665 h 21084"/>
              <a:gd name="connsiteX2" fmla="*/ 1285 w 17879"/>
              <a:gd name="connsiteY2" fmla="*/ 13598 h 21084"/>
              <a:gd name="connsiteX3" fmla="*/ 34 w 17879"/>
              <a:gd name="connsiteY3" fmla="*/ 16246 h 21084"/>
              <a:gd name="connsiteX4" fmla="*/ 178 w 17879"/>
              <a:gd name="connsiteY4" fmla="*/ 17532 h 21084"/>
              <a:gd name="connsiteX5" fmla="*/ 910 w 17879"/>
              <a:gd name="connsiteY5" fmla="*/ 18276 h 21084"/>
              <a:gd name="connsiteX6" fmla="*/ 1838 w 17879"/>
              <a:gd name="connsiteY6" fmla="*/ 18780 h 21084"/>
              <a:gd name="connsiteX7" fmla="*/ 5988 w 17879"/>
              <a:gd name="connsiteY7" fmla="*/ 20199 h 21084"/>
              <a:gd name="connsiteX8" fmla="*/ 11611 w 17879"/>
              <a:gd name="connsiteY8" fmla="*/ 20976 h 21084"/>
              <a:gd name="connsiteX9" fmla="*/ 17814 w 17879"/>
              <a:gd name="connsiteY9" fmla="*/ 20996 h 21084"/>
              <a:gd name="connsiteX10" fmla="*/ 17834 w 17879"/>
              <a:gd name="connsiteY10" fmla="*/ 18892 h 21084"/>
              <a:gd name="connsiteX11" fmla="*/ 17878 w 17879"/>
              <a:gd name="connsiteY11" fmla="*/ 14842 h 21084"/>
              <a:gd name="connsiteX12" fmla="*/ 17859 w 17879"/>
              <a:gd name="connsiteY12" fmla="*/ 5414 h 21084"/>
              <a:gd name="connsiteX13" fmla="*/ 15508 w 17879"/>
              <a:gd name="connsiteY13" fmla="*/ 2919 h 21084"/>
              <a:gd name="connsiteX14" fmla="*/ 15091 w 17879"/>
              <a:gd name="connsiteY14" fmla="*/ 2553 h 21084"/>
              <a:gd name="connsiteX15" fmla="*/ 13043 w 17879"/>
              <a:gd name="connsiteY15" fmla="*/ 1180 h 21084"/>
              <a:gd name="connsiteX16" fmla="*/ 10864 w 17879"/>
              <a:gd name="connsiteY16" fmla="*/ 188 h 21084"/>
              <a:gd name="connsiteX17" fmla="*/ 10345 w 17879"/>
              <a:gd name="connsiteY17" fmla="*/ 63 h 21084"/>
              <a:gd name="connsiteX18" fmla="*/ 9835 w 17879"/>
              <a:gd name="connsiteY18" fmla="*/ 0 h 21084"/>
              <a:gd name="connsiteX19" fmla="*/ 9604 w 17879"/>
              <a:gd name="connsiteY19" fmla="*/ 46 h 21084"/>
              <a:gd name="connsiteX20" fmla="*/ 9497 w 17879"/>
              <a:gd name="connsiteY20" fmla="*/ 174 h 21084"/>
              <a:gd name="connsiteX21" fmla="*/ 9565 w 17879"/>
              <a:gd name="connsiteY21" fmla="*/ 321 h 21084"/>
              <a:gd name="connsiteX22" fmla="*/ 9721 w 17879"/>
              <a:gd name="connsiteY22" fmla="*/ 490 h 21084"/>
              <a:gd name="connsiteX23" fmla="*/ 9943 w 17879"/>
              <a:gd name="connsiteY23" fmla="*/ 1358 h 21084"/>
              <a:gd name="connsiteX24" fmla="*/ 9777 w 17879"/>
              <a:gd name="connsiteY24" fmla="*/ 2309 h 21084"/>
              <a:gd name="connsiteX25" fmla="*/ 8940 w 17879"/>
              <a:gd name="connsiteY25" fmla="*/ 4055 h 21084"/>
              <a:gd name="connsiteX26" fmla="*/ 7534 w 17879"/>
              <a:gd name="connsiteY26" fmla="*/ 6018 h 21084"/>
              <a:gd name="connsiteX27" fmla="*/ 6028 w 17879"/>
              <a:gd name="connsiteY27" fmla="*/ 7799 h 21084"/>
              <a:gd name="connsiteX0" fmla="*/ 6028 w 17879"/>
              <a:gd name="connsiteY0" fmla="*/ 7799 h 21048"/>
              <a:gd name="connsiteX1" fmla="*/ 3612 w 17879"/>
              <a:gd name="connsiteY1" fmla="*/ 10665 h 21048"/>
              <a:gd name="connsiteX2" fmla="*/ 1285 w 17879"/>
              <a:gd name="connsiteY2" fmla="*/ 13598 h 21048"/>
              <a:gd name="connsiteX3" fmla="*/ 34 w 17879"/>
              <a:gd name="connsiteY3" fmla="*/ 16246 h 21048"/>
              <a:gd name="connsiteX4" fmla="*/ 178 w 17879"/>
              <a:gd name="connsiteY4" fmla="*/ 17532 h 21048"/>
              <a:gd name="connsiteX5" fmla="*/ 910 w 17879"/>
              <a:gd name="connsiteY5" fmla="*/ 18276 h 21048"/>
              <a:gd name="connsiteX6" fmla="*/ 1838 w 17879"/>
              <a:gd name="connsiteY6" fmla="*/ 18780 h 21048"/>
              <a:gd name="connsiteX7" fmla="*/ 5988 w 17879"/>
              <a:gd name="connsiteY7" fmla="*/ 20199 h 21048"/>
              <a:gd name="connsiteX8" fmla="*/ 11612 w 17879"/>
              <a:gd name="connsiteY8" fmla="*/ 20539 h 21048"/>
              <a:gd name="connsiteX9" fmla="*/ 17814 w 17879"/>
              <a:gd name="connsiteY9" fmla="*/ 20996 h 21048"/>
              <a:gd name="connsiteX10" fmla="*/ 17834 w 17879"/>
              <a:gd name="connsiteY10" fmla="*/ 18892 h 21048"/>
              <a:gd name="connsiteX11" fmla="*/ 17878 w 17879"/>
              <a:gd name="connsiteY11" fmla="*/ 14842 h 21048"/>
              <a:gd name="connsiteX12" fmla="*/ 17859 w 17879"/>
              <a:gd name="connsiteY12" fmla="*/ 5414 h 21048"/>
              <a:gd name="connsiteX13" fmla="*/ 15508 w 17879"/>
              <a:gd name="connsiteY13" fmla="*/ 2919 h 21048"/>
              <a:gd name="connsiteX14" fmla="*/ 15091 w 17879"/>
              <a:gd name="connsiteY14" fmla="*/ 2553 h 21048"/>
              <a:gd name="connsiteX15" fmla="*/ 13043 w 17879"/>
              <a:gd name="connsiteY15" fmla="*/ 1180 h 21048"/>
              <a:gd name="connsiteX16" fmla="*/ 10864 w 17879"/>
              <a:gd name="connsiteY16" fmla="*/ 188 h 21048"/>
              <a:gd name="connsiteX17" fmla="*/ 10345 w 17879"/>
              <a:gd name="connsiteY17" fmla="*/ 63 h 21048"/>
              <a:gd name="connsiteX18" fmla="*/ 9835 w 17879"/>
              <a:gd name="connsiteY18" fmla="*/ 0 h 21048"/>
              <a:gd name="connsiteX19" fmla="*/ 9604 w 17879"/>
              <a:gd name="connsiteY19" fmla="*/ 46 h 21048"/>
              <a:gd name="connsiteX20" fmla="*/ 9497 w 17879"/>
              <a:gd name="connsiteY20" fmla="*/ 174 h 21048"/>
              <a:gd name="connsiteX21" fmla="*/ 9565 w 17879"/>
              <a:gd name="connsiteY21" fmla="*/ 321 h 21048"/>
              <a:gd name="connsiteX22" fmla="*/ 9721 w 17879"/>
              <a:gd name="connsiteY22" fmla="*/ 490 h 21048"/>
              <a:gd name="connsiteX23" fmla="*/ 9943 w 17879"/>
              <a:gd name="connsiteY23" fmla="*/ 1358 h 21048"/>
              <a:gd name="connsiteX24" fmla="*/ 9777 w 17879"/>
              <a:gd name="connsiteY24" fmla="*/ 2309 h 21048"/>
              <a:gd name="connsiteX25" fmla="*/ 8940 w 17879"/>
              <a:gd name="connsiteY25" fmla="*/ 4055 h 21048"/>
              <a:gd name="connsiteX26" fmla="*/ 7534 w 17879"/>
              <a:gd name="connsiteY26" fmla="*/ 6018 h 21048"/>
              <a:gd name="connsiteX27" fmla="*/ 6028 w 17879"/>
              <a:gd name="connsiteY27" fmla="*/ 7799 h 21048"/>
              <a:gd name="connsiteX0" fmla="*/ 6028 w 17879"/>
              <a:gd name="connsiteY0" fmla="*/ 7799 h 21074"/>
              <a:gd name="connsiteX1" fmla="*/ 3612 w 17879"/>
              <a:gd name="connsiteY1" fmla="*/ 10665 h 21074"/>
              <a:gd name="connsiteX2" fmla="*/ 1285 w 17879"/>
              <a:gd name="connsiteY2" fmla="*/ 13598 h 21074"/>
              <a:gd name="connsiteX3" fmla="*/ 34 w 17879"/>
              <a:gd name="connsiteY3" fmla="*/ 16246 h 21074"/>
              <a:gd name="connsiteX4" fmla="*/ 178 w 17879"/>
              <a:gd name="connsiteY4" fmla="*/ 17532 h 21074"/>
              <a:gd name="connsiteX5" fmla="*/ 910 w 17879"/>
              <a:gd name="connsiteY5" fmla="*/ 18276 h 21074"/>
              <a:gd name="connsiteX6" fmla="*/ 1838 w 17879"/>
              <a:gd name="connsiteY6" fmla="*/ 18780 h 21074"/>
              <a:gd name="connsiteX7" fmla="*/ 5988 w 17879"/>
              <a:gd name="connsiteY7" fmla="*/ 20199 h 21074"/>
              <a:gd name="connsiteX8" fmla="*/ 11588 w 17879"/>
              <a:gd name="connsiteY8" fmla="*/ 20894 h 21074"/>
              <a:gd name="connsiteX9" fmla="*/ 17814 w 17879"/>
              <a:gd name="connsiteY9" fmla="*/ 20996 h 21074"/>
              <a:gd name="connsiteX10" fmla="*/ 17834 w 17879"/>
              <a:gd name="connsiteY10" fmla="*/ 18892 h 21074"/>
              <a:gd name="connsiteX11" fmla="*/ 17878 w 17879"/>
              <a:gd name="connsiteY11" fmla="*/ 14842 h 21074"/>
              <a:gd name="connsiteX12" fmla="*/ 17859 w 17879"/>
              <a:gd name="connsiteY12" fmla="*/ 5414 h 21074"/>
              <a:gd name="connsiteX13" fmla="*/ 15508 w 17879"/>
              <a:gd name="connsiteY13" fmla="*/ 2919 h 21074"/>
              <a:gd name="connsiteX14" fmla="*/ 15091 w 17879"/>
              <a:gd name="connsiteY14" fmla="*/ 2553 h 21074"/>
              <a:gd name="connsiteX15" fmla="*/ 13043 w 17879"/>
              <a:gd name="connsiteY15" fmla="*/ 1180 h 21074"/>
              <a:gd name="connsiteX16" fmla="*/ 10864 w 17879"/>
              <a:gd name="connsiteY16" fmla="*/ 188 h 21074"/>
              <a:gd name="connsiteX17" fmla="*/ 10345 w 17879"/>
              <a:gd name="connsiteY17" fmla="*/ 63 h 21074"/>
              <a:gd name="connsiteX18" fmla="*/ 9835 w 17879"/>
              <a:gd name="connsiteY18" fmla="*/ 0 h 21074"/>
              <a:gd name="connsiteX19" fmla="*/ 9604 w 17879"/>
              <a:gd name="connsiteY19" fmla="*/ 46 h 21074"/>
              <a:gd name="connsiteX20" fmla="*/ 9497 w 17879"/>
              <a:gd name="connsiteY20" fmla="*/ 174 h 21074"/>
              <a:gd name="connsiteX21" fmla="*/ 9565 w 17879"/>
              <a:gd name="connsiteY21" fmla="*/ 321 h 21074"/>
              <a:gd name="connsiteX22" fmla="*/ 9721 w 17879"/>
              <a:gd name="connsiteY22" fmla="*/ 490 h 21074"/>
              <a:gd name="connsiteX23" fmla="*/ 9943 w 17879"/>
              <a:gd name="connsiteY23" fmla="*/ 1358 h 21074"/>
              <a:gd name="connsiteX24" fmla="*/ 9777 w 17879"/>
              <a:gd name="connsiteY24" fmla="*/ 2309 h 21074"/>
              <a:gd name="connsiteX25" fmla="*/ 8940 w 17879"/>
              <a:gd name="connsiteY25" fmla="*/ 4055 h 21074"/>
              <a:gd name="connsiteX26" fmla="*/ 7534 w 17879"/>
              <a:gd name="connsiteY26" fmla="*/ 6018 h 21074"/>
              <a:gd name="connsiteX27" fmla="*/ 6028 w 17879"/>
              <a:gd name="connsiteY27" fmla="*/ 7799 h 21074"/>
              <a:gd name="connsiteX0" fmla="*/ 6028 w 17879"/>
              <a:gd name="connsiteY0" fmla="*/ 7799 h 20977"/>
              <a:gd name="connsiteX1" fmla="*/ 3612 w 17879"/>
              <a:gd name="connsiteY1" fmla="*/ 10665 h 20977"/>
              <a:gd name="connsiteX2" fmla="*/ 1285 w 17879"/>
              <a:gd name="connsiteY2" fmla="*/ 13598 h 20977"/>
              <a:gd name="connsiteX3" fmla="*/ 34 w 17879"/>
              <a:gd name="connsiteY3" fmla="*/ 16246 h 20977"/>
              <a:gd name="connsiteX4" fmla="*/ 178 w 17879"/>
              <a:gd name="connsiteY4" fmla="*/ 17532 h 20977"/>
              <a:gd name="connsiteX5" fmla="*/ 910 w 17879"/>
              <a:gd name="connsiteY5" fmla="*/ 18276 h 20977"/>
              <a:gd name="connsiteX6" fmla="*/ 1838 w 17879"/>
              <a:gd name="connsiteY6" fmla="*/ 18780 h 20977"/>
              <a:gd name="connsiteX7" fmla="*/ 5988 w 17879"/>
              <a:gd name="connsiteY7" fmla="*/ 20199 h 20977"/>
              <a:gd name="connsiteX8" fmla="*/ 11588 w 17879"/>
              <a:gd name="connsiteY8" fmla="*/ 20894 h 20977"/>
              <a:gd name="connsiteX9" fmla="*/ 17814 w 17879"/>
              <a:gd name="connsiteY9" fmla="*/ 20777 h 20977"/>
              <a:gd name="connsiteX10" fmla="*/ 17834 w 17879"/>
              <a:gd name="connsiteY10" fmla="*/ 18892 h 20977"/>
              <a:gd name="connsiteX11" fmla="*/ 17878 w 17879"/>
              <a:gd name="connsiteY11" fmla="*/ 14842 h 20977"/>
              <a:gd name="connsiteX12" fmla="*/ 17859 w 17879"/>
              <a:gd name="connsiteY12" fmla="*/ 5414 h 20977"/>
              <a:gd name="connsiteX13" fmla="*/ 15508 w 17879"/>
              <a:gd name="connsiteY13" fmla="*/ 2919 h 20977"/>
              <a:gd name="connsiteX14" fmla="*/ 15091 w 17879"/>
              <a:gd name="connsiteY14" fmla="*/ 2553 h 20977"/>
              <a:gd name="connsiteX15" fmla="*/ 13043 w 17879"/>
              <a:gd name="connsiteY15" fmla="*/ 1180 h 20977"/>
              <a:gd name="connsiteX16" fmla="*/ 10864 w 17879"/>
              <a:gd name="connsiteY16" fmla="*/ 188 h 20977"/>
              <a:gd name="connsiteX17" fmla="*/ 10345 w 17879"/>
              <a:gd name="connsiteY17" fmla="*/ 63 h 20977"/>
              <a:gd name="connsiteX18" fmla="*/ 9835 w 17879"/>
              <a:gd name="connsiteY18" fmla="*/ 0 h 20977"/>
              <a:gd name="connsiteX19" fmla="*/ 9604 w 17879"/>
              <a:gd name="connsiteY19" fmla="*/ 46 h 20977"/>
              <a:gd name="connsiteX20" fmla="*/ 9497 w 17879"/>
              <a:gd name="connsiteY20" fmla="*/ 174 h 20977"/>
              <a:gd name="connsiteX21" fmla="*/ 9565 w 17879"/>
              <a:gd name="connsiteY21" fmla="*/ 321 h 20977"/>
              <a:gd name="connsiteX22" fmla="*/ 9721 w 17879"/>
              <a:gd name="connsiteY22" fmla="*/ 490 h 20977"/>
              <a:gd name="connsiteX23" fmla="*/ 9943 w 17879"/>
              <a:gd name="connsiteY23" fmla="*/ 1358 h 20977"/>
              <a:gd name="connsiteX24" fmla="*/ 9777 w 17879"/>
              <a:gd name="connsiteY24" fmla="*/ 2309 h 20977"/>
              <a:gd name="connsiteX25" fmla="*/ 8940 w 17879"/>
              <a:gd name="connsiteY25" fmla="*/ 4055 h 20977"/>
              <a:gd name="connsiteX26" fmla="*/ 7534 w 17879"/>
              <a:gd name="connsiteY26" fmla="*/ 6018 h 20977"/>
              <a:gd name="connsiteX27" fmla="*/ 6028 w 17879"/>
              <a:gd name="connsiteY27" fmla="*/ 7799 h 20977"/>
              <a:gd name="connsiteX0" fmla="*/ 6028 w 17879"/>
              <a:gd name="connsiteY0" fmla="*/ 7799 h 21062"/>
              <a:gd name="connsiteX1" fmla="*/ 3612 w 17879"/>
              <a:gd name="connsiteY1" fmla="*/ 10665 h 21062"/>
              <a:gd name="connsiteX2" fmla="*/ 1285 w 17879"/>
              <a:gd name="connsiteY2" fmla="*/ 13598 h 21062"/>
              <a:gd name="connsiteX3" fmla="*/ 34 w 17879"/>
              <a:gd name="connsiteY3" fmla="*/ 16246 h 21062"/>
              <a:gd name="connsiteX4" fmla="*/ 178 w 17879"/>
              <a:gd name="connsiteY4" fmla="*/ 17532 h 21062"/>
              <a:gd name="connsiteX5" fmla="*/ 910 w 17879"/>
              <a:gd name="connsiteY5" fmla="*/ 18276 h 21062"/>
              <a:gd name="connsiteX6" fmla="*/ 1838 w 17879"/>
              <a:gd name="connsiteY6" fmla="*/ 18780 h 21062"/>
              <a:gd name="connsiteX7" fmla="*/ 5988 w 17879"/>
              <a:gd name="connsiteY7" fmla="*/ 20199 h 21062"/>
              <a:gd name="connsiteX8" fmla="*/ 11588 w 17879"/>
              <a:gd name="connsiteY8" fmla="*/ 20894 h 21062"/>
              <a:gd name="connsiteX9" fmla="*/ 17814 w 17879"/>
              <a:gd name="connsiteY9" fmla="*/ 20914 h 21062"/>
              <a:gd name="connsiteX10" fmla="*/ 17834 w 17879"/>
              <a:gd name="connsiteY10" fmla="*/ 18892 h 21062"/>
              <a:gd name="connsiteX11" fmla="*/ 17878 w 17879"/>
              <a:gd name="connsiteY11" fmla="*/ 14842 h 21062"/>
              <a:gd name="connsiteX12" fmla="*/ 17859 w 17879"/>
              <a:gd name="connsiteY12" fmla="*/ 5414 h 21062"/>
              <a:gd name="connsiteX13" fmla="*/ 15508 w 17879"/>
              <a:gd name="connsiteY13" fmla="*/ 2919 h 21062"/>
              <a:gd name="connsiteX14" fmla="*/ 15091 w 17879"/>
              <a:gd name="connsiteY14" fmla="*/ 2553 h 21062"/>
              <a:gd name="connsiteX15" fmla="*/ 13043 w 17879"/>
              <a:gd name="connsiteY15" fmla="*/ 1180 h 21062"/>
              <a:gd name="connsiteX16" fmla="*/ 10864 w 17879"/>
              <a:gd name="connsiteY16" fmla="*/ 188 h 21062"/>
              <a:gd name="connsiteX17" fmla="*/ 10345 w 17879"/>
              <a:gd name="connsiteY17" fmla="*/ 63 h 21062"/>
              <a:gd name="connsiteX18" fmla="*/ 9835 w 17879"/>
              <a:gd name="connsiteY18" fmla="*/ 0 h 21062"/>
              <a:gd name="connsiteX19" fmla="*/ 9604 w 17879"/>
              <a:gd name="connsiteY19" fmla="*/ 46 h 21062"/>
              <a:gd name="connsiteX20" fmla="*/ 9497 w 17879"/>
              <a:gd name="connsiteY20" fmla="*/ 174 h 21062"/>
              <a:gd name="connsiteX21" fmla="*/ 9565 w 17879"/>
              <a:gd name="connsiteY21" fmla="*/ 321 h 21062"/>
              <a:gd name="connsiteX22" fmla="*/ 9721 w 17879"/>
              <a:gd name="connsiteY22" fmla="*/ 490 h 21062"/>
              <a:gd name="connsiteX23" fmla="*/ 9943 w 17879"/>
              <a:gd name="connsiteY23" fmla="*/ 1358 h 21062"/>
              <a:gd name="connsiteX24" fmla="*/ 9777 w 17879"/>
              <a:gd name="connsiteY24" fmla="*/ 2309 h 21062"/>
              <a:gd name="connsiteX25" fmla="*/ 8940 w 17879"/>
              <a:gd name="connsiteY25" fmla="*/ 4055 h 21062"/>
              <a:gd name="connsiteX26" fmla="*/ 7534 w 17879"/>
              <a:gd name="connsiteY26" fmla="*/ 6018 h 21062"/>
              <a:gd name="connsiteX27" fmla="*/ 6028 w 17879"/>
              <a:gd name="connsiteY27" fmla="*/ 7799 h 21062"/>
              <a:gd name="connsiteX0" fmla="*/ 6028 w 17879"/>
              <a:gd name="connsiteY0" fmla="*/ 7799 h 20936"/>
              <a:gd name="connsiteX1" fmla="*/ 3612 w 17879"/>
              <a:gd name="connsiteY1" fmla="*/ 10665 h 20936"/>
              <a:gd name="connsiteX2" fmla="*/ 1285 w 17879"/>
              <a:gd name="connsiteY2" fmla="*/ 13598 h 20936"/>
              <a:gd name="connsiteX3" fmla="*/ 34 w 17879"/>
              <a:gd name="connsiteY3" fmla="*/ 16246 h 20936"/>
              <a:gd name="connsiteX4" fmla="*/ 178 w 17879"/>
              <a:gd name="connsiteY4" fmla="*/ 17532 h 20936"/>
              <a:gd name="connsiteX5" fmla="*/ 910 w 17879"/>
              <a:gd name="connsiteY5" fmla="*/ 18276 h 20936"/>
              <a:gd name="connsiteX6" fmla="*/ 1838 w 17879"/>
              <a:gd name="connsiteY6" fmla="*/ 18780 h 20936"/>
              <a:gd name="connsiteX7" fmla="*/ 5988 w 17879"/>
              <a:gd name="connsiteY7" fmla="*/ 20199 h 20936"/>
              <a:gd name="connsiteX8" fmla="*/ 11588 w 17879"/>
              <a:gd name="connsiteY8" fmla="*/ 20894 h 20936"/>
              <a:gd name="connsiteX9" fmla="*/ 17814 w 17879"/>
              <a:gd name="connsiteY9" fmla="*/ 20914 h 20936"/>
              <a:gd name="connsiteX10" fmla="*/ 17834 w 17879"/>
              <a:gd name="connsiteY10" fmla="*/ 18892 h 20936"/>
              <a:gd name="connsiteX11" fmla="*/ 17878 w 17879"/>
              <a:gd name="connsiteY11" fmla="*/ 14842 h 20936"/>
              <a:gd name="connsiteX12" fmla="*/ 17859 w 17879"/>
              <a:gd name="connsiteY12" fmla="*/ 5414 h 20936"/>
              <a:gd name="connsiteX13" fmla="*/ 15508 w 17879"/>
              <a:gd name="connsiteY13" fmla="*/ 2919 h 20936"/>
              <a:gd name="connsiteX14" fmla="*/ 15091 w 17879"/>
              <a:gd name="connsiteY14" fmla="*/ 2553 h 20936"/>
              <a:gd name="connsiteX15" fmla="*/ 13043 w 17879"/>
              <a:gd name="connsiteY15" fmla="*/ 1180 h 20936"/>
              <a:gd name="connsiteX16" fmla="*/ 10864 w 17879"/>
              <a:gd name="connsiteY16" fmla="*/ 188 h 20936"/>
              <a:gd name="connsiteX17" fmla="*/ 10345 w 17879"/>
              <a:gd name="connsiteY17" fmla="*/ 63 h 20936"/>
              <a:gd name="connsiteX18" fmla="*/ 9835 w 17879"/>
              <a:gd name="connsiteY18" fmla="*/ 0 h 20936"/>
              <a:gd name="connsiteX19" fmla="*/ 9604 w 17879"/>
              <a:gd name="connsiteY19" fmla="*/ 46 h 20936"/>
              <a:gd name="connsiteX20" fmla="*/ 9497 w 17879"/>
              <a:gd name="connsiteY20" fmla="*/ 174 h 20936"/>
              <a:gd name="connsiteX21" fmla="*/ 9565 w 17879"/>
              <a:gd name="connsiteY21" fmla="*/ 321 h 20936"/>
              <a:gd name="connsiteX22" fmla="*/ 9721 w 17879"/>
              <a:gd name="connsiteY22" fmla="*/ 490 h 20936"/>
              <a:gd name="connsiteX23" fmla="*/ 9943 w 17879"/>
              <a:gd name="connsiteY23" fmla="*/ 1358 h 20936"/>
              <a:gd name="connsiteX24" fmla="*/ 9777 w 17879"/>
              <a:gd name="connsiteY24" fmla="*/ 2309 h 20936"/>
              <a:gd name="connsiteX25" fmla="*/ 8940 w 17879"/>
              <a:gd name="connsiteY25" fmla="*/ 4055 h 20936"/>
              <a:gd name="connsiteX26" fmla="*/ 7534 w 17879"/>
              <a:gd name="connsiteY26" fmla="*/ 6018 h 20936"/>
              <a:gd name="connsiteX27" fmla="*/ 6028 w 17879"/>
              <a:gd name="connsiteY27" fmla="*/ 7799 h 20936"/>
              <a:gd name="connsiteX0" fmla="*/ 6028 w 17879"/>
              <a:gd name="connsiteY0" fmla="*/ 7799 h 20914"/>
              <a:gd name="connsiteX1" fmla="*/ 3612 w 17879"/>
              <a:gd name="connsiteY1" fmla="*/ 10665 h 20914"/>
              <a:gd name="connsiteX2" fmla="*/ 1285 w 17879"/>
              <a:gd name="connsiteY2" fmla="*/ 13598 h 20914"/>
              <a:gd name="connsiteX3" fmla="*/ 34 w 17879"/>
              <a:gd name="connsiteY3" fmla="*/ 16246 h 20914"/>
              <a:gd name="connsiteX4" fmla="*/ 178 w 17879"/>
              <a:gd name="connsiteY4" fmla="*/ 17532 h 20914"/>
              <a:gd name="connsiteX5" fmla="*/ 910 w 17879"/>
              <a:gd name="connsiteY5" fmla="*/ 18276 h 20914"/>
              <a:gd name="connsiteX6" fmla="*/ 1838 w 17879"/>
              <a:gd name="connsiteY6" fmla="*/ 18780 h 20914"/>
              <a:gd name="connsiteX7" fmla="*/ 7558 w 17879"/>
              <a:gd name="connsiteY7" fmla="*/ 20642 h 20914"/>
              <a:gd name="connsiteX8" fmla="*/ 11588 w 17879"/>
              <a:gd name="connsiteY8" fmla="*/ 20894 h 20914"/>
              <a:gd name="connsiteX9" fmla="*/ 17814 w 17879"/>
              <a:gd name="connsiteY9" fmla="*/ 20914 h 20914"/>
              <a:gd name="connsiteX10" fmla="*/ 17834 w 17879"/>
              <a:gd name="connsiteY10" fmla="*/ 18892 h 20914"/>
              <a:gd name="connsiteX11" fmla="*/ 17878 w 17879"/>
              <a:gd name="connsiteY11" fmla="*/ 14842 h 20914"/>
              <a:gd name="connsiteX12" fmla="*/ 17859 w 17879"/>
              <a:gd name="connsiteY12" fmla="*/ 5414 h 20914"/>
              <a:gd name="connsiteX13" fmla="*/ 15508 w 17879"/>
              <a:gd name="connsiteY13" fmla="*/ 2919 h 20914"/>
              <a:gd name="connsiteX14" fmla="*/ 15091 w 17879"/>
              <a:gd name="connsiteY14" fmla="*/ 2553 h 20914"/>
              <a:gd name="connsiteX15" fmla="*/ 13043 w 17879"/>
              <a:gd name="connsiteY15" fmla="*/ 1180 h 20914"/>
              <a:gd name="connsiteX16" fmla="*/ 10864 w 17879"/>
              <a:gd name="connsiteY16" fmla="*/ 188 h 20914"/>
              <a:gd name="connsiteX17" fmla="*/ 10345 w 17879"/>
              <a:gd name="connsiteY17" fmla="*/ 63 h 20914"/>
              <a:gd name="connsiteX18" fmla="*/ 9835 w 17879"/>
              <a:gd name="connsiteY18" fmla="*/ 0 h 20914"/>
              <a:gd name="connsiteX19" fmla="*/ 9604 w 17879"/>
              <a:gd name="connsiteY19" fmla="*/ 46 h 20914"/>
              <a:gd name="connsiteX20" fmla="*/ 9497 w 17879"/>
              <a:gd name="connsiteY20" fmla="*/ 174 h 20914"/>
              <a:gd name="connsiteX21" fmla="*/ 9565 w 17879"/>
              <a:gd name="connsiteY21" fmla="*/ 321 h 20914"/>
              <a:gd name="connsiteX22" fmla="*/ 9721 w 17879"/>
              <a:gd name="connsiteY22" fmla="*/ 490 h 20914"/>
              <a:gd name="connsiteX23" fmla="*/ 9943 w 17879"/>
              <a:gd name="connsiteY23" fmla="*/ 1358 h 20914"/>
              <a:gd name="connsiteX24" fmla="*/ 9777 w 17879"/>
              <a:gd name="connsiteY24" fmla="*/ 2309 h 20914"/>
              <a:gd name="connsiteX25" fmla="*/ 8940 w 17879"/>
              <a:gd name="connsiteY25" fmla="*/ 4055 h 20914"/>
              <a:gd name="connsiteX26" fmla="*/ 7534 w 17879"/>
              <a:gd name="connsiteY26" fmla="*/ 6018 h 20914"/>
              <a:gd name="connsiteX27" fmla="*/ 6028 w 17879"/>
              <a:gd name="connsiteY27" fmla="*/ 7799 h 20914"/>
              <a:gd name="connsiteX0" fmla="*/ 6028 w 17879"/>
              <a:gd name="connsiteY0" fmla="*/ 7799 h 20914"/>
              <a:gd name="connsiteX1" fmla="*/ 3612 w 17879"/>
              <a:gd name="connsiteY1" fmla="*/ 10665 h 20914"/>
              <a:gd name="connsiteX2" fmla="*/ 1285 w 17879"/>
              <a:gd name="connsiteY2" fmla="*/ 13598 h 20914"/>
              <a:gd name="connsiteX3" fmla="*/ 34 w 17879"/>
              <a:gd name="connsiteY3" fmla="*/ 16246 h 20914"/>
              <a:gd name="connsiteX4" fmla="*/ 178 w 17879"/>
              <a:gd name="connsiteY4" fmla="*/ 17532 h 20914"/>
              <a:gd name="connsiteX5" fmla="*/ 910 w 17879"/>
              <a:gd name="connsiteY5" fmla="*/ 18276 h 20914"/>
              <a:gd name="connsiteX6" fmla="*/ 2816 w 17879"/>
              <a:gd name="connsiteY6" fmla="*/ 19221 h 20914"/>
              <a:gd name="connsiteX7" fmla="*/ 7558 w 17879"/>
              <a:gd name="connsiteY7" fmla="*/ 20642 h 20914"/>
              <a:gd name="connsiteX8" fmla="*/ 11588 w 17879"/>
              <a:gd name="connsiteY8" fmla="*/ 20894 h 20914"/>
              <a:gd name="connsiteX9" fmla="*/ 17814 w 17879"/>
              <a:gd name="connsiteY9" fmla="*/ 20914 h 20914"/>
              <a:gd name="connsiteX10" fmla="*/ 17834 w 17879"/>
              <a:gd name="connsiteY10" fmla="*/ 18892 h 20914"/>
              <a:gd name="connsiteX11" fmla="*/ 17878 w 17879"/>
              <a:gd name="connsiteY11" fmla="*/ 14842 h 20914"/>
              <a:gd name="connsiteX12" fmla="*/ 17859 w 17879"/>
              <a:gd name="connsiteY12" fmla="*/ 5414 h 20914"/>
              <a:gd name="connsiteX13" fmla="*/ 15508 w 17879"/>
              <a:gd name="connsiteY13" fmla="*/ 2919 h 20914"/>
              <a:gd name="connsiteX14" fmla="*/ 15091 w 17879"/>
              <a:gd name="connsiteY14" fmla="*/ 2553 h 20914"/>
              <a:gd name="connsiteX15" fmla="*/ 13043 w 17879"/>
              <a:gd name="connsiteY15" fmla="*/ 1180 h 20914"/>
              <a:gd name="connsiteX16" fmla="*/ 10864 w 17879"/>
              <a:gd name="connsiteY16" fmla="*/ 188 h 20914"/>
              <a:gd name="connsiteX17" fmla="*/ 10345 w 17879"/>
              <a:gd name="connsiteY17" fmla="*/ 63 h 20914"/>
              <a:gd name="connsiteX18" fmla="*/ 9835 w 17879"/>
              <a:gd name="connsiteY18" fmla="*/ 0 h 20914"/>
              <a:gd name="connsiteX19" fmla="*/ 9604 w 17879"/>
              <a:gd name="connsiteY19" fmla="*/ 46 h 20914"/>
              <a:gd name="connsiteX20" fmla="*/ 9497 w 17879"/>
              <a:gd name="connsiteY20" fmla="*/ 174 h 20914"/>
              <a:gd name="connsiteX21" fmla="*/ 9565 w 17879"/>
              <a:gd name="connsiteY21" fmla="*/ 321 h 20914"/>
              <a:gd name="connsiteX22" fmla="*/ 9721 w 17879"/>
              <a:gd name="connsiteY22" fmla="*/ 490 h 20914"/>
              <a:gd name="connsiteX23" fmla="*/ 9943 w 17879"/>
              <a:gd name="connsiteY23" fmla="*/ 1358 h 20914"/>
              <a:gd name="connsiteX24" fmla="*/ 9777 w 17879"/>
              <a:gd name="connsiteY24" fmla="*/ 2309 h 20914"/>
              <a:gd name="connsiteX25" fmla="*/ 8940 w 17879"/>
              <a:gd name="connsiteY25" fmla="*/ 4055 h 20914"/>
              <a:gd name="connsiteX26" fmla="*/ 7534 w 17879"/>
              <a:gd name="connsiteY26" fmla="*/ 6018 h 20914"/>
              <a:gd name="connsiteX27" fmla="*/ 6028 w 17879"/>
              <a:gd name="connsiteY27" fmla="*/ 7799 h 20914"/>
              <a:gd name="connsiteX0" fmla="*/ 6028 w 17879"/>
              <a:gd name="connsiteY0" fmla="*/ 7799 h 20923"/>
              <a:gd name="connsiteX1" fmla="*/ 3612 w 17879"/>
              <a:gd name="connsiteY1" fmla="*/ 10665 h 20923"/>
              <a:gd name="connsiteX2" fmla="*/ 1285 w 17879"/>
              <a:gd name="connsiteY2" fmla="*/ 13598 h 20923"/>
              <a:gd name="connsiteX3" fmla="*/ 34 w 17879"/>
              <a:gd name="connsiteY3" fmla="*/ 16246 h 20923"/>
              <a:gd name="connsiteX4" fmla="*/ 178 w 17879"/>
              <a:gd name="connsiteY4" fmla="*/ 17532 h 20923"/>
              <a:gd name="connsiteX5" fmla="*/ 910 w 17879"/>
              <a:gd name="connsiteY5" fmla="*/ 18276 h 20923"/>
              <a:gd name="connsiteX6" fmla="*/ 2816 w 17879"/>
              <a:gd name="connsiteY6" fmla="*/ 19221 h 20923"/>
              <a:gd name="connsiteX7" fmla="*/ 7558 w 17879"/>
              <a:gd name="connsiteY7" fmla="*/ 20642 h 20923"/>
              <a:gd name="connsiteX8" fmla="*/ 10431 w 17879"/>
              <a:gd name="connsiteY8" fmla="*/ 20913 h 20923"/>
              <a:gd name="connsiteX9" fmla="*/ 17814 w 17879"/>
              <a:gd name="connsiteY9" fmla="*/ 20914 h 20923"/>
              <a:gd name="connsiteX10" fmla="*/ 17834 w 17879"/>
              <a:gd name="connsiteY10" fmla="*/ 18892 h 20923"/>
              <a:gd name="connsiteX11" fmla="*/ 17878 w 17879"/>
              <a:gd name="connsiteY11" fmla="*/ 14842 h 20923"/>
              <a:gd name="connsiteX12" fmla="*/ 17859 w 17879"/>
              <a:gd name="connsiteY12" fmla="*/ 5414 h 20923"/>
              <a:gd name="connsiteX13" fmla="*/ 15508 w 17879"/>
              <a:gd name="connsiteY13" fmla="*/ 2919 h 20923"/>
              <a:gd name="connsiteX14" fmla="*/ 15091 w 17879"/>
              <a:gd name="connsiteY14" fmla="*/ 2553 h 20923"/>
              <a:gd name="connsiteX15" fmla="*/ 13043 w 17879"/>
              <a:gd name="connsiteY15" fmla="*/ 1180 h 20923"/>
              <a:gd name="connsiteX16" fmla="*/ 10864 w 17879"/>
              <a:gd name="connsiteY16" fmla="*/ 188 h 20923"/>
              <a:gd name="connsiteX17" fmla="*/ 10345 w 17879"/>
              <a:gd name="connsiteY17" fmla="*/ 63 h 20923"/>
              <a:gd name="connsiteX18" fmla="*/ 9835 w 17879"/>
              <a:gd name="connsiteY18" fmla="*/ 0 h 20923"/>
              <a:gd name="connsiteX19" fmla="*/ 9604 w 17879"/>
              <a:gd name="connsiteY19" fmla="*/ 46 h 20923"/>
              <a:gd name="connsiteX20" fmla="*/ 9497 w 17879"/>
              <a:gd name="connsiteY20" fmla="*/ 174 h 20923"/>
              <a:gd name="connsiteX21" fmla="*/ 9565 w 17879"/>
              <a:gd name="connsiteY21" fmla="*/ 321 h 20923"/>
              <a:gd name="connsiteX22" fmla="*/ 9721 w 17879"/>
              <a:gd name="connsiteY22" fmla="*/ 490 h 20923"/>
              <a:gd name="connsiteX23" fmla="*/ 9943 w 17879"/>
              <a:gd name="connsiteY23" fmla="*/ 1358 h 20923"/>
              <a:gd name="connsiteX24" fmla="*/ 9777 w 17879"/>
              <a:gd name="connsiteY24" fmla="*/ 2309 h 20923"/>
              <a:gd name="connsiteX25" fmla="*/ 8940 w 17879"/>
              <a:gd name="connsiteY25" fmla="*/ 4055 h 20923"/>
              <a:gd name="connsiteX26" fmla="*/ 7534 w 17879"/>
              <a:gd name="connsiteY26" fmla="*/ 6018 h 20923"/>
              <a:gd name="connsiteX27" fmla="*/ 6028 w 17879"/>
              <a:gd name="connsiteY27" fmla="*/ 7799 h 20923"/>
              <a:gd name="connsiteX0" fmla="*/ 6028 w 17879"/>
              <a:gd name="connsiteY0" fmla="*/ 7799 h 20923"/>
              <a:gd name="connsiteX1" fmla="*/ 3612 w 17879"/>
              <a:gd name="connsiteY1" fmla="*/ 10665 h 20923"/>
              <a:gd name="connsiteX2" fmla="*/ 1285 w 17879"/>
              <a:gd name="connsiteY2" fmla="*/ 13598 h 20923"/>
              <a:gd name="connsiteX3" fmla="*/ 34 w 17879"/>
              <a:gd name="connsiteY3" fmla="*/ 16246 h 20923"/>
              <a:gd name="connsiteX4" fmla="*/ 178 w 17879"/>
              <a:gd name="connsiteY4" fmla="*/ 17532 h 20923"/>
              <a:gd name="connsiteX5" fmla="*/ 910 w 17879"/>
              <a:gd name="connsiteY5" fmla="*/ 18276 h 20923"/>
              <a:gd name="connsiteX6" fmla="*/ 2816 w 17879"/>
              <a:gd name="connsiteY6" fmla="*/ 19221 h 20923"/>
              <a:gd name="connsiteX7" fmla="*/ 7558 w 17879"/>
              <a:gd name="connsiteY7" fmla="*/ 20642 h 20923"/>
              <a:gd name="connsiteX8" fmla="*/ 10431 w 17879"/>
              <a:gd name="connsiteY8" fmla="*/ 20913 h 20923"/>
              <a:gd name="connsiteX9" fmla="*/ 17814 w 17879"/>
              <a:gd name="connsiteY9" fmla="*/ 20914 h 20923"/>
              <a:gd name="connsiteX10" fmla="*/ 17834 w 17879"/>
              <a:gd name="connsiteY10" fmla="*/ 18892 h 20923"/>
              <a:gd name="connsiteX11" fmla="*/ 17878 w 17879"/>
              <a:gd name="connsiteY11" fmla="*/ 14842 h 20923"/>
              <a:gd name="connsiteX12" fmla="*/ 17859 w 17879"/>
              <a:gd name="connsiteY12" fmla="*/ 5414 h 20923"/>
              <a:gd name="connsiteX13" fmla="*/ 15508 w 17879"/>
              <a:gd name="connsiteY13" fmla="*/ 2919 h 20923"/>
              <a:gd name="connsiteX14" fmla="*/ 15091 w 17879"/>
              <a:gd name="connsiteY14" fmla="*/ 2553 h 20923"/>
              <a:gd name="connsiteX15" fmla="*/ 13043 w 17879"/>
              <a:gd name="connsiteY15" fmla="*/ 1180 h 20923"/>
              <a:gd name="connsiteX16" fmla="*/ 10864 w 17879"/>
              <a:gd name="connsiteY16" fmla="*/ 188 h 20923"/>
              <a:gd name="connsiteX17" fmla="*/ 10345 w 17879"/>
              <a:gd name="connsiteY17" fmla="*/ 63 h 20923"/>
              <a:gd name="connsiteX18" fmla="*/ 9835 w 17879"/>
              <a:gd name="connsiteY18" fmla="*/ 0 h 20923"/>
              <a:gd name="connsiteX19" fmla="*/ 9604 w 17879"/>
              <a:gd name="connsiteY19" fmla="*/ 46 h 20923"/>
              <a:gd name="connsiteX20" fmla="*/ 9497 w 17879"/>
              <a:gd name="connsiteY20" fmla="*/ 174 h 20923"/>
              <a:gd name="connsiteX21" fmla="*/ 9565 w 17879"/>
              <a:gd name="connsiteY21" fmla="*/ 321 h 20923"/>
              <a:gd name="connsiteX22" fmla="*/ 9721 w 17879"/>
              <a:gd name="connsiteY22" fmla="*/ 490 h 20923"/>
              <a:gd name="connsiteX23" fmla="*/ 9943 w 17879"/>
              <a:gd name="connsiteY23" fmla="*/ 1358 h 20923"/>
              <a:gd name="connsiteX24" fmla="*/ 9777 w 17879"/>
              <a:gd name="connsiteY24" fmla="*/ 2309 h 20923"/>
              <a:gd name="connsiteX25" fmla="*/ 8940 w 17879"/>
              <a:gd name="connsiteY25" fmla="*/ 4055 h 20923"/>
              <a:gd name="connsiteX26" fmla="*/ 7534 w 17879"/>
              <a:gd name="connsiteY26" fmla="*/ 6018 h 20923"/>
              <a:gd name="connsiteX27" fmla="*/ 6028 w 17879"/>
              <a:gd name="connsiteY27" fmla="*/ 7799 h 20923"/>
              <a:gd name="connsiteX0" fmla="*/ 6028 w 17879"/>
              <a:gd name="connsiteY0" fmla="*/ 7799 h 20960"/>
              <a:gd name="connsiteX1" fmla="*/ 3612 w 17879"/>
              <a:gd name="connsiteY1" fmla="*/ 10665 h 20960"/>
              <a:gd name="connsiteX2" fmla="*/ 1285 w 17879"/>
              <a:gd name="connsiteY2" fmla="*/ 13598 h 20960"/>
              <a:gd name="connsiteX3" fmla="*/ 34 w 17879"/>
              <a:gd name="connsiteY3" fmla="*/ 16246 h 20960"/>
              <a:gd name="connsiteX4" fmla="*/ 178 w 17879"/>
              <a:gd name="connsiteY4" fmla="*/ 17532 h 20960"/>
              <a:gd name="connsiteX5" fmla="*/ 910 w 17879"/>
              <a:gd name="connsiteY5" fmla="*/ 18276 h 20960"/>
              <a:gd name="connsiteX6" fmla="*/ 2816 w 17879"/>
              <a:gd name="connsiteY6" fmla="*/ 19221 h 20960"/>
              <a:gd name="connsiteX7" fmla="*/ 7558 w 17879"/>
              <a:gd name="connsiteY7" fmla="*/ 20642 h 20960"/>
              <a:gd name="connsiteX8" fmla="*/ 10431 w 17879"/>
              <a:gd name="connsiteY8" fmla="*/ 20913 h 20960"/>
              <a:gd name="connsiteX9" fmla="*/ 17795 w 17879"/>
              <a:gd name="connsiteY9" fmla="*/ 20960 h 20960"/>
              <a:gd name="connsiteX10" fmla="*/ 17834 w 17879"/>
              <a:gd name="connsiteY10" fmla="*/ 18892 h 20960"/>
              <a:gd name="connsiteX11" fmla="*/ 17878 w 17879"/>
              <a:gd name="connsiteY11" fmla="*/ 14842 h 20960"/>
              <a:gd name="connsiteX12" fmla="*/ 17859 w 17879"/>
              <a:gd name="connsiteY12" fmla="*/ 5414 h 20960"/>
              <a:gd name="connsiteX13" fmla="*/ 15508 w 17879"/>
              <a:gd name="connsiteY13" fmla="*/ 2919 h 20960"/>
              <a:gd name="connsiteX14" fmla="*/ 15091 w 17879"/>
              <a:gd name="connsiteY14" fmla="*/ 2553 h 20960"/>
              <a:gd name="connsiteX15" fmla="*/ 13043 w 17879"/>
              <a:gd name="connsiteY15" fmla="*/ 1180 h 20960"/>
              <a:gd name="connsiteX16" fmla="*/ 10864 w 17879"/>
              <a:gd name="connsiteY16" fmla="*/ 188 h 20960"/>
              <a:gd name="connsiteX17" fmla="*/ 10345 w 17879"/>
              <a:gd name="connsiteY17" fmla="*/ 63 h 20960"/>
              <a:gd name="connsiteX18" fmla="*/ 9835 w 17879"/>
              <a:gd name="connsiteY18" fmla="*/ 0 h 20960"/>
              <a:gd name="connsiteX19" fmla="*/ 9604 w 17879"/>
              <a:gd name="connsiteY19" fmla="*/ 46 h 20960"/>
              <a:gd name="connsiteX20" fmla="*/ 9497 w 17879"/>
              <a:gd name="connsiteY20" fmla="*/ 174 h 20960"/>
              <a:gd name="connsiteX21" fmla="*/ 9565 w 17879"/>
              <a:gd name="connsiteY21" fmla="*/ 321 h 20960"/>
              <a:gd name="connsiteX22" fmla="*/ 9721 w 17879"/>
              <a:gd name="connsiteY22" fmla="*/ 490 h 20960"/>
              <a:gd name="connsiteX23" fmla="*/ 9943 w 17879"/>
              <a:gd name="connsiteY23" fmla="*/ 1358 h 20960"/>
              <a:gd name="connsiteX24" fmla="*/ 9777 w 17879"/>
              <a:gd name="connsiteY24" fmla="*/ 2309 h 20960"/>
              <a:gd name="connsiteX25" fmla="*/ 8940 w 17879"/>
              <a:gd name="connsiteY25" fmla="*/ 4055 h 20960"/>
              <a:gd name="connsiteX26" fmla="*/ 7534 w 17879"/>
              <a:gd name="connsiteY26" fmla="*/ 6018 h 20960"/>
              <a:gd name="connsiteX27" fmla="*/ 6028 w 17879"/>
              <a:gd name="connsiteY27" fmla="*/ 7799 h 20960"/>
              <a:gd name="connsiteX0" fmla="*/ 6028 w 17879"/>
              <a:gd name="connsiteY0" fmla="*/ 7799 h 20977"/>
              <a:gd name="connsiteX1" fmla="*/ 3612 w 17879"/>
              <a:gd name="connsiteY1" fmla="*/ 10665 h 20977"/>
              <a:gd name="connsiteX2" fmla="*/ 1285 w 17879"/>
              <a:gd name="connsiteY2" fmla="*/ 13598 h 20977"/>
              <a:gd name="connsiteX3" fmla="*/ 34 w 17879"/>
              <a:gd name="connsiteY3" fmla="*/ 16246 h 20977"/>
              <a:gd name="connsiteX4" fmla="*/ 178 w 17879"/>
              <a:gd name="connsiteY4" fmla="*/ 17532 h 20977"/>
              <a:gd name="connsiteX5" fmla="*/ 910 w 17879"/>
              <a:gd name="connsiteY5" fmla="*/ 18276 h 20977"/>
              <a:gd name="connsiteX6" fmla="*/ 2816 w 17879"/>
              <a:gd name="connsiteY6" fmla="*/ 19221 h 20977"/>
              <a:gd name="connsiteX7" fmla="*/ 7558 w 17879"/>
              <a:gd name="connsiteY7" fmla="*/ 20642 h 20977"/>
              <a:gd name="connsiteX8" fmla="*/ 10431 w 17879"/>
              <a:gd name="connsiteY8" fmla="*/ 20913 h 20977"/>
              <a:gd name="connsiteX9" fmla="*/ 17795 w 17879"/>
              <a:gd name="connsiteY9" fmla="*/ 20960 h 20977"/>
              <a:gd name="connsiteX10" fmla="*/ 17834 w 17879"/>
              <a:gd name="connsiteY10" fmla="*/ 18892 h 20977"/>
              <a:gd name="connsiteX11" fmla="*/ 17878 w 17879"/>
              <a:gd name="connsiteY11" fmla="*/ 14842 h 20977"/>
              <a:gd name="connsiteX12" fmla="*/ 17859 w 17879"/>
              <a:gd name="connsiteY12" fmla="*/ 5414 h 20977"/>
              <a:gd name="connsiteX13" fmla="*/ 15508 w 17879"/>
              <a:gd name="connsiteY13" fmla="*/ 2919 h 20977"/>
              <a:gd name="connsiteX14" fmla="*/ 15091 w 17879"/>
              <a:gd name="connsiteY14" fmla="*/ 2553 h 20977"/>
              <a:gd name="connsiteX15" fmla="*/ 13043 w 17879"/>
              <a:gd name="connsiteY15" fmla="*/ 1180 h 20977"/>
              <a:gd name="connsiteX16" fmla="*/ 10864 w 17879"/>
              <a:gd name="connsiteY16" fmla="*/ 188 h 20977"/>
              <a:gd name="connsiteX17" fmla="*/ 10345 w 17879"/>
              <a:gd name="connsiteY17" fmla="*/ 63 h 20977"/>
              <a:gd name="connsiteX18" fmla="*/ 9835 w 17879"/>
              <a:gd name="connsiteY18" fmla="*/ 0 h 20977"/>
              <a:gd name="connsiteX19" fmla="*/ 9604 w 17879"/>
              <a:gd name="connsiteY19" fmla="*/ 46 h 20977"/>
              <a:gd name="connsiteX20" fmla="*/ 9497 w 17879"/>
              <a:gd name="connsiteY20" fmla="*/ 174 h 20977"/>
              <a:gd name="connsiteX21" fmla="*/ 9565 w 17879"/>
              <a:gd name="connsiteY21" fmla="*/ 321 h 20977"/>
              <a:gd name="connsiteX22" fmla="*/ 9721 w 17879"/>
              <a:gd name="connsiteY22" fmla="*/ 490 h 20977"/>
              <a:gd name="connsiteX23" fmla="*/ 9943 w 17879"/>
              <a:gd name="connsiteY23" fmla="*/ 1358 h 20977"/>
              <a:gd name="connsiteX24" fmla="*/ 9777 w 17879"/>
              <a:gd name="connsiteY24" fmla="*/ 2309 h 20977"/>
              <a:gd name="connsiteX25" fmla="*/ 8940 w 17879"/>
              <a:gd name="connsiteY25" fmla="*/ 4055 h 20977"/>
              <a:gd name="connsiteX26" fmla="*/ 7534 w 17879"/>
              <a:gd name="connsiteY26" fmla="*/ 6018 h 20977"/>
              <a:gd name="connsiteX27" fmla="*/ 6028 w 17879"/>
              <a:gd name="connsiteY27" fmla="*/ 7799 h 20977"/>
              <a:gd name="connsiteX0" fmla="*/ 6028 w 17879"/>
              <a:gd name="connsiteY0" fmla="*/ 7799 h 20977"/>
              <a:gd name="connsiteX1" fmla="*/ 3612 w 17879"/>
              <a:gd name="connsiteY1" fmla="*/ 10665 h 20977"/>
              <a:gd name="connsiteX2" fmla="*/ 1285 w 17879"/>
              <a:gd name="connsiteY2" fmla="*/ 13598 h 20977"/>
              <a:gd name="connsiteX3" fmla="*/ 34 w 17879"/>
              <a:gd name="connsiteY3" fmla="*/ 16246 h 20977"/>
              <a:gd name="connsiteX4" fmla="*/ 178 w 17879"/>
              <a:gd name="connsiteY4" fmla="*/ 17532 h 20977"/>
              <a:gd name="connsiteX5" fmla="*/ 910 w 17879"/>
              <a:gd name="connsiteY5" fmla="*/ 18276 h 20977"/>
              <a:gd name="connsiteX6" fmla="*/ 2816 w 17879"/>
              <a:gd name="connsiteY6" fmla="*/ 19221 h 20977"/>
              <a:gd name="connsiteX7" fmla="*/ 7558 w 17879"/>
              <a:gd name="connsiteY7" fmla="*/ 20642 h 20977"/>
              <a:gd name="connsiteX8" fmla="*/ 10431 w 17879"/>
              <a:gd name="connsiteY8" fmla="*/ 20913 h 20977"/>
              <a:gd name="connsiteX9" fmla="*/ 17853 w 17879"/>
              <a:gd name="connsiteY9" fmla="*/ 20960 h 20977"/>
              <a:gd name="connsiteX10" fmla="*/ 17834 w 17879"/>
              <a:gd name="connsiteY10" fmla="*/ 18892 h 20977"/>
              <a:gd name="connsiteX11" fmla="*/ 17878 w 17879"/>
              <a:gd name="connsiteY11" fmla="*/ 14842 h 20977"/>
              <a:gd name="connsiteX12" fmla="*/ 17859 w 17879"/>
              <a:gd name="connsiteY12" fmla="*/ 5414 h 20977"/>
              <a:gd name="connsiteX13" fmla="*/ 15508 w 17879"/>
              <a:gd name="connsiteY13" fmla="*/ 2919 h 20977"/>
              <a:gd name="connsiteX14" fmla="*/ 15091 w 17879"/>
              <a:gd name="connsiteY14" fmla="*/ 2553 h 20977"/>
              <a:gd name="connsiteX15" fmla="*/ 13043 w 17879"/>
              <a:gd name="connsiteY15" fmla="*/ 1180 h 20977"/>
              <a:gd name="connsiteX16" fmla="*/ 10864 w 17879"/>
              <a:gd name="connsiteY16" fmla="*/ 188 h 20977"/>
              <a:gd name="connsiteX17" fmla="*/ 10345 w 17879"/>
              <a:gd name="connsiteY17" fmla="*/ 63 h 20977"/>
              <a:gd name="connsiteX18" fmla="*/ 9835 w 17879"/>
              <a:gd name="connsiteY18" fmla="*/ 0 h 20977"/>
              <a:gd name="connsiteX19" fmla="*/ 9604 w 17879"/>
              <a:gd name="connsiteY19" fmla="*/ 46 h 20977"/>
              <a:gd name="connsiteX20" fmla="*/ 9497 w 17879"/>
              <a:gd name="connsiteY20" fmla="*/ 174 h 20977"/>
              <a:gd name="connsiteX21" fmla="*/ 9565 w 17879"/>
              <a:gd name="connsiteY21" fmla="*/ 321 h 20977"/>
              <a:gd name="connsiteX22" fmla="*/ 9721 w 17879"/>
              <a:gd name="connsiteY22" fmla="*/ 490 h 20977"/>
              <a:gd name="connsiteX23" fmla="*/ 9943 w 17879"/>
              <a:gd name="connsiteY23" fmla="*/ 1358 h 20977"/>
              <a:gd name="connsiteX24" fmla="*/ 9777 w 17879"/>
              <a:gd name="connsiteY24" fmla="*/ 2309 h 20977"/>
              <a:gd name="connsiteX25" fmla="*/ 8940 w 17879"/>
              <a:gd name="connsiteY25" fmla="*/ 4055 h 20977"/>
              <a:gd name="connsiteX26" fmla="*/ 7534 w 17879"/>
              <a:gd name="connsiteY26" fmla="*/ 6018 h 20977"/>
              <a:gd name="connsiteX27" fmla="*/ 6028 w 17879"/>
              <a:gd name="connsiteY27" fmla="*/ 7799 h 20977"/>
              <a:gd name="connsiteX0" fmla="*/ 6028 w 17878"/>
              <a:gd name="connsiteY0" fmla="*/ 7799 h 20977"/>
              <a:gd name="connsiteX1" fmla="*/ 3612 w 17878"/>
              <a:gd name="connsiteY1" fmla="*/ 10665 h 20977"/>
              <a:gd name="connsiteX2" fmla="*/ 1285 w 17878"/>
              <a:gd name="connsiteY2" fmla="*/ 13598 h 20977"/>
              <a:gd name="connsiteX3" fmla="*/ 34 w 17878"/>
              <a:gd name="connsiteY3" fmla="*/ 16246 h 20977"/>
              <a:gd name="connsiteX4" fmla="*/ 178 w 17878"/>
              <a:gd name="connsiteY4" fmla="*/ 17532 h 20977"/>
              <a:gd name="connsiteX5" fmla="*/ 910 w 17878"/>
              <a:gd name="connsiteY5" fmla="*/ 18276 h 20977"/>
              <a:gd name="connsiteX6" fmla="*/ 2816 w 17878"/>
              <a:gd name="connsiteY6" fmla="*/ 19221 h 20977"/>
              <a:gd name="connsiteX7" fmla="*/ 7558 w 17878"/>
              <a:gd name="connsiteY7" fmla="*/ 20642 h 20977"/>
              <a:gd name="connsiteX8" fmla="*/ 10431 w 17878"/>
              <a:gd name="connsiteY8" fmla="*/ 20913 h 20977"/>
              <a:gd name="connsiteX9" fmla="*/ 17853 w 17878"/>
              <a:gd name="connsiteY9" fmla="*/ 20960 h 20977"/>
              <a:gd name="connsiteX10" fmla="*/ 17873 w 17878"/>
              <a:gd name="connsiteY10" fmla="*/ 18823 h 20977"/>
              <a:gd name="connsiteX11" fmla="*/ 17878 w 17878"/>
              <a:gd name="connsiteY11" fmla="*/ 14842 h 20977"/>
              <a:gd name="connsiteX12" fmla="*/ 17859 w 17878"/>
              <a:gd name="connsiteY12" fmla="*/ 5414 h 20977"/>
              <a:gd name="connsiteX13" fmla="*/ 15508 w 17878"/>
              <a:gd name="connsiteY13" fmla="*/ 2919 h 20977"/>
              <a:gd name="connsiteX14" fmla="*/ 15091 w 17878"/>
              <a:gd name="connsiteY14" fmla="*/ 2553 h 20977"/>
              <a:gd name="connsiteX15" fmla="*/ 13043 w 17878"/>
              <a:gd name="connsiteY15" fmla="*/ 1180 h 20977"/>
              <a:gd name="connsiteX16" fmla="*/ 10864 w 17878"/>
              <a:gd name="connsiteY16" fmla="*/ 188 h 20977"/>
              <a:gd name="connsiteX17" fmla="*/ 10345 w 17878"/>
              <a:gd name="connsiteY17" fmla="*/ 63 h 20977"/>
              <a:gd name="connsiteX18" fmla="*/ 9835 w 17878"/>
              <a:gd name="connsiteY18" fmla="*/ 0 h 20977"/>
              <a:gd name="connsiteX19" fmla="*/ 9604 w 17878"/>
              <a:gd name="connsiteY19" fmla="*/ 46 h 20977"/>
              <a:gd name="connsiteX20" fmla="*/ 9497 w 17878"/>
              <a:gd name="connsiteY20" fmla="*/ 174 h 20977"/>
              <a:gd name="connsiteX21" fmla="*/ 9565 w 17878"/>
              <a:gd name="connsiteY21" fmla="*/ 321 h 20977"/>
              <a:gd name="connsiteX22" fmla="*/ 9721 w 17878"/>
              <a:gd name="connsiteY22" fmla="*/ 490 h 20977"/>
              <a:gd name="connsiteX23" fmla="*/ 9943 w 17878"/>
              <a:gd name="connsiteY23" fmla="*/ 1358 h 20977"/>
              <a:gd name="connsiteX24" fmla="*/ 9777 w 17878"/>
              <a:gd name="connsiteY24" fmla="*/ 2309 h 20977"/>
              <a:gd name="connsiteX25" fmla="*/ 8940 w 17878"/>
              <a:gd name="connsiteY25" fmla="*/ 4055 h 20977"/>
              <a:gd name="connsiteX26" fmla="*/ 7534 w 17878"/>
              <a:gd name="connsiteY26" fmla="*/ 6018 h 20977"/>
              <a:gd name="connsiteX27" fmla="*/ 6028 w 17878"/>
              <a:gd name="connsiteY27" fmla="*/ 7799 h 209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17878" h="20977" extrusionOk="0">
                <a:moveTo>
                  <a:pt x="6028" y="7799"/>
                </a:moveTo>
                <a:cubicBezTo>
                  <a:pt x="5213" y="8743"/>
                  <a:pt x="4411" y="9704"/>
                  <a:pt x="3612" y="10665"/>
                </a:cubicBezTo>
                <a:cubicBezTo>
                  <a:pt x="2816" y="11620"/>
                  <a:pt x="2021" y="12577"/>
                  <a:pt x="1285" y="13598"/>
                </a:cubicBezTo>
                <a:cubicBezTo>
                  <a:pt x="721" y="14380"/>
                  <a:pt x="184" y="15226"/>
                  <a:pt x="34" y="16246"/>
                </a:cubicBezTo>
                <a:cubicBezTo>
                  <a:pt x="-30" y="16686"/>
                  <a:pt x="-13" y="17148"/>
                  <a:pt x="178" y="17532"/>
                </a:cubicBezTo>
                <a:cubicBezTo>
                  <a:pt x="350" y="17875"/>
                  <a:pt x="470" y="17994"/>
                  <a:pt x="910" y="18276"/>
                </a:cubicBezTo>
                <a:cubicBezTo>
                  <a:pt x="1350" y="18558"/>
                  <a:pt x="1708" y="18827"/>
                  <a:pt x="2816" y="19221"/>
                </a:cubicBezTo>
                <a:cubicBezTo>
                  <a:pt x="3924" y="19615"/>
                  <a:pt x="5634" y="20242"/>
                  <a:pt x="7558" y="20642"/>
                </a:cubicBezTo>
                <a:cubicBezTo>
                  <a:pt x="9482" y="21042"/>
                  <a:pt x="8715" y="20860"/>
                  <a:pt x="10431" y="20913"/>
                </a:cubicBezTo>
                <a:cubicBezTo>
                  <a:pt x="12147" y="20966"/>
                  <a:pt x="16362" y="21001"/>
                  <a:pt x="17853" y="20960"/>
                </a:cubicBezTo>
                <a:cubicBezTo>
                  <a:pt x="17879" y="20384"/>
                  <a:pt x="17869" y="19843"/>
                  <a:pt x="17873" y="18823"/>
                </a:cubicBezTo>
                <a:cubicBezTo>
                  <a:pt x="17877" y="17803"/>
                  <a:pt x="17880" y="17077"/>
                  <a:pt x="17878" y="14842"/>
                </a:cubicBezTo>
                <a:cubicBezTo>
                  <a:pt x="17876" y="12607"/>
                  <a:pt x="17880" y="5441"/>
                  <a:pt x="17859" y="5414"/>
                </a:cubicBezTo>
                <a:cubicBezTo>
                  <a:pt x="16768" y="4026"/>
                  <a:pt x="15969" y="3396"/>
                  <a:pt x="15508" y="2919"/>
                </a:cubicBezTo>
                <a:cubicBezTo>
                  <a:pt x="15047" y="2442"/>
                  <a:pt x="15232" y="2673"/>
                  <a:pt x="15091" y="2553"/>
                </a:cubicBezTo>
                <a:cubicBezTo>
                  <a:pt x="14427" y="2051"/>
                  <a:pt x="13744" y="1592"/>
                  <a:pt x="13043" y="1180"/>
                </a:cubicBezTo>
                <a:cubicBezTo>
                  <a:pt x="12345" y="769"/>
                  <a:pt x="11625" y="401"/>
                  <a:pt x="10864" y="188"/>
                </a:cubicBezTo>
                <a:cubicBezTo>
                  <a:pt x="10692" y="140"/>
                  <a:pt x="10518" y="100"/>
                  <a:pt x="10345" y="63"/>
                </a:cubicBezTo>
                <a:cubicBezTo>
                  <a:pt x="10176" y="27"/>
                  <a:pt x="10006" y="-5"/>
                  <a:pt x="9835" y="0"/>
                </a:cubicBezTo>
                <a:cubicBezTo>
                  <a:pt x="9754" y="3"/>
                  <a:pt x="9676" y="14"/>
                  <a:pt x="9604" y="46"/>
                </a:cubicBezTo>
                <a:cubicBezTo>
                  <a:pt x="9554" y="69"/>
                  <a:pt x="9504" y="107"/>
                  <a:pt x="9497" y="174"/>
                </a:cubicBezTo>
                <a:cubicBezTo>
                  <a:pt x="9490" y="240"/>
                  <a:pt x="9525" y="281"/>
                  <a:pt x="9565" y="321"/>
                </a:cubicBezTo>
                <a:cubicBezTo>
                  <a:pt x="9615" y="371"/>
                  <a:pt x="9671" y="430"/>
                  <a:pt x="9721" y="490"/>
                </a:cubicBezTo>
                <a:cubicBezTo>
                  <a:pt x="9905" y="713"/>
                  <a:pt x="9952" y="1047"/>
                  <a:pt x="9943" y="1358"/>
                </a:cubicBezTo>
                <a:cubicBezTo>
                  <a:pt x="9934" y="1677"/>
                  <a:pt x="9869" y="2000"/>
                  <a:pt x="9777" y="2309"/>
                </a:cubicBezTo>
                <a:cubicBezTo>
                  <a:pt x="9585" y="2946"/>
                  <a:pt x="9302" y="3536"/>
                  <a:pt x="8940" y="4055"/>
                </a:cubicBezTo>
                <a:cubicBezTo>
                  <a:pt x="8500" y="4738"/>
                  <a:pt x="8031" y="5394"/>
                  <a:pt x="7534" y="6018"/>
                </a:cubicBezTo>
                <a:cubicBezTo>
                  <a:pt x="7047" y="6630"/>
                  <a:pt x="6535" y="7211"/>
                  <a:pt x="6028" y="7799"/>
                </a:cubicBezTo>
                <a:close/>
              </a:path>
            </a:pathLst>
          </a:cu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25400">
            <a:noFill/>
            <a:miter lim="400000"/>
          </a:ln>
        </p:spPr>
        <p:txBody>
          <a:bodyPr lIns="25400" tIns="25400" rIns="25400" bIns="25400" anchor="ctr"/>
          <a:lstStyle/>
          <a:p>
            <a:pPr>
              <a:defRPr sz="2500"/>
            </a:pPr>
            <a:endParaRPr sz="125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E7A2C4F-B0E0-B43C-9756-FCC9FD7C0B1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740" t="32109" r="8854" b="12344"/>
          <a:stretch/>
        </p:blipFill>
        <p:spPr>
          <a:xfrm>
            <a:off x="4739915" y="-1"/>
            <a:ext cx="7461230" cy="6855003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FF2E1AB-3873-5D40-E9DE-CDBE7B120F9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5A18A9-FB90-4F92-9633-9A2FCB4DF4A0}" type="slidenum">
              <a:rPr lang="pt-PT" smtClean="0"/>
              <a:pPr/>
              <a:t>‹nº›</a:t>
            </a:fld>
            <a:endParaRPr lang="pt-PT" dirty="0"/>
          </a:p>
        </p:txBody>
      </p:sp>
      <p:sp>
        <p:nvSpPr>
          <p:cNvPr id="6" name="Marcador de Posição do Texto 2">
            <a:extLst>
              <a:ext uri="{FF2B5EF4-FFF2-40B4-BE49-F238E27FC236}">
                <a16:creationId xmlns:a16="http://schemas.microsoft.com/office/drawing/2014/main" id="{7D5DA25B-3DA3-EEE1-CEA6-930FC9FBF76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4317" y="2281107"/>
            <a:ext cx="4153056" cy="2445035"/>
          </a:xfrm>
          <a:prstGeom prst="rect">
            <a:avLst/>
          </a:prstGeom>
        </p:spPr>
        <p:txBody>
          <a:bodyPr vert="horz" wrap="none" lIns="0" tIns="45720" rIns="0" bIns="45720" rtlCol="0" anchor="t" anchorCtr="0">
            <a:noAutofit/>
          </a:bodyPr>
          <a:lstStyle>
            <a:lvl1pPr marL="0" indent="0">
              <a:lnSpc>
                <a:spcPts val="3860"/>
              </a:lnSpc>
              <a:buNone/>
              <a:defRPr lang="pt-PT" sz="3200" b="1" baseline="0" dirty="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166682" lvl="0" indent="-342891">
              <a:spcBef>
                <a:spcPct val="0"/>
              </a:spcBef>
            </a:pPr>
            <a:r>
              <a:rPr lang="pt-PT" dirty="0"/>
              <a:t>Título do Separador</a:t>
            </a:r>
          </a:p>
        </p:txBody>
      </p:sp>
      <p:sp useBgFill="1">
        <p:nvSpPr>
          <p:cNvPr id="7" name="Marcador de Posição do Texto 2">
            <a:extLst>
              <a:ext uri="{FF2B5EF4-FFF2-40B4-BE49-F238E27FC236}">
                <a16:creationId xmlns:a16="http://schemas.microsoft.com/office/drawing/2014/main" id="{BD1EAA68-11D4-BD5F-1C1E-C8EB59D3815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6835" y="253243"/>
            <a:ext cx="1771431" cy="1876776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pt-PT" sz="15000" b="1" i="0" baseline="0" dirty="0">
                <a:ln w="22225">
                  <a:solidFill>
                    <a:srgbClr val="006531"/>
                  </a:solidFill>
                </a:ln>
                <a:noFill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pt-PT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13198438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dor 3_branco_sem imag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FF2E1AB-3873-5D40-E9DE-CDBE7B120F9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5A18A9-FB90-4F92-9633-9A2FCB4DF4A0}" type="slidenum">
              <a:rPr lang="pt-PT" smtClean="0"/>
              <a:pPr/>
              <a:t>‹nº›</a:t>
            </a:fld>
            <a:endParaRPr lang="pt-PT" dirty="0"/>
          </a:p>
        </p:txBody>
      </p:sp>
      <p:sp>
        <p:nvSpPr>
          <p:cNvPr id="6" name="Marcador de Posição do Texto 2">
            <a:extLst>
              <a:ext uri="{FF2B5EF4-FFF2-40B4-BE49-F238E27FC236}">
                <a16:creationId xmlns:a16="http://schemas.microsoft.com/office/drawing/2014/main" id="{7D5DA25B-3DA3-EEE1-CEA6-930FC9FBF76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4317" y="2281107"/>
            <a:ext cx="4153056" cy="2445035"/>
          </a:xfrm>
          <a:prstGeom prst="rect">
            <a:avLst/>
          </a:prstGeom>
        </p:spPr>
        <p:txBody>
          <a:bodyPr vert="horz" wrap="none" lIns="0" tIns="45720" rIns="0" bIns="45720" rtlCol="0" anchor="t" anchorCtr="0">
            <a:noAutofit/>
          </a:bodyPr>
          <a:lstStyle>
            <a:lvl1pPr marL="0" indent="0">
              <a:lnSpc>
                <a:spcPts val="3860"/>
              </a:lnSpc>
              <a:buNone/>
              <a:defRPr lang="pt-PT" sz="3200" b="1" baseline="0" dirty="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166682" lvl="0" indent="-342891">
              <a:spcBef>
                <a:spcPct val="0"/>
              </a:spcBef>
            </a:pPr>
            <a:r>
              <a:rPr lang="pt-PT" dirty="0"/>
              <a:t>Título do Separador</a:t>
            </a:r>
          </a:p>
        </p:txBody>
      </p:sp>
      <p:sp useBgFill="1">
        <p:nvSpPr>
          <p:cNvPr id="7" name="Marcador de Posição do Texto 2">
            <a:extLst>
              <a:ext uri="{FF2B5EF4-FFF2-40B4-BE49-F238E27FC236}">
                <a16:creationId xmlns:a16="http://schemas.microsoft.com/office/drawing/2014/main" id="{BD1EAA68-11D4-BD5F-1C1E-C8EB59D3815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6835" y="253243"/>
            <a:ext cx="1771431" cy="1876776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pt-PT" sz="15000" b="1" i="0" baseline="0" dirty="0">
                <a:ln w="22225">
                  <a:solidFill>
                    <a:srgbClr val="006531"/>
                  </a:solidFill>
                </a:ln>
                <a:noFill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pt-PT" dirty="0"/>
              <a:t>3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E7A2C4F-B0E0-B43C-9756-FCC9FD7C0B1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740" t="32109" r="8854" b="12344"/>
          <a:stretch/>
        </p:blipFill>
        <p:spPr>
          <a:xfrm>
            <a:off x="4739915" y="-1"/>
            <a:ext cx="7461230" cy="68550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819099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dor 4_preto_com imagem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">
            <a:extLst>
              <a:ext uri="{FF2B5EF4-FFF2-40B4-BE49-F238E27FC236}">
                <a16:creationId xmlns:a16="http://schemas.microsoft.com/office/drawing/2014/main" id="{6AF07C86-E2B1-F6DF-23BD-E98AFAA67B87}"/>
              </a:ext>
            </a:extLst>
          </p:cNvPr>
          <p:cNvSpPr/>
          <p:nvPr userDrawn="1"/>
        </p:nvSpPr>
        <p:spPr>
          <a:xfrm rot="60000">
            <a:off x="5115912" y="2004488"/>
            <a:ext cx="7102504" cy="3075450"/>
          </a:xfrm>
          <a:custGeom>
            <a:avLst/>
            <a:gdLst>
              <a:gd name="connsiteX0" fmla="*/ 6577 w 21563"/>
              <a:gd name="connsiteY0" fmla="*/ 9447 h 21493"/>
              <a:gd name="connsiteX1" fmla="*/ 9226 w 21563"/>
              <a:gd name="connsiteY1" fmla="*/ 9779 h 21493"/>
              <a:gd name="connsiteX2" fmla="*/ 11875 w 21563"/>
              <a:gd name="connsiteY2" fmla="*/ 10142 h 21493"/>
              <a:gd name="connsiteX3" fmla="*/ 13609 w 21563"/>
              <a:gd name="connsiteY3" fmla="*/ 10201 h 21493"/>
              <a:gd name="connsiteX4" fmla="*/ 15316 w 21563"/>
              <a:gd name="connsiteY4" fmla="*/ 9511 h 21493"/>
              <a:gd name="connsiteX5" fmla="*/ 18353 w 21563"/>
              <a:gd name="connsiteY5" fmla="*/ 6271 h 21493"/>
              <a:gd name="connsiteX6" fmla="*/ 21454 w 21563"/>
              <a:gd name="connsiteY6" fmla="*/ 77 h 21493"/>
              <a:gd name="connsiteX7" fmla="*/ 21535 w 21563"/>
              <a:gd name="connsiteY7" fmla="*/ 10 h 21493"/>
              <a:gd name="connsiteX8" fmla="*/ 21563 w 21563"/>
              <a:gd name="connsiteY8" fmla="*/ 148 h 21493"/>
              <a:gd name="connsiteX9" fmla="*/ 21543 w 21563"/>
              <a:gd name="connsiteY9" fmla="*/ 421 h 21493"/>
              <a:gd name="connsiteX10" fmla="*/ 21509 w 21563"/>
              <a:gd name="connsiteY10" fmla="*/ 680 h 21493"/>
              <a:gd name="connsiteX11" fmla="*/ 20566 w 21563"/>
              <a:gd name="connsiteY11" fmla="*/ 5807 h 21493"/>
              <a:gd name="connsiteX12" fmla="*/ 19382 w 21563"/>
              <a:gd name="connsiteY12" fmla="*/ 10091 h 21493"/>
              <a:gd name="connsiteX13" fmla="*/ 14104 w 21563"/>
              <a:gd name="connsiteY13" fmla="*/ 19276 h 21493"/>
              <a:gd name="connsiteX14" fmla="*/ 9656 w 21563"/>
              <a:gd name="connsiteY14" fmla="*/ 21467 h 21493"/>
              <a:gd name="connsiteX15" fmla="*/ 6215 w 21563"/>
              <a:gd name="connsiteY15" fmla="*/ 20777 h 21493"/>
              <a:gd name="connsiteX16" fmla="*/ 2971 w 21563"/>
              <a:gd name="connsiteY16" fmla="*/ 18024 h 21493"/>
              <a:gd name="connsiteX17" fmla="*/ 1638 w 21563"/>
              <a:gd name="connsiteY17" fmla="*/ 16093 h 21493"/>
              <a:gd name="connsiteX18" fmla="*/ 452 w 21563"/>
              <a:gd name="connsiteY18" fmla="*/ 13807 h 21493"/>
              <a:gd name="connsiteX19" fmla="*/ 102 w 21563"/>
              <a:gd name="connsiteY19" fmla="*/ 12680 h 21493"/>
              <a:gd name="connsiteX20" fmla="*/ 34 w 21563"/>
              <a:gd name="connsiteY20" fmla="*/ 11312 h 21493"/>
              <a:gd name="connsiteX21" fmla="*/ 757 w 21563"/>
              <a:gd name="connsiteY21" fmla="*/ 10130 h 21493"/>
              <a:gd name="connsiteX22" fmla="*/ 2220 w 21563"/>
              <a:gd name="connsiteY22" fmla="*/ 9507 h 21493"/>
              <a:gd name="connsiteX23" fmla="*/ 4408 w 21563"/>
              <a:gd name="connsiteY23" fmla="*/ 9335 h 21493"/>
              <a:gd name="connsiteX24" fmla="*/ 6577 w 21563"/>
              <a:gd name="connsiteY24" fmla="*/ 9447 h 21493"/>
              <a:gd name="connsiteX0" fmla="*/ 6577 w 21563"/>
              <a:gd name="connsiteY0" fmla="*/ 9447 h 21493"/>
              <a:gd name="connsiteX1" fmla="*/ 9226 w 21563"/>
              <a:gd name="connsiteY1" fmla="*/ 9779 h 21493"/>
              <a:gd name="connsiteX2" fmla="*/ 11875 w 21563"/>
              <a:gd name="connsiteY2" fmla="*/ 10142 h 21493"/>
              <a:gd name="connsiteX3" fmla="*/ 13609 w 21563"/>
              <a:gd name="connsiteY3" fmla="*/ 10201 h 21493"/>
              <a:gd name="connsiteX4" fmla="*/ 15316 w 21563"/>
              <a:gd name="connsiteY4" fmla="*/ 9511 h 21493"/>
              <a:gd name="connsiteX5" fmla="*/ 18353 w 21563"/>
              <a:gd name="connsiteY5" fmla="*/ 6271 h 21493"/>
              <a:gd name="connsiteX6" fmla="*/ 21454 w 21563"/>
              <a:gd name="connsiteY6" fmla="*/ 77 h 21493"/>
              <a:gd name="connsiteX7" fmla="*/ 21535 w 21563"/>
              <a:gd name="connsiteY7" fmla="*/ 10 h 21493"/>
              <a:gd name="connsiteX8" fmla="*/ 21563 w 21563"/>
              <a:gd name="connsiteY8" fmla="*/ 148 h 21493"/>
              <a:gd name="connsiteX9" fmla="*/ 21543 w 21563"/>
              <a:gd name="connsiteY9" fmla="*/ 421 h 21493"/>
              <a:gd name="connsiteX10" fmla="*/ 20566 w 21563"/>
              <a:gd name="connsiteY10" fmla="*/ 5807 h 21493"/>
              <a:gd name="connsiteX11" fmla="*/ 19382 w 21563"/>
              <a:gd name="connsiteY11" fmla="*/ 10091 h 21493"/>
              <a:gd name="connsiteX12" fmla="*/ 14104 w 21563"/>
              <a:gd name="connsiteY12" fmla="*/ 19276 h 21493"/>
              <a:gd name="connsiteX13" fmla="*/ 9656 w 21563"/>
              <a:gd name="connsiteY13" fmla="*/ 21467 h 21493"/>
              <a:gd name="connsiteX14" fmla="*/ 6215 w 21563"/>
              <a:gd name="connsiteY14" fmla="*/ 20777 h 21493"/>
              <a:gd name="connsiteX15" fmla="*/ 2971 w 21563"/>
              <a:gd name="connsiteY15" fmla="*/ 18024 h 21493"/>
              <a:gd name="connsiteX16" fmla="*/ 1638 w 21563"/>
              <a:gd name="connsiteY16" fmla="*/ 16093 h 21493"/>
              <a:gd name="connsiteX17" fmla="*/ 452 w 21563"/>
              <a:gd name="connsiteY17" fmla="*/ 13807 h 21493"/>
              <a:gd name="connsiteX18" fmla="*/ 102 w 21563"/>
              <a:gd name="connsiteY18" fmla="*/ 12680 h 21493"/>
              <a:gd name="connsiteX19" fmla="*/ 34 w 21563"/>
              <a:gd name="connsiteY19" fmla="*/ 11312 h 21493"/>
              <a:gd name="connsiteX20" fmla="*/ 757 w 21563"/>
              <a:gd name="connsiteY20" fmla="*/ 10130 h 21493"/>
              <a:gd name="connsiteX21" fmla="*/ 2220 w 21563"/>
              <a:gd name="connsiteY21" fmla="*/ 9507 h 21493"/>
              <a:gd name="connsiteX22" fmla="*/ 4408 w 21563"/>
              <a:gd name="connsiteY22" fmla="*/ 9335 h 21493"/>
              <a:gd name="connsiteX23" fmla="*/ 6577 w 21563"/>
              <a:gd name="connsiteY23" fmla="*/ 9447 h 21493"/>
              <a:gd name="connsiteX0" fmla="*/ 6577 w 21563"/>
              <a:gd name="connsiteY0" fmla="*/ 9447 h 21493"/>
              <a:gd name="connsiteX1" fmla="*/ 9226 w 21563"/>
              <a:gd name="connsiteY1" fmla="*/ 9779 h 21493"/>
              <a:gd name="connsiteX2" fmla="*/ 11875 w 21563"/>
              <a:gd name="connsiteY2" fmla="*/ 10142 h 21493"/>
              <a:gd name="connsiteX3" fmla="*/ 13609 w 21563"/>
              <a:gd name="connsiteY3" fmla="*/ 10201 h 21493"/>
              <a:gd name="connsiteX4" fmla="*/ 15316 w 21563"/>
              <a:gd name="connsiteY4" fmla="*/ 9511 h 21493"/>
              <a:gd name="connsiteX5" fmla="*/ 18353 w 21563"/>
              <a:gd name="connsiteY5" fmla="*/ 6271 h 21493"/>
              <a:gd name="connsiteX6" fmla="*/ 21454 w 21563"/>
              <a:gd name="connsiteY6" fmla="*/ 77 h 21493"/>
              <a:gd name="connsiteX7" fmla="*/ 21535 w 21563"/>
              <a:gd name="connsiteY7" fmla="*/ 10 h 21493"/>
              <a:gd name="connsiteX8" fmla="*/ 21563 w 21563"/>
              <a:gd name="connsiteY8" fmla="*/ 148 h 21493"/>
              <a:gd name="connsiteX9" fmla="*/ 21543 w 21563"/>
              <a:gd name="connsiteY9" fmla="*/ 421 h 21493"/>
              <a:gd name="connsiteX10" fmla="*/ 19382 w 21563"/>
              <a:gd name="connsiteY10" fmla="*/ 10091 h 21493"/>
              <a:gd name="connsiteX11" fmla="*/ 14104 w 21563"/>
              <a:gd name="connsiteY11" fmla="*/ 19276 h 21493"/>
              <a:gd name="connsiteX12" fmla="*/ 9656 w 21563"/>
              <a:gd name="connsiteY12" fmla="*/ 21467 h 21493"/>
              <a:gd name="connsiteX13" fmla="*/ 6215 w 21563"/>
              <a:gd name="connsiteY13" fmla="*/ 20777 h 21493"/>
              <a:gd name="connsiteX14" fmla="*/ 2971 w 21563"/>
              <a:gd name="connsiteY14" fmla="*/ 18024 h 21493"/>
              <a:gd name="connsiteX15" fmla="*/ 1638 w 21563"/>
              <a:gd name="connsiteY15" fmla="*/ 16093 h 21493"/>
              <a:gd name="connsiteX16" fmla="*/ 452 w 21563"/>
              <a:gd name="connsiteY16" fmla="*/ 13807 h 21493"/>
              <a:gd name="connsiteX17" fmla="*/ 102 w 21563"/>
              <a:gd name="connsiteY17" fmla="*/ 12680 h 21493"/>
              <a:gd name="connsiteX18" fmla="*/ 34 w 21563"/>
              <a:gd name="connsiteY18" fmla="*/ 11312 h 21493"/>
              <a:gd name="connsiteX19" fmla="*/ 757 w 21563"/>
              <a:gd name="connsiteY19" fmla="*/ 10130 h 21493"/>
              <a:gd name="connsiteX20" fmla="*/ 2220 w 21563"/>
              <a:gd name="connsiteY20" fmla="*/ 9507 h 21493"/>
              <a:gd name="connsiteX21" fmla="*/ 4408 w 21563"/>
              <a:gd name="connsiteY21" fmla="*/ 9335 h 21493"/>
              <a:gd name="connsiteX22" fmla="*/ 6577 w 21563"/>
              <a:gd name="connsiteY22" fmla="*/ 9447 h 21493"/>
              <a:gd name="connsiteX0" fmla="*/ 6577 w 21563"/>
              <a:gd name="connsiteY0" fmla="*/ 9447 h 21493"/>
              <a:gd name="connsiteX1" fmla="*/ 9226 w 21563"/>
              <a:gd name="connsiteY1" fmla="*/ 9779 h 21493"/>
              <a:gd name="connsiteX2" fmla="*/ 11875 w 21563"/>
              <a:gd name="connsiteY2" fmla="*/ 10142 h 21493"/>
              <a:gd name="connsiteX3" fmla="*/ 13609 w 21563"/>
              <a:gd name="connsiteY3" fmla="*/ 10201 h 21493"/>
              <a:gd name="connsiteX4" fmla="*/ 15316 w 21563"/>
              <a:gd name="connsiteY4" fmla="*/ 9511 h 21493"/>
              <a:gd name="connsiteX5" fmla="*/ 18353 w 21563"/>
              <a:gd name="connsiteY5" fmla="*/ 6271 h 21493"/>
              <a:gd name="connsiteX6" fmla="*/ 21454 w 21563"/>
              <a:gd name="connsiteY6" fmla="*/ 77 h 21493"/>
              <a:gd name="connsiteX7" fmla="*/ 21535 w 21563"/>
              <a:gd name="connsiteY7" fmla="*/ 10 h 21493"/>
              <a:gd name="connsiteX8" fmla="*/ 21563 w 21563"/>
              <a:gd name="connsiteY8" fmla="*/ 148 h 21493"/>
              <a:gd name="connsiteX9" fmla="*/ 19382 w 21563"/>
              <a:gd name="connsiteY9" fmla="*/ 10091 h 21493"/>
              <a:gd name="connsiteX10" fmla="*/ 14104 w 21563"/>
              <a:gd name="connsiteY10" fmla="*/ 19276 h 21493"/>
              <a:gd name="connsiteX11" fmla="*/ 9656 w 21563"/>
              <a:gd name="connsiteY11" fmla="*/ 21467 h 21493"/>
              <a:gd name="connsiteX12" fmla="*/ 6215 w 21563"/>
              <a:gd name="connsiteY12" fmla="*/ 20777 h 21493"/>
              <a:gd name="connsiteX13" fmla="*/ 2971 w 21563"/>
              <a:gd name="connsiteY13" fmla="*/ 18024 h 21493"/>
              <a:gd name="connsiteX14" fmla="*/ 1638 w 21563"/>
              <a:gd name="connsiteY14" fmla="*/ 16093 h 21493"/>
              <a:gd name="connsiteX15" fmla="*/ 452 w 21563"/>
              <a:gd name="connsiteY15" fmla="*/ 13807 h 21493"/>
              <a:gd name="connsiteX16" fmla="*/ 102 w 21563"/>
              <a:gd name="connsiteY16" fmla="*/ 12680 h 21493"/>
              <a:gd name="connsiteX17" fmla="*/ 34 w 21563"/>
              <a:gd name="connsiteY17" fmla="*/ 11312 h 21493"/>
              <a:gd name="connsiteX18" fmla="*/ 757 w 21563"/>
              <a:gd name="connsiteY18" fmla="*/ 10130 h 21493"/>
              <a:gd name="connsiteX19" fmla="*/ 2220 w 21563"/>
              <a:gd name="connsiteY19" fmla="*/ 9507 h 21493"/>
              <a:gd name="connsiteX20" fmla="*/ 4408 w 21563"/>
              <a:gd name="connsiteY20" fmla="*/ 9335 h 21493"/>
              <a:gd name="connsiteX21" fmla="*/ 6577 w 21563"/>
              <a:gd name="connsiteY21" fmla="*/ 9447 h 21493"/>
              <a:gd name="connsiteX0" fmla="*/ 6577 w 21535"/>
              <a:gd name="connsiteY0" fmla="*/ 9447 h 21493"/>
              <a:gd name="connsiteX1" fmla="*/ 9226 w 21535"/>
              <a:gd name="connsiteY1" fmla="*/ 9779 h 21493"/>
              <a:gd name="connsiteX2" fmla="*/ 11875 w 21535"/>
              <a:gd name="connsiteY2" fmla="*/ 10142 h 21493"/>
              <a:gd name="connsiteX3" fmla="*/ 13609 w 21535"/>
              <a:gd name="connsiteY3" fmla="*/ 10201 h 21493"/>
              <a:gd name="connsiteX4" fmla="*/ 15316 w 21535"/>
              <a:gd name="connsiteY4" fmla="*/ 9511 h 21493"/>
              <a:gd name="connsiteX5" fmla="*/ 18353 w 21535"/>
              <a:gd name="connsiteY5" fmla="*/ 6271 h 21493"/>
              <a:gd name="connsiteX6" fmla="*/ 21454 w 21535"/>
              <a:gd name="connsiteY6" fmla="*/ 77 h 21493"/>
              <a:gd name="connsiteX7" fmla="*/ 21535 w 21535"/>
              <a:gd name="connsiteY7" fmla="*/ 10 h 21493"/>
              <a:gd name="connsiteX8" fmla="*/ 19382 w 21535"/>
              <a:gd name="connsiteY8" fmla="*/ 10091 h 21493"/>
              <a:gd name="connsiteX9" fmla="*/ 14104 w 21535"/>
              <a:gd name="connsiteY9" fmla="*/ 19276 h 21493"/>
              <a:gd name="connsiteX10" fmla="*/ 9656 w 21535"/>
              <a:gd name="connsiteY10" fmla="*/ 21467 h 21493"/>
              <a:gd name="connsiteX11" fmla="*/ 6215 w 21535"/>
              <a:gd name="connsiteY11" fmla="*/ 20777 h 21493"/>
              <a:gd name="connsiteX12" fmla="*/ 2971 w 21535"/>
              <a:gd name="connsiteY12" fmla="*/ 18024 h 21493"/>
              <a:gd name="connsiteX13" fmla="*/ 1638 w 21535"/>
              <a:gd name="connsiteY13" fmla="*/ 16093 h 21493"/>
              <a:gd name="connsiteX14" fmla="*/ 452 w 21535"/>
              <a:gd name="connsiteY14" fmla="*/ 13807 h 21493"/>
              <a:gd name="connsiteX15" fmla="*/ 102 w 21535"/>
              <a:gd name="connsiteY15" fmla="*/ 12680 h 21493"/>
              <a:gd name="connsiteX16" fmla="*/ 34 w 21535"/>
              <a:gd name="connsiteY16" fmla="*/ 11312 h 21493"/>
              <a:gd name="connsiteX17" fmla="*/ 757 w 21535"/>
              <a:gd name="connsiteY17" fmla="*/ 10130 h 21493"/>
              <a:gd name="connsiteX18" fmla="*/ 2220 w 21535"/>
              <a:gd name="connsiteY18" fmla="*/ 9507 h 21493"/>
              <a:gd name="connsiteX19" fmla="*/ 4408 w 21535"/>
              <a:gd name="connsiteY19" fmla="*/ 9335 h 21493"/>
              <a:gd name="connsiteX20" fmla="*/ 6577 w 21535"/>
              <a:gd name="connsiteY20" fmla="*/ 9447 h 21493"/>
              <a:gd name="connsiteX0" fmla="*/ 6577 w 21473"/>
              <a:gd name="connsiteY0" fmla="*/ 9370 h 21416"/>
              <a:gd name="connsiteX1" fmla="*/ 9226 w 21473"/>
              <a:gd name="connsiteY1" fmla="*/ 9702 h 21416"/>
              <a:gd name="connsiteX2" fmla="*/ 11875 w 21473"/>
              <a:gd name="connsiteY2" fmla="*/ 10065 h 21416"/>
              <a:gd name="connsiteX3" fmla="*/ 13609 w 21473"/>
              <a:gd name="connsiteY3" fmla="*/ 10124 h 21416"/>
              <a:gd name="connsiteX4" fmla="*/ 15316 w 21473"/>
              <a:gd name="connsiteY4" fmla="*/ 9434 h 21416"/>
              <a:gd name="connsiteX5" fmla="*/ 18353 w 21473"/>
              <a:gd name="connsiteY5" fmla="*/ 6194 h 21416"/>
              <a:gd name="connsiteX6" fmla="*/ 21454 w 21473"/>
              <a:gd name="connsiteY6" fmla="*/ 0 h 21416"/>
              <a:gd name="connsiteX7" fmla="*/ 19382 w 21473"/>
              <a:gd name="connsiteY7" fmla="*/ 10014 h 21416"/>
              <a:gd name="connsiteX8" fmla="*/ 14104 w 21473"/>
              <a:gd name="connsiteY8" fmla="*/ 19199 h 21416"/>
              <a:gd name="connsiteX9" fmla="*/ 9656 w 21473"/>
              <a:gd name="connsiteY9" fmla="*/ 21390 h 21416"/>
              <a:gd name="connsiteX10" fmla="*/ 6215 w 21473"/>
              <a:gd name="connsiteY10" fmla="*/ 20700 h 21416"/>
              <a:gd name="connsiteX11" fmla="*/ 2971 w 21473"/>
              <a:gd name="connsiteY11" fmla="*/ 17947 h 21416"/>
              <a:gd name="connsiteX12" fmla="*/ 1638 w 21473"/>
              <a:gd name="connsiteY12" fmla="*/ 16016 h 21416"/>
              <a:gd name="connsiteX13" fmla="*/ 452 w 21473"/>
              <a:gd name="connsiteY13" fmla="*/ 13730 h 21416"/>
              <a:gd name="connsiteX14" fmla="*/ 102 w 21473"/>
              <a:gd name="connsiteY14" fmla="*/ 12603 h 21416"/>
              <a:gd name="connsiteX15" fmla="*/ 34 w 21473"/>
              <a:gd name="connsiteY15" fmla="*/ 11235 h 21416"/>
              <a:gd name="connsiteX16" fmla="*/ 757 w 21473"/>
              <a:gd name="connsiteY16" fmla="*/ 10053 h 21416"/>
              <a:gd name="connsiteX17" fmla="*/ 2220 w 21473"/>
              <a:gd name="connsiteY17" fmla="*/ 9430 h 21416"/>
              <a:gd name="connsiteX18" fmla="*/ 4408 w 21473"/>
              <a:gd name="connsiteY18" fmla="*/ 9258 h 21416"/>
              <a:gd name="connsiteX19" fmla="*/ 6577 w 21473"/>
              <a:gd name="connsiteY19" fmla="*/ 9370 h 21416"/>
              <a:gd name="connsiteX0" fmla="*/ 6577 w 20198"/>
              <a:gd name="connsiteY0" fmla="*/ 4562 h 16608"/>
              <a:gd name="connsiteX1" fmla="*/ 9226 w 20198"/>
              <a:gd name="connsiteY1" fmla="*/ 4894 h 16608"/>
              <a:gd name="connsiteX2" fmla="*/ 11875 w 20198"/>
              <a:gd name="connsiteY2" fmla="*/ 5257 h 16608"/>
              <a:gd name="connsiteX3" fmla="*/ 13609 w 20198"/>
              <a:gd name="connsiteY3" fmla="*/ 5316 h 16608"/>
              <a:gd name="connsiteX4" fmla="*/ 15316 w 20198"/>
              <a:gd name="connsiteY4" fmla="*/ 4626 h 16608"/>
              <a:gd name="connsiteX5" fmla="*/ 18353 w 20198"/>
              <a:gd name="connsiteY5" fmla="*/ 1386 h 16608"/>
              <a:gd name="connsiteX6" fmla="*/ 20081 w 20198"/>
              <a:gd name="connsiteY6" fmla="*/ 0 h 16608"/>
              <a:gd name="connsiteX7" fmla="*/ 19382 w 20198"/>
              <a:gd name="connsiteY7" fmla="*/ 5206 h 16608"/>
              <a:gd name="connsiteX8" fmla="*/ 14104 w 20198"/>
              <a:gd name="connsiteY8" fmla="*/ 14391 h 16608"/>
              <a:gd name="connsiteX9" fmla="*/ 9656 w 20198"/>
              <a:gd name="connsiteY9" fmla="*/ 16582 h 16608"/>
              <a:gd name="connsiteX10" fmla="*/ 6215 w 20198"/>
              <a:gd name="connsiteY10" fmla="*/ 15892 h 16608"/>
              <a:gd name="connsiteX11" fmla="*/ 2971 w 20198"/>
              <a:gd name="connsiteY11" fmla="*/ 13139 h 16608"/>
              <a:gd name="connsiteX12" fmla="*/ 1638 w 20198"/>
              <a:gd name="connsiteY12" fmla="*/ 11208 h 16608"/>
              <a:gd name="connsiteX13" fmla="*/ 452 w 20198"/>
              <a:gd name="connsiteY13" fmla="*/ 8922 h 16608"/>
              <a:gd name="connsiteX14" fmla="*/ 102 w 20198"/>
              <a:gd name="connsiteY14" fmla="*/ 7795 h 16608"/>
              <a:gd name="connsiteX15" fmla="*/ 34 w 20198"/>
              <a:gd name="connsiteY15" fmla="*/ 6427 h 16608"/>
              <a:gd name="connsiteX16" fmla="*/ 757 w 20198"/>
              <a:gd name="connsiteY16" fmla="*/ 5245 h 16608"/>
              <a:gd name="connsiteX17" fmla="*/ 2220 w 20198"/>
              <a:gd name="connsiteY17" fmla="*/ 4622 h 16608"/>
              <a:gd name="connsiteX18" fmla="*/ 4408 w 20198"/>
              <a:gd name="connsiteY18" fmla="*/ 4450 h 16608"/>
              <a:gd name="connsiteX19" fmla="*/ 6577 w 20198"/>
              <a:gd name="connsiteY19" fmla="*/ 4562 h 16608"/>
              <a:gd name="connsiteX0" fmla="*/ 6577 w 19616"/>
              <a:gd name="connsiteY0" fmla="*/ 3179 h 15225"/>
              <a:gd name="connsiteX1" fmla="*/ 9226 w 19616"/>
              <a:gd name="connsiteY1" fmla="*/ 3511 h 15225"/>
              <a:gd name="connsiteX2" fmla="*/ 11875 w 19616"/>
              <a:gd name="connsiteY2" fmla="*/ 3874 h 15225"/>
              <a:gd name="connsiteX3" fmla="*/ 13609 w 19616"/>
              <a:gd name="connsiteY3" fmla="*/ 3933 h 15225"/>
              <a:gd name="connsiteX4" fmla="*/ 15316 w 19616"/>
              <a:gd name="connsiteY4" fmla="*/ 3243 h 15225"/>
              <a:gd name="connsiteX5" fmla="*/ 18353 w 19616"/>
              <a:gd name="connsiteY5" fmla="*/ 3 h 15225"/>
              <a:gd name="connsiteX6" fmla="*/ 19382 w 19616"/>
              <a:gd name="connsiteY6" fmla="*/ 3823 h 15225"/>
              <a:gd name="connsiteX7" fmla="*/ 14104 w 19616"/>
              <a:gd name="connsiteY7" fmla="*/ 13008 h 15225"/>
              <a:gd name="connsiteX8" fmla="*/ 9656 w 19616"/>
              <a:gd name="connsiteY8" fmla="*/ 15199 h 15225"/>
              <a:gd name="connsiteX9" fmla="*/ 6215 w 19616"/>
              <a:gd name="connsiteY9" fmla="*/ 14509 h 15225"/>
              <a:gd name="connsiteX10" fmla="*/ 2971 w 19616"/>
              <a:gd name="connsiteY10" fmla="*/ 11756 h 15225"/>
              <a:gd name="connsiteX11" fmla="*/ 1638 w 19616"/>
              <a:gd name="connsiteY11" fmla="*/ 9825 h 15225"/>
              <a:gd name="connsiteX12" fmla="*/ 452 w 19616"/>
              <a:gd name="connsiteY12" fmla="*/ 7539 h 15225"/>
              <a:gd name="connsiteX13" fmla="*/ 102 w 19616"/>
              <a:gd name="connsiteY13" fmla="*/ 6412 h 15225"/>
              <a:gd name="connsiteX14" fmla="*/ 34 w 19616"/>
              <a:gd name="connsiteY14" fmla="*/ 5044 h 15225"/>
              <a:gd name="connsiteX15" fmla="*/ 757 w 19616"/>
              <a:gd name="connsiteY15" fmla="*/ 3862 h 15225"/>
              <a:gd name="connsiteX16" fmla="*/ 2220 w 19616"/>
              <a:gd name="connsiteY16" fmla="*/ 3239 h 15225"/>
              <a:gd name="connsiteX17" fmla="*/ 4408 w 19616"/>
              <a:gd name="connsiteY17" fmla="*/ 3067 h 15225"/>
              <a:gd name="connsiteX18" fmla="*/ 6577 w 19616"/>
              <a:gd name="connsiteY18" fmla="*/ 3179 h 15225"/>
              <a:gd name="connsiteX0" fmla="*/ 6577 w 18366"/>
              <a:gd name="connsiteY0" fmla="*/ 3322 h 15368"/>
              <a:gd name="connsiteX1" fmla="*/ 9226 w 18366"/>
              <a:gd name="connsiteY1" fmla="*/ 3654 h 15368"/>
              <a:gd name="connsiteX2" fmla="*/ 11875 w 18366"/>
              <a:gd name="connsiteY2" fmla="*/ 4017 h 15368"/>
              <a:gd name="connsiteX3" fmla="*/ 13609 w 18366"/>
              <a:gd name="connsiteY3" fmla="*/ 4076 h 15368"/>
              <a:gd name="connsiteX4" fmla="*/ 15316 w 18366"/>
              <a:gd name="connsiteY4" fmla="*/ 3386 h 15368"/>
              <a:gd name="connsiteX5" fmla="*/ 18353 w 18366"/>
              <a:gd name="connsiteY5" fmla="*/ 146 h 15368"/>
              <a:gd name="connsiteX6" fmla="*/ 16344 w 18366"/>
              <a:gd name="connsiteY6" fmla="*/ 8724 h 15368"/>
              <a:gd name="connsiteX7" fmla="*/ 14104 w 18366"/>
              <a:gd name="connsiteY7" fmla="*/ 13151 h 15368"/>
              <a:gd name="connsiteX8" fmla="*/ 9656 w 18366"/>
              <a:gd name="connsiteY8" fmla="*/ 15342 h 15368"/>
              <a:gd name="connsiteX9" fmla="*/ 6215 w 18366"/>
              <a:gd name="connsiteY9" fmla="*/ 14652 h 15368"/>
              <a:gd name="connsiteX10" fmla="*/ 2971 w 18366"/>
              <a:gd name="connsiteY10" fmla="*/ 11899 h 15368"/>
              <a:gd name="connsiteX11" fmla="*/ 1638 w 18366"/>
              <a:gd name="connsiteY11" fmla="*/ 9968 h 15368"/>
              <a:gd name="connsiteX12" fmla="*/ 452 w 18366"/>
              <a:gd name="connsiteY12" fmla="*/ 7682 h 15368"/>
              <a:gd name="connsiteX13" fmla="*/ 102 w 18366"/>
              <a:gd name="connsiteY13" fmla="*/ 6555 h 15368"/>
              <a:gd name="connsiteX14" fmla="*/ 34 w 18366"/>
              <a:gd name="connsiteY14" fmla="*/ 5187 h 15368"/>
              <a:gd name="connsiteX15" fmla="*/ 757 w 18366"/>
              <a:gd name="connsiteY15" fmla="*/ 4005 h 15368"/>
              <a:gd name="connsiteX16" fmla="*/ 2220 w 18366"/>
              <a:gd name="connsiteY16" fmla="*/ 3382 h 15368"/>
              <a:gd name="connsiteX17" fmla="*/ 4408 w 18366"/>
              <a:gd name="connsiteY17" fmla="*/ 3210 h 15368"/>
              <a:gd name="connsiteX18" fmla="*/ 6577 w 18366"/>
              <a:gd name="connsiteY18" fmla="*/ 3322 h 15368"/>
              <a:gd name="connsiteX0" fmla="*/ 6577 w 16536"/>
              <a:gd name="connsiteY0" fmla="*/ 116 h 12162"/>
              <a:gd name="connsiteX1" fmla="*/ 9226 w 16536"/>
              <a:gd name="connsiteY1" fmla="*/ 448 h 12162"/>
              <a:gd name="connsiteX2" fmla="*/ 11875 w 16536"/>
              <a:gd name="connsiteY2" fmla="*/ 811 h 12162"/>
              <a:gd name="connsiteX3" fmla="*/ 13609 w 16536"/>
              <a:gd name="connsiteY3" fmla="*/ 870 h 12162"/>
              <a:gd name="connsiteX4" fmla="*/ 15316 w 16536"/>
              <a:gd name="connsiteY4" fmla="*/ 180 h 12162"/>
              <a:gd name="connsiteX5" fmla="*/ 16300 w 16536"/>
              <a:gd name="connsiteY5" fmla="*/ 1698 h 12162"/>
              <a:gd name="connsiteX6" fmla="*/ 16344 w 16536"/>
              <a:gd name="connsiteY6" fmla="*/ 5518 h 12162"/>
              <a:gd name="connsiteX7" fmla="*/ 14104 w 16536"/>
              <a:gd name="connsiteY7" fmla="*/ 9945 h 12162"/>
              <a:gd name="connsiteX8" fmla="*/ 9656 w 16536"/>
              <a:gd name="connsiteY8" fmla="*/ 12136 h 12162"/>
              <a:gd name="connsiteX9" fmla="*/ 6215 w 16536"/>
              <a:gd name="connsiteY9" fmla="*/ 11446 h 12162"/>
              <a:gd name="connsiteX10" fmla="*/ 2971 w 16536"/>
              <a:gd name="connsiteY10" fmla="*/ 8693 h 12162"/>
              <a:gd name="connsiteX11" fmla="*/ 1638 w 16536"/>
              <a:gd name="connsiteY11" fmla="*/ 6762 h 12162"/>
              <a:gd name="connsiteX12" fmla="*/ 452 w 16536"/>
              <a:gd name="connsiteY12" fmla="*/ 4476 h 12162"/>
              <a:gd name="connsiteX13" fmla="*/ 102 w 16536"/>
              <a:gd name="connsiteY13" fmla="*/ 3349 h 12162"/>
              <a:gd name="connsiteX14" fmla="*/ 34 w 16536"/>
              <a:gd name="connsiteY14" fmla="*/ 1981 h 12162"/>
              <a:gd name="connsiteX15" fmla="*/ 757 w 16536"/>
              <a:gd name="connsiteY15" fmla="*/ 799 h 12162"/>
              <a:gd name="connsiteX16" fmla="*/ 2220 w 16536"/>
              <a:gd name="connsiteY16" fmla="*/ 176 h 12162"/>
              <a:gd name="connsiteX17" fmla="*/ 4408 w 16536"/>
              <a:gd name="connsiteY17" fmla="*/ 4 h 12162"/>
              <a:gd name="connsiteX18" fmla="*/ 6577 w 16536"/>
              <a:gd name="connsiteY18" fmla="*/ 116 h 12162"/>
              <a:gd name="connsiteX0" fmla="*/ 6577 w 16376"/>
              <a:gd name="connsiteY0" fmla="*/ 171 h 12217"/>
              <a:gd name="connsiteX1" fmla="*/ 9226 w 16376"/>
              <a:gd name="connsiteY1" fmla="*/ 503 h 12217"/>
              <a:gd name="connsiteX2" fmla="*/ 11875 w 16376"/>
              <a:gd name="connsiteY2" fmla="*/ 866 h 12217"/>
              <a:gd name="connsiteX3" fmla="*/ 13609 w 16376"/>
              <a:gd name="connsiteY3" fmla="*/ 925 h 12217"/>
              <a:gd name="connsiteX4" fmla="*/ 15316 w 16376"/>
              <a:gd name="connsiteY4" fmla="*/ 235 h 12217"/>
              <a:gd name="connsiteX5" fmla="*/ 16344 w 16376"/>
              <a:gd name="connsiteY5" fmla="*/ 5573 h 12217"/>
              <a:gd name="connsiteX6" fmla="*/ 14104 w 16376"/>
              <a:gd name="connsiteY6" fmla="*/ 10000 h 12217"/>
              <a:gd name="connsiteX7" fmla="*/ 9656 w 16376"/>
              <a:gd name="connsiteY7" fmla="*/ 12191 h 12217"/>
              <a:gd name="connsiteX8" fmla="*/ 6215 w 16376"/>
              <a:gd name="connsiteY8" fmla="*/ 11501 h 12217"/>
              <a:gd name="connsiteX9" fmla="*/ 2971 w 16376"/>
              <a:gd name="connsiteY9" fmla="*/ 8748 h 12217"/>
              <a:gd name="connsiteX10" fmla="*/ 1638 w 16376"/>
              <a:gd name="connsiteY10" fmla="*/ 6817 h 12217"/>
              <a:gd name="connsiteX11" fmla="*/ 452 w 16376"/>
              <a:gd name="connsiteY11" fmla="*/ 4531 h 12217"/>
              <a:gd name="connsiteX12" fmla="*/ 102 w 16376"/>
              <a:gd name="connsiteY12" fmla="*/ 3404 h 12217"/>
              <a:gd name="connsiteX13" fmla="*/ 34 w 16376"/>
              <a:gd name="connsiteY13" fmla="*/ 2036 h 12217"/>
              <a:gd name="connsiteX14" fmla="*/ 757 w 16376"/>
              <a:gd name="connsiteY14" fmla="*/ 854 h 12217"/>
              <a:gd name="connsiteX15" fmla="*/ 2220 w 16376"/>
              <a:gd name="connsiteY15" fmla="*/ 231 h 12217"/>
              <a:gd name="connsiteX16" fmla="*/ 4408 w 16376"/>
              <a:gd name="connsiteY16" fmla="*/ 59 h 12217"/>
              <a:gd name="connsiteX17" fmla="*/ 6577 w 16376"/>
              <a:gd name="connsiteY17" fmla="*/ 171 h 12217"/>
              <a:gd name="connsiteX0" fmla="*/ 6577 w 16347"/>
              <a:gd name="connsiteY0" fmla="*/ 116 h 12162"/>
              <a:gd name="connsiteX1" fmla="*/ 9226 w 16347"/>
              <a:gd name="connsiteY1" fmla="*/ 448 h 12162"/>
              <a:gd name="connsiteX2" fmla="*/ 11875 w 16347"/>
              <a:gd name="connsiteY2" fmla="*/ 811 h 12162"/>
              <a:gd name="connsiteX3" fmla="*/ 13609 w 16347"/>
              <a:gd name="connsiteY3" fmla="*/ 870 h 12162"/>
              <a:gd name="connsiteX4" fmla="*/ 16344 w 16347"/>
              <a:gd name="connsiteY4" fmla="*/ 5518 h 12162"/>
              <a:gd name="connsiteX5" fmla="*/ 14104 w 16347"/>
              <a:gd name="connsiteY5" fmla="*/ 9945 h 12162"/>
              <a:gd name="connsiteX6" fmla="*/ 9656 w 16347"/>
              <a:gd name="connsiteY6" fmla="*/ 12136 h 12162"/>
              <a:gd name="connsiteX7" fmla="*/ 6215 w 16347"/>
              <a:gd name="connsiteY7" fmla="*/ 11446 h 12162"/>
              <a:gd name="connsiteX8" fmla="*/ 2971 w 16347"/>
              <a:gd name="connsiteY8" fmla="*/ 8693 h 12162"/>
              <a:gd name="connsiteX9" fmla="*/ 1638 w 16347"/>
              <a:gd name="connsiteY9" fmla="*/ 6762 h 12162"/>
              <a:gd name="connsiteX10" fmla="*/ 452 w 16347"/>
              <a:gd name="connsiteY10" fmla="*/ 4476 h 12162"/>
              <a:gd name="connsiteX11" fmla="*/ 102 w 16347"/>
              <a:gd name="connsiteY11" fmla="*/ 3349 h 12162"/>
              <a:gd name="connsiteX12" fmla="*/ 34 w 16347"/>
              <a:gd name="connsiteY12" fmla="*/ 1981 h 12162"/>
              <a:gd name="connsiteX13" fmla="*/ 757 w 16347"/>
              <a:gd name="connsiteY13" fmla="*/ 799 h 12162"/>
              <a:gd name="connsiteX14" fmla="*/ 2220 w 16347"/>
              <a:gd name="connsiteY14" fmla="*/ 176 h 12162"/>
              <a:gd name="connsiteX15" fmla="*/ 4408 w 16347"/>
              <a:gd name="connsiteY15" fmla="*/ 4 h 12162"/>
              <a:gd name="connsiteX16" fmla="*/ 6577 w 16347"/>
              <a:gd name="connsiteY16" fmla="*/ 116 h 12162"/>
              <a:gd name="connsiteX0" fmla="*/ 6577 w 16361"/>
              <a:gd name="connsiteY0" fmla="*/ 116 h 12162"/>
              <a:gd name="connsiteX1" fmla="*/ 9226 w 16361"/>
              <a:gd name="connsiteY1" fmla="*/ 448 h 12162"/>
              <a:gd name="connsiteX2" fmla="*/ 11875 w 16361"/>
              <a:gd name="connsiteY2" fmla="*/ 811 h 12162"/>
              <a:gd name="connsiteX3" fmla="*/ 13010 w 16361"/>
              <a:gd name="connsiteY3" fmla="*/ 4712 h 12162"/>
              <a:gd name="connsiteX4" fmla="*/ 16344 w 16361"/>
              <a:gd name="connsiteY4" fmla="*/ 5518 h 12162"/>
              <a:gd name="connsiteX5" fmla="*/ 14104 w 16361"/>
              <a:gd name="connsiteY5" fmla="*/ 9945 h 12162"/>
              <a:gd name="connsiteX6" fmla="*/ 9656 w 16361"/>
              <a:gd name="connsiteY6" fmla="*/ 12136 h 12162"/>
              <a:gd name="connsiteX7" fmla="*/ 6215 w 16361"/>
              <a:gd name="connsiteY7" fmla="*/ 11446 h 12162"/>
              <a:gd name="connsiteX8" fmla="*/ 2971 w 16361"/>
              <a:gd name="connsiteY8" fmla="*/ 8693 h 12162"/>
              <a:gd name="connsiteX9" fmla="*/ 1638 w 16361"/>
              <a:gd name="connsiteY9" fmla="*/ 6762 h 12162"/>
              <a:gd name="connsiteX10" fmla="*/ 452 w 16361"/>
              <a:gd name="connsiteY10" fmla="*/ 4476 h 12162"/>
              <a:gd name="connsiteX11" fmla="*/ 102 w 16361"/>
              <a:gd name="connsiteY11" fmla="*/ 3349 h 12162"/>
              <a:gd name="connsiteX12" fmla="*/ 34 w 16361"/>
              <a:gd name="connsiteY12" fmla="*/ 1981 h 12162"/>
              <a:gd name="connsiteX13" fmla="*/ 757 w 16361"/>
              <a:gd name="connsiteY13" fmla="*/ 799 h 12162"/>
              <a:gd name="connsiteX14" fmla="*/ 2220 w 16361"/>
              <a:gd name="connsiteY14" fmla="*/ 176 h 12162"/>
              <a:gd name="connsiteX15" fmla="*/ 4408 w 16361"/>
              <a:gd name="connsiteY15" fmla="*/ 4 h 12162"/>
              <a:gd name="connsiteX16" fmla="*/ 6577 w 16361"/>
              <a:gd name="connsiteY16" fmla="*/ 116 h 12162"/>
              <a:gd name="connsiteX0" fmla="*/ 6577 w 14262"/>
              <a:gd name="connsiteY0" fmla="*/ 116 h 12162"/>
              <a:gd name="connsiteX1" fmla="*/ 9226 w 14262"/>
              <a:gd name="connsiteY1" fmla="*/ 448 h 12162"/>
              <a:gd name="connsiteX2" fmla="*/ 11875 w 14262"/>
              <a:gd name="connsiteY2" fmla="*/ 811 h 12162"/>
              <a:gd name="connsiteX3" fmla="*/ 13010 w 14262"/>
              <a:gd name="connsiteY3" fmla="*/ 4712 h 12162"/>
              <a:gd name="connsiteX4" fmla="*/ 13247 w 14262"/>
              <a:gd name="connsiteY4" fmla="*/ 7045 h 12162"/>
              <a:gd name="connsiteX5" fmla="*/ 14104 w 14262"/>
              <a:gd name="connsiteY5" fmla="*/ 9945 h 12162"/>
              <a:gd name="connsiteX6" fmla="*/ 9656 w 14262"/>
              <a:gd name="connsiteY6" fmla="*/ 12136 h 12162"/>
              <a:gd name="connsiteX7" fmla="*/ 6215 w 14262"/>
              <a:gd name="connsiteY7" fmla="*/ 11446 h 12162"/>
              <a:gd name="connsiteX8" fmla="*/ 2971 w 14262"/>
              <a:gd name="connsiteY8" fmla="*/ 8693 h 12162"/>
              <a:gd name="connsiteX9" fmla="*/ 1638 w 14262"/>
              <a:gd name="connsiteY9" fmla="*/ 6762 h 12162"/>
              <a:gd name="connsiteX10" fmla="*/ 452 w 14262"/>
              <a:gd name="connsiteY10" fmla="*/ 4476 h 12162"/>
              <a:gd name="connsiteX11" fmla="*/ 102 w 14262"/>
              <a:gd name="connsiteY11" fmla="*/ 3349 h 12162"/>
              <a:gd name="connsiteX12" fmla="*/ 34 w 14262"/>
              <a:gd name="connsiteY12" fmla="*/ 1981 h 12162"/>
              <a:gd name="connsiteX13" fmla="*/ 757 w 14262"/>
              <a:gd name="connsiteY13" fmla="*/ 799 h 12162"/>
              <a:gd name="connsiteX14" fmla="*/ 2220 w 14262"/>
              <a:gd name="connsiteY14" fmla="*/ 176 h 12162"/>
              <a:gd name="connsiteX15" fmla="*/ 4408 w 14262"/>
              <a:gd name="connsiteY15" fmla="*/ 4 h 12162"/>
              <a:gd name="connsiteX16" fmla="*/ 6577 w 14262"/>
              <a:gd name="connsiteY16" fmla="*/ 116 h 12162"/>
              <a:gd name="connsiteX0" fmla="*/ 6577 w 13267"/>
              <a:gd name="connsiteY0" fmla="*/ 116 h 12156"/>
              <a:gd name="connsiteX1" fmla="*/ 9226 w 13267"/>
              <a:gd name="connsiteY1" fmla="*/ 448 h 12156"/>
              <a:gd name="connsiteX2" fmla="*/ 11875 w 13267"/>
              <a:gd name="connsiteY2" fmla="*/ 811 h 12156"/>
              <a:gd name="connsiteX3" fmla="*/ 13010 w 13267"/>
              <a:gd name="connsiteY3" fmla="*/ 4712 h 12156"/>
              <a:gd name="connsiteX4" fmla="*/ 13247 w 13267"/>
              <a:gd name="connsiteY4" fmla="*/ 7045 h 12156"/>
              <a:gd name="connsiteX5" fmla="*/ 12651 w 13267"/>
              <a:gd name="connsiteY5" fmla="*/ 10899 h 12156"/>
              <a:gd name="connsiteX6" fmla="*/ 9656 w 13267"/>
              <a:gd name="connsiteY6" fmla="*/ 12136 h 12156"/>
              <a:gd name="connsiteX7" fmla="*/ 6215 w 13267"/>
              <a:gd name="connsiteY7" fmla="*/ 11446 h 12156"/>
              <a:gd name="connsiteX8" fmla="*/ 2971 w 13267"/>
              <a:gd name="connsiteY8" fmla="*/ 8693 h 12156"/>
              <a:gd name="connsiteX9" fmla="*/ 1638 w 13267"/>
              <a:gd name="connsiteY9" fmla="*/ 6762 h 12156"/>
              <a:gd name="connsiteX10" fmla="*/ 452 w 13267"/>
              <a:gd name="connsiteY10" fmla="*/ 4476 h 12156"/>
              <a:gd name="connsiteX11" fmla="*/ 102 w 13267"/>
              <a:gd name="connsiteY11" fmla="*/ 3349 h 12156"/>
              <a:gd name="connsiteX12" fmla="*/ 34 w 13267"/>
              <a:gd name="connsiteY12" fmla="*/ 1981 h 12156"/>
              <a:gd name="connsiteX13" fmla="*/ 757 w 13267"/>
              <a:gd name="connsiteY13" fmla="*/ 799 h 12156"/>
              <a:gd name="connsiteX14" fmla="*/ 2220 w 13267"/>
              <a:gd name="connsiteY14" fmla="*/ 176 h 12156"/>
              <a:gd name="connsiteX15" fmla="*/ 4408 w 13267"/>
              <a:gd name="connsiteY15" fmla="*/ 4 h 12156"/>
              <a:gd name="connsiteX16" fmla="*/ 6577 w 13267"/>
              <a:gd name="connsiteY16" fmla="*/ 116 h 12156"/>
              <a:gd name="connsiteX0" fmla="*/ 6577 w 13260"/>
              <a:gd name="connsiteY0" fmla="*/ 116 h 12156"/>
              <a:gd name="connsiteX1" fmla="*/ 9226 w 13260"/>
              <a:gd name="connsiteY1" fmla="*/ 448 h 12156"/>
              <a:gd name="connsiteX2" fmla="*/ 12340 w 13260"/>
              <a:gd name="connsiteY2" fmla="*/ 1650 h 12156"/>
              <a:gd name="connsiteX3" fmla="*/ 13010 w 13260"/>
              <a:gd name="connsiteY3" fmla="*/ 4712 h 12156"/>
              <a:gd name="connsiteX4" fmla="*/ 13247 w 13260"/>
              <a:gd name="connsiteY4" fmla="*/ 7045 h 12156"/>
              <a:gd name="connsiteX5" fmla="*/ 12651 w 13260"/>
              <a:gd name="connsiteY5" fmla="*/ 10899 h 12156"/>
              <a:gd name="connsiteX6" fmla="*/ 9656 w 13260"/>
              <a:gd name="connsiteY6" fmla="*/ 12136 h 12156"/>
              <a:gd name="connsiteX7" fmla="*/ 6215 w 13260"/>
              <a:gd name="connsiteY7" fmla="*/ 11446 h 12156"/>
              <a:gd name="connsiteX8" fmla="*/ 2971 w 13260"/>
              <a:gd name="connsiteY8" fmla="*/ 8693 h 12156"/>
              <a:gd name="connsiteX9" fmla="*/ 1638 w 13260"/>
              <a:gd name="connsiteY9" fmla="*/ 6762 h 12156"/>
              <a:gd name="connsiteX10" fmla="*/ 452 w 13260"/>
              <a:gd name="connsiteY10" fmla="*/ 4476 h 12156"/>
              <a:gd name="connsiteX11" fmla="*/ 102 w 13260"/>
              <a:gd name="connsiteY11" fmla="*/ 3349 h 12156"/>
              <a:gd name="connsiteX12" fmla="*/ 34 w 13260"/>
              <a:gd name="connsiteY12" fmla="*/ 1981 h 12156"/>
              <a:gd name="connsiteX13" fmla="*/ 757 w 13260"/>
              <a:gd name="connsiteY13" fmla="*/ 799 h 12156"/>
              <a:gd name="connsiteX14" fmla="*/ 2220 w 13260"/>
              <a:gd name="connsiteY14" fmla="*/ 176 h 12156"/>
              <a:gd name="connsiteX15" fmla="*/ 4408 w 13260"/>
              <a:gd name="connsiteY15" fmla="*/ 4 h 12156"/>
              <a:gd name="connsiteX16" fmla="*/ 6577 w 13260"/>
              <a:gd name="connsiteY16" fmla="*/ 116 h 12156"/>
              <a:gd name="connsiteX0" fmla="*/ 6577 w 13314"/>
              <a:gd name="connsiteY0" fmla="*/ 116 h 12156"/>
              <a:gd name="connsiteX1" fmla="*/ 9226 w 13314"/>
              <a:gd name="connsiteY1" fmla="*/ 448 h 12156"/>
              <a:gd name="connsiteX2" fmla="*/ 13051 w 13314"/>
              <a:gd name="connsiteY2" fmla="*/ 1349 h 12156"/>
              <a:gd name="connsiteX3" fmla="*/ 13010 w 13314"/>
              <a:gd name="connsiteY3" fmla="*/ 4712 h 12156"/>
              <a:gd name="connsiteX4" fmla="*/ 13247 w 13314"/>
              <a:gd name="connsiteY4" fmla="*/ 7045 h 12156"/>
              <a:gd name="connsiteX5" fmla="*/ 12651 w 13314"/>
              <a:gd name="connsiteY5" fmla="*/ 10899 h 12156"/>
              <a:gd name="connsiteX6" fmla="*/ 9656 w 13314"/>
              <a:gd name="connsiteY6" fmla="*/ 12136 h 12156"/>
              <a:gd name="connsiteX7" fmla="*/ 6215 w 13314"/>
              <a:gd name="connsiteY7" fmla="*/ 11446 h 12156"/>
              <a:gd name="connsiteX8" fmla="*/ 2971 w 13314"/>
              <a:gd name="connsiteY8" fmla="*/ 8693 h 12156"/>
              <a:gd name="connsiteX9" fmla="*/ 1638 w 13314"/>
              <a:gd name="connsiteY9" fmla="*/ 6762 h 12156"/>
              <a:gd name="connsiteX10" fmla="*/ 452 w 13314"/>
              <a:gd name="connsiteY10" fmla="*/ 4476 h 12156"/>
              <a:gd name="connsiteX11" fmla="*/ 102 w 13314"/>
              <a:gd name="connsiteY11" fmla="*/ 3349 h 12156"/>
              <a:gd name="connsiteX12" fmla="*/ 34 w 13314"/>
              <a:gd name="connsiteY12" fmla="*/ 1981 h 12156"/>
              <a:gd name="connsiteX13" fmla="*/ 757 w 13314"/>
              <a:gd name="connsiteY13" fmla="*/ 799 h 12156"/>
              <a:gd name="connsiteX14" fmla="*/ 2220 w 13314"/>
              <a:gd name="connsiteY14" fmla="*/ 176 h 12156"/>
              <a:gd name="connsiteX15" fmla="*/ 4408 w 13314"/>
              <a:gd name="connsiteY15" fmla="*/ 4 h 12156"/>
              <a:gd name="connsiteX16" fmla="*/ 6577 w 13314"/>
              <a:gd name="connsiteY16" fmla="*/ 116 h 12156"/>
              <a:gd name="connsiteX0" fmla="*/ 6577 w 13255"/>
              <a:gd name="connsiteY0" fmla="*/ 116 h 12156"/>
              <a:gd name="connsiteX1" fmla="*/ 9226 w 13255"/>
              <a:gd name="connsiteY1" fmla="*/ 448 h 12156"/>
              <a:gd name="connsiteX2" fmla="*/ 13051 w 13255"/>
              <a:gd name="connsiteY2" fmla="*/ 1349 h 12156"/>
              <a:gd name="connsiteX3" fmla="*/ 13010 w 13255"/>
              <a:gd name="connsiteY3" fmla="*/ 4712 h 12156"/>
              <a:gd name="connsiteX4" fmla="*/ 13247 w 13255"/>
              <a:gd name="connsiteY4" fmla="*/ 7045 h 12156"/>
              <a:gd name="connsiteX5" fmla="*/ 12651 w 13255"/>
              <a:gd name="connsiteY5" fmla="*/ 10899 h 12156"/>
              <a:gd name="connsiteX6" fmla="*/ 9656 w 13255"/>
              <a:gd name="connsiteY6" fmla="*/ 12136 h 12156"/>
              <a:gd name="connsiteX7" fmla="*/ 6215 w 13255"/>
              <a:gd name="connsiteY7" fmla="*/ 11446 h 12156"/>
              <a:gd name="connsiteX8" fmla="*/ 2971 w 13255"/>
              <a:gd name="connsiteY8" fmla="*/ 8693 h 12156"/>
              <a:gd name="connsiteX9" fmla="*/ 1638 w 13255"/>
              <a:gd name="connsiteY9" fmla="*/ 6762 h 12156"/>
              <a:gd name="connsiteX10" fmla="*/ 452 w 13255"/>
              <a:gd name="connsiteY10" fmla="*/ 4476 h 12156"/>
              <a:gd name="connsiteX11" fmla="*/ 102 w 13255"/>
              <a:gd name="connsiteY11" fmla="*/ 3349 h 12156"/>
              <a:gd name="connsiteX12" fmla="*/ 34 w 13255"/>
              <a:gd name="connsiteY12" fmla="*/ 1981 h 12156"/>
              <a:gd name="connsiteX13" fmla="*/ 757 w 13255"/>
              <a:gd name="connsiteY13" fmla="*/ 799 h 12156"/>
              <a:gd name="connsiteX14" fmla="*/ 2220 w 13255"/>
              <a:gd name="connsiteY14" fmla="*/ 176 h 12156"/>
              <a:gd name="connsiteX15" fmla="*/ 4408 w 13255"/>
              <a:gd name="connsiteY15" fmla="*/ 4 h 12156"/>
              <a:gd name="connsiteX16" fmla="*/ 6577 w 13255"/>
              <a:gd name="connsiteY16" fmla="*/ 116 h 12156"/>
              <a:gd name="connsiteX0" fmla="*/ 6577 w 13255"/>
              <a:gd name="connsiteY0" fmla="*/ 116 h 12156"/>
              <a:gd name="connsiteX1" fmla="*/ 9226 w 13255"/>
              <a:gd name="connsiteY1" fmla="*/ 448 h 12156"/>
              <a:gd name="connsiteX2" fmla="*/ 13051 w 13255"/>
              <a:gd name="connsiteY2" fmla="*/ 1349 h 12156"/>
              <a:gd name="connsiteX3" fmla="*/ 13010 w 13255"/>
              <a:gd name="connsiteY3" fmla="*/ 4712 h 12156"/>
              <a:gd name="connsiteX4" fmla="*/ 13247 w 13255"/>
              <a:gd name="connsiteY4" fmla="*/ 7045 h 12156"/>
              <a:gd name="connsiteX5" fmla="*/ 12651 w 13255"/>
              <a:gd name="connsiteY5" fmla="*/ 10899 h 12156"/>
              <a:gd name="connsiteX6" fmla="*/ 9656 w 13255"/>
              <a:gd name="connsiteY6" fmla="*/ 12136 h 12156"/>
              <a:gd name="connsiteX7" fmla="*/ 6215 w 13255"/>
              <a:gd name="connsiteY7" fmla="*/ 11446 h 12156"/>
              <a:gd name="connsiteX8" fmla="*/ 2971 w 13255"/>
              <a:gd name="connsiteY8" fmla="*/ 8693 h 12156"/>
              <a:gd name="connsiteX9" fmla="*/ 1638 w 13255"/>
              <a:gd name="connsiteY9" fmla="*/ 6762 h 12156"/>
              <a:gd name="connsiteX10" fmla="*/ 452 w 13255"/>
              <a:gd name="connsiteY10" fmla="*/ 4476 h 12156"/>
              <a:gd name="connsiteX11" fmla="*/ 102 w 13255"/>
              <a:gd name="connsiteY11" fmla="*/ 3349 h 12156"/>
              <a:gd name="connsiteX12" fmla="*/ 34 w 13255"/>
              <a:gd name="connsiteY12" fmla="*/ 1981 h 12156"/>
              <a:gd name="connsiteX13" fmla="*/ 757 w 13255"/>
              <a:gd name="connsiteY13" fmla="*/ 799 h 12156"/>
              <a:gd name="connsiteX14" fmla="*/ 2220 w 13255"/>
              <a:gd name="connsiteY14" fmla="*/ 176 h 12156"/>
              <a:gd name="connsiteX15" fmla="*/ 4408 w 13255"/>
              <a:gd name="connsiteY15" fmla="*/ 4 h 12156"/>
              <a:gd name="connsiteX16" fmla="*/ 6577 w 13255"/>
              <a:gd name="connsiteY16" fmla="*/ 116 h 12156"/>
              <a:gd name="connsiteX0" fmla="*/ 6577 w 13262"/>
              <a:gd name="connsiteY0" fmla="*/ 116 h 12156"/>
              <a:gd name="connsiteX1" fmla="*/ 9226 w 13262"/>
              <a:gd name="connsiteY1" fmla="*/ 448 h 12156"/>
              <a:gd name="connsiteX2" fmla="*/ 12216 w 13262"/>
              <a:gd name="connsiteY2" fmla="*/ 954 h 12156"/>
              <a:gd name="connsiteX3" fmla="*/ 13010 w 13262"/>
              <a:gd name="connsiteY3" fmla="*/ 4712 h 12156"/>
              <a:gd name="connsiteX4" fmla="*/ 13247 w 13262"/>
              <a:gd name="connsiteY4" fmla="*/ 7045 h 12156"/>
              <a:gd name="connsiteX5" fmla="*/ 12651 w 13262"/>
              <a:gd name="connsiteY5" fmla="*/ 10899 h 12156"/>
              <a:gd name="connsiteX6" fmla="*/ 9656 w 13262"/>
              <a:gd name="connsiteY6" fmla="*/ 12136 h 12156"/>
              <a:gd name="connsiteX7" fmla="*/ 6215 w 13262"/>
              <a:gd name="connsiteY7" fmla="*/ 11446 h 12156"/>
              <a:gd name="connsiteX8" fmla="*/ 2971 w 13262"/>
              <a:gd name="connsiteY8" fmla="*/ 8693 h 12156"/>
              <a:gd name="connsiteX9" fmla="*/ 1638 w 13262"/>
              <a:gd name="connsiteY9" fmla="*/ 6762 h 12156"/>
              <a:gd name="connsiteX10" fmla="*/ 452 w 13262"/>
              <a:gd name="connsiteY10" fmla="*/ 4476 h 12156"/>
              <a:gd name="connsiteX11" fmla="*/ 102 w 13262"/>
              <a:gd name="connsiteY11" fmla="*/ 3349 h 12156"/>
              <a:gd name="connsiteX12" fmla="*/ 34 w 13262"/>
              <a:gd name="connsiteY12" fmla="*/ 1981 h 12156"/>
              <a:gd name="connsiteX13" fmla="*/ 757 w 13262"/>
              <a:gd name="connsiteY13" fmla="*/ 799 h 12156"/>
              <a:gd name="connsiteX14" fmla="*/ 2220 w 13262"/>
              <a:gd name="connsiteY14" fmla="*/ 176 h 12156"/>
              <a:gd name="connsiteX15" fmla="*/ 4408 w 13262"/>
              <a:gd name="connsiteY15" fmla="*/ 4 h 12156"/>
              <a:gd name="connsiteX16" fmla="*/ 6577 w 13262"/>
              <a:gd name="connsiteY16" fmla="*/ 116 h 12156"/>
              <a:gd name="connsiteX0" fmla="*/ 6577 w 13262"/>
              <a:gd name="connsiteY0" fmla="*/ 116 h 12156"/>
              <a:gd name="connsiteX1" fmla="*/ 9226 w 13262"/>
              <a:gd name="connsiteY1" fmla="*/ 448 h 12156"/>
              <a:gd name="connsiteX2" fmla="*/ 12216 w 13262"/>
              <a:gd name="connsiteY2" fmla="*/ 954 h 12156"/>
              <a:gd name="connsiteX3" fmla="*/ 13010 w 13262"/>
              <a:gd name="connsiteY3" fmla="*/ 4712 h 12156"/>
              <a:gd name="connsiteX4" fmla="*/ 13247 w 13262"/>
              <a:gd name="connsiteY4" fmla="*/ 7045 h 12156"/>
              <a:gd name="connsiteX5" fmla="*/ 12651 w 13262"/>
              <a:gd name="connsiteY5" fmla="*/ 10899 h 12156"/>
              <a:gd name="connsiteX6" fmla="*/ 9656 w 13262"/>
              <a:gd name="connsiteY6" fmla="*/ 12136 h 12156"/>
              <a:gd name="connsiteX7" fmla="*/ 6215 w 13262"/>
              <a:gd name="connsiteY7" fmla="*/ 11446 h 12156"/>
              <a:gd name="connsiteX8" fmla="*/ 2971 w 13262"/>
              <a:gd name="connsiteY8" fmla="*/ 8693 h 12156"/>
              <a:gd name="connsiteX9" fmla="*/ 1638 w 13262"/>
              <a:gd name="connsiteY9" fmla="*/ 6762 h 12156"/>
              <a:gd name="connsiteX10" fmla="*/ 452 w 13262"/>
              <a:gd name="connsiteY10" fmla="*/ 4476 h 12156"/>
              <a:gd name="connsiteX11" fmla="*/ 102 w 13262"/>
              <a:gd name="connsiteY11" fmla="*/ 3349 h 12156"/>
              <a:gd name="connsiteX12" fmla="*/ 34 w 13262"/>
              <a:gd name="connsiteY12" fmla="*/ 1981 h 12156"/>
              <a:gd name="connsiteX13" fmla="*/ 757 w 13262"/>
              <a:gd name="connsiteY13" fmla="*/ 799 h 12156"/>
              <a:gd name="connsiteX14" fmla="*/ 2220 w 13262"/>
              <a:gd name="connsiteY14" fmla="*/ 176 h 12156"/>
              <a:gd name="connsiteX15" fmla="*/ 4408 w 13262"/>
              <a:gd name="connsiteY15" fmla="*/ 4 h 12156"/>
              <a:gd name="connsiteX16" fmla="*/ 6577 w 13262"/>
              <a:gd name="connsiteY16" fmla="*/ 116 h 12156"/>
              <a:gd name="connsiteX0" fmla="*/ 6577 w 13016"/>
              <a:gd name="connsiteY0" fmla="*/ 116 h 12156"/>
              <a:gd name="connsiteX1" fmla="*/ 9226 w 13016"/>
              <a:gd name="connsiteY1" fmla="*/ 448 h 12156"/>
              <a:gd name="connsiteX2" fmla="*/ 12216 w 13016"/>
              <a:gd name="connsiteY2" fmla="*/ 954 h 12156"/>
              <a:gd name="connsiteX3" fmla="*/ 13010 w 13016"/>
              <a:gd name="connsiteY3" fmla="*/ 4712 h 12156"/>
              <a:gd name="connsiteX4" fmla="*/ 12598 w 13016"/>
              <a:gd name="connsiteY4" fmla="*/ 6774 h 12156"/>
              <a:gd name="connsiteX5" fmla="*/ 12651 w 13016"/>
              <a:gd name="connsiteY5" fmla="*/ 10899 h 12156"/>
              <a:gd name="connsiteX6" fmla="*/ 9656 w 13016"/>
              <a:gd name="connsiteY6" fmla="*/ 12136 h 12156"/>
              <a:gd name="connsiteX7" fmla="*/ 6215 w 13016"/>
              <a:gd name="connsiteY7" fmla="*/ 11446 h 12156"/>
              <a:gd name="connsiteX8" fmla="*/ 2971 w 13016"/>
              <a:gd name="connsiteY8" fmla="*/ 8693 h 12156"/>
              <a:gd name="connsiteX9" fmla="*/ 1638 w 13016"/>
              <a:gd name="connsiteY9" fmla="*/ 6762 h 12156"/>
              <a:gd name="connsiteX10" fmla="*/ 452 w 13016"/>
              <a:gd name="connsiteY10" fmla="*/ 4476 h 12156"/>
              <a:gd name="connsiteX11" fmla="*/ 102 w 13016"/>
              <a:gd name="connsiteY11" fmla="*/ 3349 h 12156"/>
              <a:gd name="connsiteX12" fmla="*/ 34 w 13016"/>
              <a:gd name="connsiteY12" fmla="*/ 1981 h 12156"/>
              <a:gd name="connsiteX13" fmla="*/ 757 w 13016"/>
              <a:gd name="connsiteY13" fmla="*/ 799 h 12156"/>
              <a:gd name="connsiteX14" fmla="*/ 2220 w 13016"/>
              <a:gd name="connsiteY14" fmla="*/ 176 h 12156"/>
              <a:gd name="connsiteX15" fmla="*/ 4408 w 13016"/>
              <a:gd name="connsiteY15" fmla="*/ 4 h 12156"/>
              <a:gd name="connsiteX16" fmla="*/ 6577 w 13016"/>
              <a:gd name="connsiteY16" fmla="*/ 116 h 12156"/>
              <a:gd name="connsiteX0" fmla="*/ 6577 w 13018"/>
              <a:gd name="connsiteY0" fmla="*/ 116 h 12144"/>
              <a:gd name="connsiteX1" fmla="*/ 9226 w 13018"/>
              <a:gd name="connsiteY1" fmla="*/ 448 h 12144"/>
              <a:gd name="connsiteX2" fmla="*/ 12216 w 13018"/>
              <a:gd name="connsiteY2" fmla="*/ 954 h 12144"/>
              <a:gd name="connsiteX3" fmla="*/ 13010 w 13018"/>
              <a:gd name="connsiteY3" fmla="*/ 4712 h 12144"/>
              <a:gd name="connsiteX4" fmla="*/ 12598 w 13018"/>
              <a:gd name="connsiteY4" fmla="*/ 6774 h 12144"/>
              <a:gd name="connsiteX5" fmla="*/ 12148 w 13018"/>
              <a:gd name="connsiteY5" fmla="*/ 11127 h 12144"/>
              <a:gd name="connsiteX6" fmla="*/ 9656 w 13018"/>
              <a:gd name="connsiteY6" fmla="*/ 12136 h 12144"/>
              <a:gd name="connsiteX7" fmla="*/ 6215 w 13018"/>
              <a:gd name="connsiteY7" fmla="*/ 11446 h 12144"/>
              <a:gd name="connsiteX8" fmla="*/ 2971 w 13018"/>
              <a:gd name="connsiteY8" fmla="*/ 8693 h 12144"/>
              <a:gd name="connsiteX9" fmla="*/ 1638 w 13018"/>
              <a:gd name="connsiteY9" fmla="*/ 6762 h 12144"/>
              <a:gd name="connsiteX10" fmla="*/ 452 w 13018"/>
              <a:gd name="connsiteY10" fmla="*/ 4476 h 12144"/>
              <a:gd name="connsiteX11" fmla="*/ 102 w 13018"/>
              <a:gd name="connsiteY11" fmla="*/ 3349 h 12144"/>
              <a:gd name="connsiteX12" fmla="*/ 34 w 13018"/>
              <a:gd name="connsiteY12" fmla="*/ 1981 h 12144"/>
              <a:gd name="connsiteX13" fmla="*/ 757 w 13018"/>
              <a:gd name="connsiteY13" fmla="*/ 799 h 12144"/>
              <a:gd name="connsiteX14" fmla="*/ 2220 w 13018"/>
              <a:gd name="connsiteY14" fmla="*/ 176 h 12144"/>
              <a:gd name="connsiteX15" fmla="*/ 4408 w 13018"/>
              <a:gd name="connsiteY15" fmla="*/ 4 h 12144"/>
              <a:gd name="connsiteX16" fmla="*/ 6577 w 13018"/>
              <a:gd name="connsiteY16" fmla="*/ 116 h 12144"/>
              <a:gd name="connsiteX0" fmla="*/ 6577 w 13018"/>
              <a:gd name="connsiteY0" fmla="*/ 116 h 12144"/>
              <a:gd name="connsiteX1" fmla="*/ 9226 w 13018"/>
              <a:gd name="connsiteY1" fmla="*/ 448 h 12144"/>
              <a:gd name="connsiteX2" fmla="*/ 12216 w 13018"/>
              <a:gd name="connsiteY2" fmla="*/ 954 h 12144"/>
              <a:gd name="connsiteX3" fmla="*/ 13010 w 13018"/>
              <a:gd name="connsiteY3" fmla="*/ 4712 h 12144"/>
              <a:gd name="connsiteX4" fmla="*/ 12598 w 13018"/>
              <a:gd name="connsiteY4" fmla="*/ 6774 h 12144"/>
              <a:gd name="connsiteX5" fmla="*/ 12148 w 13018"/>
              <a:gd name="connsiteY5" fmla="*/ 11127 h 12144"/>
              <a:gd name="connsiteX6" fmla="*/ 9656 w 13018"/>
              <a:gd name="connsiteY6" fmla="*/ 12136 h 12144"/>
              <a:gd name="connsiteX7" fmla="*/ 6215 w 13018"/>
              <a:gd name="connsiteY7" fmla="*/ 11446 h 12144"/>
              <a:gd name="connsiteX8" fmla="*/ 2971 w 13018"/>
              <a:gd name="connsiteY8" fmla="*/ 8693 h 12144"/>
              <a:gd name="connsiteX9" fmla="*/ 1638 w 13018"/>
              <a:gd name="connsiteY9" fmla="*/ 6762 h 12144"/>
              <a:gd name="connsiteX10" fmla="*/ 452 w 13018"/>
              <a:gd name="connsiteY10" fmla="*/ 4476 h 12144"/>
              <a:gd name="connsiteX11" fmla="*/ 102 w 13018"/>
              <a:gd name="connsiteY11" fmla="*/ 3349 h 12144"/>
              <a:gd name="connsiteX12" fmla="*/ 34 w 13018"/>
              <a:gd name="connsiteY12" fmla="*/ 1981 h 12144"/>
              <a:gd name="connsiteX13" fmla="*/ 757 w 13018"/>
              <a:gd name="connsiteY13" fmla="*/ 799 h 12144"/>
              <a:gd name="connsiteX14" fmla="*/ 2220 w 13018"/>
              <a:gd name="connsiteY14" fmla="*/ 176 h 12144"/>
              <a:gd name="connsiteX15" fmla="*/ 4408 w 13018"/>
              <a:gd name="connsiteY15" fmla="*/ 4 h 12144"/>
              <a:gd name="connsiteX16" fmla="*/ 6577 w 13018"/>
              <a:gd name="connsiteY16" fmla="*/ 116 h 12144"/>
              <a:gd name="connsiteX0" fmla="*/ 6577 w 13017"/>
              <a:gd name="connsiteY0" fmla="*/ 116 h 12137"/>
              <a:gd name="connsiteX1" fmla="*/ 9226 w 13017"/>
              <a:gd name="connsiteY1" fmla="*/ 448 h 12137"/>
              <a:gd name="connsiteX2" fmla="*/ 12216 w 13017"/>
              <a:gd name="connsiteY2" fmla="*/ 954 h 12137"/>
              <a:gd name="connsiteX3" fmla="*/ 13010 w 13017"/>
              <a:gd name="connsiteY3" fmla="*/ 4712 h 12137"/>
              <a:gd name="connsiteX4" fmla="*/ 12598 w 13017"/>
              <a:gd name="connsiteY4" fmla="*/ 6774 h 12137"/>
              <a:gd name="connsiteX5" fmla="*/ 12266 w 13017"/>
              <a:gd name="connsiteY5" fmla="*/ 11330 h 12137"/>
              <a:gd name="connsiteX6" fmla="*/ 9656 w 13017"/>
              <a:gd name="connsiteY6" fmla="*/ 12136 h 12137"/>
              <a:gd name="connsiteX7" fmla="*/ 6215 w 13017"/>
              <a:gd name="connsiteY7" fmla="*/ 11446 h 12137"/>
              <a:gd name="connsiteX8" fmla="*/ 2971 w 13017"/>
              <a:gd name="connsiteY8" fmla="*/ 8693 h 12137"/>
              <a:gd name="connsiteX9" fmla="*/ 1638 w 13017"/>
              <a:gd name="connsiteY9" fmla="*/ 6762 h 12137"/>
              <a:gd name="connsiteX10" fmla="*/ 452 w 13017"/>
              <a:gd name="connsiteY10" fmla="*/ 4476 h 12137"/>
              <a:gd name="connsiteX11" fmla="*/ 102 w 13017"/>
              <a:gd name="connsiteY11" fmla="*/ 3349 h 12137"/>
              <a:gd name="connsiteX12" fmla="*/ 34 w 13017"/>
              <a:gd name="connsiteY12" fmla="*/ 1981 h 12137"/>
              <a:gd name="connsiteX13" fmla="*/ 757 w 13017"/>
              <a:gd name="connsiteY13" fmla="*/ 799 h 12137"/>
              <a:gd name="connsiteX14" fmla="*/ 2220 w 13017"/>
              <a:gd name="connsiteY14" fmla="*/ 176 h 12137"/>
              <a:gd name="connsiteX15" fmla="*/ 4408 w 13017"/>
              <a:gd name="connsiteY15" fmla="*/ 4 h 12137"/>
              <a:gd name="connsiteX16" fmla="*/ 6577 w 13017"/>
              <a:gd name="connsiteY16" fmla="*/ 116 h 12137"/>
              <a:gd name="connsiteX0" fmla="*/ 6577 w 13017"/>
              <a:gd name="connsiteY0" fmla="*/ 116 h 12137"/>
              <a:gd name="connsiteX1" fmla="*/ 9226 w 13017"/>
              <a:gd name="connsiteY1" fmla="*/ 448 h 12137"/>
              <a:gd name="connsiteX2" fmla="*/ 12216 w 13017"/>
              <a:gd name="connsiteY2" fmla="*/ 954 h 12137"/>
              <a:gd name="connsiteX3" fmla="*/ 13010 w 13017"/>
              <a:gd name="connsiteY3" fmla="*/ 4712 h 12137"/>
              <a:gd name="connsiteX4" fmla="*/ 12598 w 13017"/>
              <a:gd name="connsiteY4" fmla="*/ 6774 h 12137"/>
              <a:gd name="connsiteX5" fmla="*/ 12266 w 13017"/>
              <a:gd name="connsiteY5" fmla="*/ 11330 h 12137"/>
              <a:gd name="connsiteX6" fmla="*/ 9656 w 13017"/>
              <a:gd name="connsiteY6" fmla="*/ 12136 h 12137"/>
              <a:gd name="connsiteX7" fmla="*/ 6215 w 13017"/>
              <a:gd name="connsiteY7" fmla="*/ 11446 h 12137"/>
              <a:gd name="connsiteX8" fmla="*/ 2971 w 13017"/>
              <a:gd name="connsiteY8" fmla="*/ 8693 h 12137"/>
              <a:gd name="connsiteX9" fmla="*/ 1638 w 13017"/>
              <a:gd name="connsiteY9" fmla="*/ 6762 h 12137"/>
              <a:gd name="connsiteX10" fmla="*/ 452 w 13017"/>
              <a:gd name="connsiteY10" fmla="*/ 4476 h 12137"/>
              <a:gd name="connsiteX11" fmla="*/ 102 w 13017"/>
              <a:gd name="connsiteY11" fmla="*/ 3349 h 12137"/>
              <a:gd name="connsiteX12" fmla="*/ 34 w 13017"/>
              <a:gd name="connsiteY12" fmla="*/ 1981 h 12137"/>
              <a:gd name="connsiteX13" fmla="*/ 757 w 13017"/>
              <a:gd name="connsiteY13" fmla="*/ 799 h 12137"/>
              <a:gd name="connsiteX14" fmla="*/ 2220 w 13017"/>
              <a:gd name="connsiteY14" fmla="*/ 176 h 12137"/>
              <a:gd name="connsiteX15" fmla="*/ 4408 w 13017"/>
              <a:gd name="connsiteY15" fmla="*/ 4 h 12137"/>
              <a:gd name="connsiteX16" fmla="*/ 6577 w 13017"/>
              <a:gd name="connsiteY16" fmla="*/ 116 h 12137"/>
              <a:gd name="connsiteX0" fmla="*/ 6577 w 12599"/>
              <a:gd name="connsiteY0" fmla="*/ 116 h 12137"/>
              <a:gd name="connsiteX1" fmla="*/ 9226 w 12599"/>
              <a:gd name="connsiteY1" fmla="*/ 448 h 12137"/>
              <a:gd name="connsiteX2" fmla="*/ 12216 w 12599"/>
              <a:gd name="connsiteY2" fmla="*/ 954 h 12137"/>
              <a:gd name="connsiteX3" fmla="*/ 12387 w 12599"/>
              <a:gd name="connsiteY3" fmla="*/ 4529 h 12137"/>
              <a:gd name="connsiteX4" fmla="*/ 12598 w 12599"/>
              <a:gd name="connsiteY4" fmla="*/ 6774 h 12137"/>
              <a:gd name="connsiteX5" fmla="*/ 12266 w 12599"/>
              <a:gd name="connsiteY5" fmla="*/ 11330 h 12137"/>
              <a:gd name="connsiteX6" fmla="*/ 9656 w 12599"/>
              <a:gd name="connsiteY6" fmla="*/ 12136 h 12137"/>
              <a:gd name="connsiteX7" fmla="*/ 6215 w 12599"/>
              <a:gd name="connsiteY7" fmla="*/ 11446 h 12137"/>
              <a:gd name="connsiteX8" fmla="*/ 2971 w 12599"/>
              <a:gd name="connsiteY8" fmla="*/ 8693 h 12137"/>
              <a:gd name="connsiteX9" fmla="*/ 1638 w 12599"/>
              <a:gd name="connsiteY9" fmla="*/ 6762 h 12137"/>
              <a:gd name="connsiteX10" fmla="*/ 452 w 12599"/>
              <a:gd name="connsiteY10" fmla="*/ 4476 h 12137"/>
              <a:gd name="connsiteX11" fmla="*/ 102 w 12599"/>
              <a:gd name="connsiteY11" fmla="*/ 3349 h 12137"/>
              <a:gd name="connsiteX12" fmla="*/ 34 w 12599"/>
              <a:gd name="connsiteY12" fmla="*/ 1981 h 12137"/>
              <a:gd name="connsiteX13" fmla="*/ 757 w 12599"/>
              <a:gd name="connsiteY13" fmla="*/ 799 h 12137"/>
              <a:gd name="connsiteX14" fmla="*/ 2220 w 12599"/>
              <a:gd name="connsiteY14" fmla="*/ 176 h 12137"/>
              <a:gd name="connsiteX15" fmla="*/ 4408 w 12599"/>
              <a:gd name="connsiteY15" fmla="*/ 4 h 12137"/>
              <a:gd name="connsiteX16" fmla="*/ 6577 w 12599"/>
              <a:gd name="connsiteY16" fmla="*/ 116 h 12137"/>
              <a:gd name="connsiteX0" fmla="*/ 6577 w 12599"/>
              <a:gd name="connsiteY0" fmla="*/ 116 h 12137"/>
              <a:gd name="connsiteX1" fmla="*/ 9226 w 12599"/>
              <a:gd name="connsiteY1" fmla="*/ 448 h 12137"/>
              <a:gd name="connsiteX2" fmla="*/ 12216 w 12599"/>
              <a:gd name="connsiteY2" fmla="*/ 954 h 12137"/>
              <a:gd name="connsiteX3" fmla="*/ 12387 w 12599"/>
              <a:gd name="connsiteY3" fmla="*/ 4529 h 12137"/>
              <a:gd name="connsiteX4" fmla="*/ 12598 w 12599"/>
              <a:gd name="connsiteY4" fmla="*/ 6774 h 12137"/>
              <a:gd name="connsiteX5" fmla="*/ 12266 w 12599"/>
              <a:gd name="connsiteY5" fmla="*/ 11330 h 12137"/>
              <a:gd name="connsiteX6" fmla="*/ 9656 w 12599"/>
              <a:gd name="connsiteY6" fmla="*/ 12136 h 12137"/>
              <a:gd name="connsiteX7" fmla="*/ 6215 w 12599"/>
              <a:gd name="connsiteY7" fmla="*/ 11446 h 12137"/>
              <a:gd name="connsiteX8" fmla="*/ 2971 w 12599"/>
              <a:gd name="connsiteY8" fmla="*/ 8693 h 12137"/>
              <a:gd name="connsiteX9" fmla="*/ 1638 w 12599"/>
              <a:gd name="connsiteY9" fmla="*/ 6762 h 12137"/>
              <a:gd name="connsiteX10" fmla="*/ 452 w 12599"/>
              <a:gd name="connsiteY10" fmla="*/ 4476 h 12137"/>
              <a:gd name="connsiteX11" fmla="*/ 102 w 12599"/>
              <a:gd name="connsiteY11" fmla="*/ 3349 h 12137"/>
              <a:gd name="connsiteX12" fmla="*/ 34 w 12599"/>
              <a:gd name="connsiteY12" fmla="*/ 1981 h 12137"/>
              <a:gd name="connsiteX13" fmla="*/ 757 w 12599"/>
              <a:gd name="connsiteY13" fmla="*/ 799 h 12137"/>
              <a:gd name="connsiteX14" fmla="*/ 2220 w 12599"/>
              <a:gd name="connsiteY14" fmla="*/ 176 h 12137"/>
              <a:gd name="connsiteX15" fmla="*/ 4408 w 12599"/>
              <a:gd name="connsiteY15" fmla="*/ 4 h 12137"/>
              <a:gd name="connsiteX16" fmla="*/ 6577 w 12599"/>
              <a:gd name="connsiteY16" fmla="*/ 116 h 12137"/>
              <a:gd name="connsiteX0" fmla="*/ 6577 w 12599"/>
              <a:gd name="connsiteY0" fmla="*/ 116 h 12137"/>
              <a:gd name="connsiteX1" fmla="*/ 9226 w 12599"/>
              <a:gd name="connsiteY1" fmla="*/ 448 h 12137"/>
              <a:gd name="connsiteX2" fmla="*/ 12216 w 12599"/>
              <a:gd name="connsiteY2" fmla="*/ 954 h 12137"/>
              <a:gd name="connsiteX3" fmla="*/ 12387 w 12599"/>
              <a:gd name="connsiteY3" fmla="*/ 4529 h 12137"/>
              <a:gd name="connsiteX4" fmla="*/ 12598 w 12599"/>
              <a:gd name="connsiteY4" fmla="*/ 6774 h 12137"/>
              <a:gd name="connsiteX5" fmla="*/ 12266 w 12599"/>
              <a:gd name="connsiteY5" fmla="*/ 11330 h 12137"/>
              <a:gd name="connsiteX6" fmla="*/ 9656 w 12599"/>
              <a:gd name="connsiteY6" fmla="*/ 12136 h 12137"/>
              <a:gd name="connsiteX7" fmla="*/ 6215 w 12599"/>
              <a:gd name="connsiteY7" fmla="*/ 11446 h 12137"/>
              <a:gd name="connsiteX8" fmla="*/ 2971 w 12599"/>
              <a:gd name="connsiteY8" fmla="*/ 8693 h 12137"/>
              <a:gd name="connsiteX9" fmla="*/ 1638 w 12599"/>
              <a:gd name="connsiteY9" fmla="*/ 6762 h 12137"/>
              <a:gd name="connsiteX10" fmla="*/ 452 w 12599"/>
              <a:gd name="connsiteY10" fmla="*/ 4476 h 12137"/>
              <a:gd name="connsiteX11" fmla="*/ 102 w 12599"/>
              <a:gd name="connsiteY11" fmla="*/ 3349 h 12137"/>
              <a:gd name="connsiteX12" fmla="*/ 34 w 12599"/>
              <a:gd name="connsiteY12" fmla="*/ 1981 h 12137"/>
              <a:gd name="connsiteX13" fmla="*/ 757 w 12599"/>
              <a:gd name="connsiteY13" fmla="*/ 799 h 12137"/>
              <a:gd name="connsiteX14" fmla="*/ 2220 w 12599"/>
              <a:gd name="connsiteY14" fmla="*/ 176 h 12137"/>
              <a:gd name="connsiteX15" fmla="*/ 4408 w 12599"/>
              <a:gd name="connsiteY15" fmla="*/ 4 h 12137"/>
              <a:gd name="connsiteX16" fmla="*/ 6577 w 12599"/>
              <a:gd name="connsiteY16" fmla="*/ 116 h 12137"/>
              <a:gd name="connsiteX0" fmla="*/ 6577 w 12691"/>
              <a:gd name="connsiteY0" fmla="*/ 116 h 12137"/>
              <a:gd name="connsiteX1" fmla="*/ 9226 w 12691"/>
              <a:gd name="connsiteY1" fmla="*/ 448 h 12137"/>
              <a:gd name="connsiteX2" fmla="*/ 12216 w 12691"/>
              <a:gd name="connsiteY2" fmla="*/ 954 h 12137"/>
              <a:gd name="connsiteX3" fmla="*/ 12387 w 12691"/>
              <a:gd name="connsiteY3" fmla="*/ 4529 h 12137"/>
              <a:gd name="connsiteX4" fmla="*/ 12598 w 12691"/>
              <a:gd name="connsiteY4" fmla="*/ 6774 h 12137"/>
              <a:gd name="connsiteX5" fmla="*/ 12266 w 12691"/>
              <a:gd name="connsiteY5" fmla="*/ 11330 h 12137"/>
              <a:gd name="connsiteX6" fmla="*/ 9656 w 12691"/>
              <a:gd name="connsiteY6" fmla="*/ 12136 h 12137"/>
              <a:gd name="connsiteX7" fmla="*/ 6215 w 12691"/>
              <a:gd name="connsiteY7" fmla="*/ 11446 h 12137"/>
              <a:gd name="connsiteX8" fmla="*/ 2971 w 12691"/>
              <a:gd name="connsiteY8" fmla="*/ 8693 h 12137"/>
              <a:gd name="connsiteX9" fmla="*/ 1638 w 12691"/>
              <a:gd name="connsiteY9" fmla="*/ 6762 h 12137"/>
              <a:gd name="connsiteX10" fmla="*/ 452 w 12691"/>
              <a:gd name="connsiteY10" fmla="*/ 4476 h 12137"/>
              <a:gd name="connsiteX11" fmla="*/ 102 w 12691"/>
              <a:gd name="connsiteY11" fmla="*/ 3349 h 12137"/>
              <a:gd name="connsiteX12" fmla="*/ 34 w 12691"/>
              <a:gd name="connsiteY12" fmla="*/ 1981 h 12137"/>
              <a:gd name="connsiteX13" fmla="*/ 757 w 12691"/>
              <a:gd name="connsiteY13" fmla="*/ 799 h 12137"/>
              <a:gd name="connsiteX14" fmla="*/ 2220 w 12691"/>
              <a:gd name="connsiteY14" fmla="*/ 176 h 12137"/>
              <a:gd name="connsiteX15" fmla="*/ 4408 w 12691"/>
              <a:gd name="connsiteY15" fmla="*/ 4 h 12137"/>
              <a:gd name="connsiteX16" fmla="*/ 6577 w 12691"/>
              <a:gd name="connsiteY16" fmla="*/ 116 h 12137"/>
              <a:gd name="connsiteX0" fmla="*/ 6577 w 12598"/>
              <a:gd name="connsiteY0" fmla="*/ 116 h 12137"/>
              <a:gd name="connsiteX1" fmla="*/ 9226 w 12598"/>
              <a:gd name="connsiteY1" fmla="*/ 448 h 12137"/>
              <a:gd name="connsiteX2" fmla="*/ 12216 w 12598"/>
              <a:gd name="connsiteY2" fmla="*/ 954 h 12137"/>
              <a:gd name="connsiteX3" fmla="*/ 12387 w 12598"/>
              <a:gd name="connsiteY3" fmla="*/ 4529 h 12137"/>
              <a:gd name="connsiteX4" fmla="*/ 12598 w 12598"/>
              <a:gd name="connsiteY4" fmla="*/ 6774 h 12137"/>
              <a:gd name="connsiteX5" fmla="*/ 12266 w 12598"/>
              <a:gd name="connsiteY5" fmla="*/ 11330 h 12137"/>
              <a:gd name="connsiteX6" fmla="*/ 9656 w 12598"/>
              <a:gd name="connsiteY6" fmla="*/ 12136 h 12137"/>
              <a:gd name="connsiteX7" fmla="*/ 6215 w 12598"/>
              <a:gd name="connsiteY7" fmla="*/ 11446 h 12137"/>
              <a:gd name="connsiteX8" fmla="*/ 2971 w 12598"/>
              <a:gd name="connsiteY8" fmla="*/ 8693 h 12137"/>
              <a:gd name="connsiteX9" fmla="*/ 1638 w 12598"/>
              <a:gd name="connsiteY9" fmla="*/ 6762 h 12137"/>
              <a:gd name="connsiteX10" fmla="*/ 452 w 12598"/>
              <a:gd name="connsiteY10" fmla="*/ 4476 h 12137"/>
              <a:gd name="connsiteX11" fmla="*/ 102 w 12598"/>
              <a:gd name="connsiteY11" fmla="*/ 3349 h 12137"/>
              <a:gd name="connsiteX12" fmla="*/ 34 w 12598"/>
              <a:gd name="connsiteY12" fmla="*/ 1981 h 12137"/>
              <a:gd name="connsiteX13" fmla="*/ 757 w 12598"/>
              <a:gd name="connsiteY13" fmla="*/ 799 h 12137"/>
              <a:gd name="connsiteX14" fmla="*/ 2220 w 12598"/>
              <a:gd name="connsiteY14" fmla="*/ 176 h 12137"/>
              <a:gd name="connsiteX15" fmla="*/ 4408 w 12598"/>
              <a:gd name="connsiteY15" fmla="*/ 4 h 12137"/>
              <a:gd name="connsiteX16" fmla="*/ 6577 w 12598"/>
              <a:gd name="connsiteY16" fmla="*/ 116 h 12137"/>
              <a:gd name="connsiteX0" fmla="*/ 6577 w 12505"/>
              <a:gd name="connsiteY0" fmla="*/ 116 h 12137"/>
              <a:gd name="connsiteX1" fmla="*/ 9226 w 12505"/>
              <a:gd name="connsiteY1" fmla="*/ 448 h 12137"/>
              <a:gd name="connsiteX2" fmla="*/ 12216 w 12505"/>
              <a:gd name="connsiteY2" fmla="*/ 954 h 12137"/>
              <a:gd name="connsiteX3" fmla="*/ 12387 w 12505"/>
              <a:gd name="connsiteY3" fmla="*/ 4529 h 12137"/>
              <a:gd name="connsiteX4" fmla="*/ 12379 w 12505"/>
              <a:gd name="connsiteY4" fmla="*/ 6902 h 12137"/>
              <a:gd name="connsiteX5" fmla="*/ 12266 w 12505"/>
              <a:gd name="connsiteY5" fmla="*/ 11330 h 12137"/>
              <a:gd name="connsiteX6" fmla="*/ 9656 w 12505"/>
              <a:gd name="connsiteY6" fmla="*/ 12136 h 12137"/>
              <a:gd name="connsiteX7" fmla="*/ 6215 w 12505"/>
              <a:gd name="connsiteY7" fmla="*/ 11446 h 12137"/>
              <a:gd name="connsiteX8" fmla="*/ 2971 w 12505"/>
              <a:gd name="connsiteY8" fmla="*/ 8693 h 12137"/>
              <a:gd name="connsiteX9" fmla="*/ 1638 w 12505"/>
              <a:gd name="connsiteY9" fmla="*/ 6762 h 12137"/>
              <a:gd name="connsiteX10" fmla="*/ 452 w 12505"/>
              <a:gd name="connsiteY10" fmla="*/ 4476 h 12137"/>
              <a:gd name="connsiteX11" fmla="*/ 102 w 12505"/>
              <a:gd name="connsiteY11" fmla="*/ 3349 h 12137"/>
              <a:gd name="connsiteX12" fmla="*/ 34 w 12505"/>
              <a:gd name="connsiteY12" fmla="*/ 1981 h 12137"/>
              <a:gd name="connsiteX13" fmla="*/ 757 w 12505"/>
              <a:gd name="connsiteY13" fmla="*/ 799 h 12137"/>
              <a:gd name="connsiteX14" fmla="*/ 2220 w 12505"/>
              <a:gd name="connsiteY14" fmla="*/ 176 h 12137"/>
              <a:gd name="connsiteX15" fmla="*/ 4408 w 12505"/>
              <a:gd name="connsiteY15" fmla="*/ 4 h 12137"/>
              <a:gd name="connsiteX16" fmla="*/ 6577 w 12505"/>
              <a:gd name="connsiteY16" fmla="*/ 116 h 12137"/>
              <a:gd name="connsiteX0" fmla="*/ 6577 w 12541"/>
              <a:gd name="connsiteY0" fmla="*/ 116 h 12152"/>
              <a:gd name="connsiteX1" fmla="*/ 9226 w 12541"/>
              <a:gd name="connsiteY1" fmla="*/ 448 h 12152"/>
              <a:gd name="connsiteX2" fmla="*/ 12216 w 12541"/>
              <a:gd name="connsiteY2" fmla="*/ 954 h 12152"/>
              <a:gd name="connsiteX3" fmla="*/ 12387 w 12541"/>
              <a:gd name="connsiteY3" fmla="*/ 4529 h 12152"/>
              <a:gd name="connsiteX4" fmla="*/ 12379 w 12541"/>
              <a:gd name="connsiteY4" fmla="*/ 6902 h 12152"/>
              <a:gd name="connsiteX5" fmla="*/ 12328 w 12541"/>
              <a:gd name="connsiteY5" fmla="*/ 10971 h 12152"/>
              <a:gd name="connsiteX6" fmla="*/ 9656 w 12541"/>
              <a:gd name="connsiteY6" fmla="*/ 12136 h 12152"/>
              <a:gd name="connsiteX7" fmla="*/ 6215 w 12541"/>
              <a:gd name="connsiteY7" fmla="*/ 11446 h 12152"/>
              <a:gd name="connsiteX8" fmla="*/ 2971 w 12541"/>
              <a:gd name="connsiteY8" fmla="*/ 8693 h 12152"/>
              <a:gd name="connsiteX9" fmla="*/ 1638 w 12541"/>
              <a:gd name="connsiteY9" fmla="*/ 6762 h 12152"/>
              <a:gd name="connsiteX10" fmla="*/ 452 w 12541"/>
              <a:gd name="connsiteY10" fmla="*/ 4476 h 12152"/>
              <a:gd name="connsiteX11" fmla="*/ 102 w 12541"/>
              <a:gd name="connsiteY11" fmla="*/ 3349 h 12152"/>
              <a:gd name="connsiteX12" fmla="*/ 34 w 12541"/>
              <a:gd name="connsiteY12" fmla="*/ 1981 h 12152"/>
              <a:gd name="connsiteX13" fmla="*/ 757 w 12541"/>
              <a:gd name="connsiteY13" fmla="*/ 799 h 12152"/>
              <a:gd name="connsiteX14" fmla="*/ 2220 w 12541"/>
              <a:gd name="connsiteY14" fmla="*/ 176 h 12152"/>
              <a:gd name="connsiteX15" fmla="*/ 4408 w 12541"/>
              <a:gd name="connsiteY15" fmla="*/ 4 h 12152"/>
              <a:gd name="connsiteX16" fmla="*/ 6577 w 12541"/>
              <a:gd name="connsiteY16" fmla="*/ 116 h 12152"/>
              <a:gd name="connsiteX0" fmla="*/ 6577 w 12523"/>
              <a:gd name="connsiteY0" fmla="*/ 116 h 12140"/>
              <a:gd name="connsiteX1" fmla="*/ 9226 w 12523"/>
              <a:gd name="connsiteY1" fmla="*/ 448 h 12140"/>
              <a:gd name="connsiteX2" fmla="*/ 12216 w 12523"/>
              <a:gd name="connsiteY2" fmla="*/ 954 h 12140"/>
              <a:gd name="connsiteX3" fmla="*/ 12387 w 12523"/>
              <a:gd name="connsiteY3" fmla="*/ 4529 h 12140"/>
              <a:gd name="connsiteX4" fmla="*/ 12379 w 12523"/>
              <a:gd name="connsiteY4" fmla="*/ 6902 h 12140"/>
              <a:gd name="connsiteX5" fmla="*/ 12304 w 12523"/>
              <a:gd name="connsiteY5" fmla="*/ 11239 h 12140"/>
              <a:gd name="connsiteX6" fmla="*/ 9656 w 12523"/>
              <a:gd name="connsiteY6" fmla="*/ 12136 h 12140"/>
              <a:gd name="connsiteX7" fmla="*/ 6215 w 12523"/>
              <a:gd name="connsiteY7" fmla="*/ 11446 h 12140"/>
              <a:gd name="connsiteX8" fmla="*/ 2971 w 12523"/>
              <a:gd name="connsiteY8" fmla="*/ 8693 h 12140"/>
              <a:gd name="connsiteX9" fmla="*/ 1638 w 12523"/>
              <a:gd name="connsiteY9" fmla="*/ 6762 h 12140"/>
              <a:gd name="connsiteX10" fmla="*/ 452 w 12523"/>
              <a:gd name="connsiteY10" fmla="*/ 4476 h 12140"/>
              <a:gd name="connsiteX11" fmla="*/ 102 w 12523"/>
              <a:gd name="connsiteY11" fmla="*/ 3349 h 12140"/>
              <a:gd name="connsiteX12" fmla="*/ 34 w 12523"/>
              <a:gd name="connsiteY12" fmla="*/ 1981 h 12140"/>
              <a:gd name="connsiteX13" fmla="*/ 757 w 12523"/>
              <a:gd name="connsiteY13" fmla="*/ 799 h 12140"/>
              <a:gd name="connsiteX14" fmla="*/ 2220 w 12523"/>
              <a:gd name="connsiteY14" fmla="*/ 176 h 12140"/>
              <a:gd name="connsiteX15" fmla="*/ 4408 w 12523"/>
              <a:gd name="connsiteY15" fmla="*/ 4 h 12140"/>
              <a:gd name="connsiteX16" fmla="*/ 6577 w 12523"/>
              <a:gd name="connsiteY16" fmla="*/ 116 h 12140"/>
              <a:gd name="connsiteX0" fmla="*/ 6577 w 12453"/>
              <a:gd name="connsiteY0" fmla="*/ 116 h 12140"/>
              <a:gd name="connsiteX1" fmla="*/ 9226 w 12453"/>
              <a:gd name="connsiteY1" fmla="*/ 448 h 12140"/>
              <a:gd name="connsiteX2" fmla="*/ 12216 w 12453"/>
              <a:gd name="connsiteY2" fmla="*/ 954 h 12140"/>
              <a:gd name="connsiteX3" fmla="*/ 12387 w 12453"/>
              <a:gd name="connsiteY3" fmla="*/ 4529 h 12140"/>
              <a:gd name="connsiteX4" fmla="*/ 12379 w 12453"/>
              <a:gd name="connsiteY4" fmla="*/ 6902 h 12140"/>
              <a:gd name="connsiteX5" fmla="*/ 12304 w 12453"/>
              <a:gd name="connsiteY5" fmla="*/ 11239 h 12140"/>
              <a:gd name="connsiteX6" fmla="*/ 9656 w 12453"/>
              <a:gd name="connsiteY6" fmla="*/ 12136 h 12140"/>
              <a:gd name="connsiteX7" fmla="*/ 6215 w 12453"/>
              <a:gd name="connsiteY7" fmla="*/ 11446 h 12140"/>
              <a:gd name="connsiteX8" fmla="*/ 2971 w 12453"/>
              <a:gd name="connsiteY8" fmla="*/ 8693 h 12140"/>
              <a:gd name="connsiteX9" fmla="*/ 1638 w 12453"/>
              <a:gd name="connsiteY9" fmla="*/ 6762 h 12140"/>
              <a:gd name="connsiteX10" fmla="*/ 452 w 12453"/>
              <a:gd name="connsiteY10" fmla="*/ 4476 h 12140"/>
              <a:gd name="connsiteX11" fmla="*/ 102 w 12453"/>
              <a:gd name="connsiteY11" fmla="*/ 3349 h 12140"/>
              <a:gd name="connsiteX12" fmla="*/ 34 w 12453"/>
              <a:gd name="connsiteY12" fmla="*/ 1981 h 12140"/>
              <a:gd name="connsiteX13" fmla="*/ 757 w 12453"/>
              <a:gd name="connsiteY13" fmla="*/ 799 h 12140"/>
              <a:gd name="connsiteX14" fmla="*/ 2220 w 12453"/>
              <a:gd name="connsiteY14" fmla="*/ 176 h 12140"/>
              <a:gd name="connsiteX15" fmla="*/ 4408 w 12453"/>
              <a:gd name="connsiteY15" fmla="*/ 4 h 12140"/>
              <a:gd name="connsiteX16" fmla="*/ 6577 w 12453"/>
              <a:gd name="connsiteY16" fmla="*/ 116 h 12140"/>
              <a:gd name="connsiteX0" fmla="*/ 6577 w 12436"/>
              <a:gd name="connsiteY0" fmla="*/ 116 h 12137"/>
              <a:gd name="connsiteX1" fmla="*/ 9226 w 12436"/>
              <a:gd name="connsiteY1" fmla="*/ 448 h 12137"/>
              <a:gd name="connsiteX2" fmla="*/ 12216 w 12436"/>
              <a:gd name="connsiteY2" fmla="*/ 954 h 12137"/>
              <a:gd name="connsiteX3" fmla="*/ 12387 w 12436"/>
              <a:gd name="connsiteY3" fmla="*/ 4529 h 12137"/>
              <a:gd name="connsiteX4" fmla="*/ 12379 w 12436"/>
              <a:gd name="connsiteY4" fmla="*/ 6902 h 12137"/>
              <a:gd name="connsiteX5" fmla="*/ 12279 w 12436"/>
              <a:gd name="connsiteY5" fmla="*/ 11359 h 12137"/>
              <a:gd name="connsiteX6" fmla="*/ 9656 w 12436"/>
              <a:gd name="connsiteY6" fmla="*/ 12136 h 12137"/>
              <a:gd name="connsiteX7" fmla="*/ 6215 w 12436"/>
              <a:gd name="connsiteY7" fmla="*/ 11446 h 12137"/>
              <a:gd name="connsiteX8" fmla="*/ 2971 w 12436"/>
              <a:gd name="connsiteY8" fmla="*/ 8693 h 12137"/>
              <a:gd name="connsiteX9" fmla="*/ 1638 w 12436"/>
              <a:gd name="connsiteY9" fmla="*/ 6762 h 12137"/>
              <a:gd name="connsiteX10" fmla="*/ 452 w 12436"/>
              <a:gd name="connsiteY10" fmla="*/ 4476 h 12137"/>
              <a:gd name="connsiteX11" fmla="*/ 102 w 12436"/>
              <a:gd name="connsiteY11" fmla="*/ 3349 h 12137"/>
              <a:gd name="connsiteX12" fmla="*/ 34 w 12436"/>
              <a:gd name="connsiteY12" fmla="*/ 1981 h 12137"/>
              <a:gd name="connsiteX13" fmla="*/ 757 w 12436"/>
              <a:gd name="connsiteY13" fmla="*/ 799 h 12137"/>
              <a:gd name="connsiteX14" fmla="*/ 2220 w 12436"/>
              <a:gd name="connsiteY14" fmla="*/ 176 h 12137"/>
              <a:gd name="connsiteX15" fmla="*/ 4408 w 12436"/>
              <a:gd name="connsiteY15" fmla="*/ 4 h 12137"/>
              <a:gd name="connsiteX16" fmla="*/ 6577 w 12436"/>
              <a:gd name="connsiteY16" fmla="*/ 116 h 12137"/>
              <a:gd name="connsiteX0" fmla="*/ 6577 w 12401"/>
              <a:gd name="connsiteY0" fmla="*/ 116 h 12137"/>
              <a:gd name="connsiteX1" fmla="*/ 9226 w 12401"/>
              <a:gd name="connsiteY1" fmla="*/ 448 h 12137"/>
              <a:gd name="connsiteX2" fmla="*/ 12216 w 12401"/>
              <a:gd name="connsiteY2" fmla="*/ 954 h 12137"/>
              <a:gd name="connsiteX3" fmla="*/ 12387 w 12401"/>
              <a:gd name="connsiteY3" fmla="*/ 4529 h 12137"/>
              <a:gd name="connsiteX4" fmla="*/ 12379 w 12401"/>
              <a:gd name="connsiteY4" fmla="*/ 6902 h 12137"/>
              <a:gd name="connsiteX5" fmla="*/ 12279 w 12401"/>
              <a:gd name="connsiteY5" fmla="*/ 11359 h 12137"/>
              <a:gd name="connsiteX6" fmla="*/ 9656 w 12401"/>
              <a:gd name="connsiteY6" fmla="*/ 12136 h 12137"/>
              <a:gd name="connsiteX7" fmla="*/ 6215 w 12401"/>
              <a:gd name="connsiteY7" fmla="*/ 11446 h 12137"/>
              <a:gd name="connsiteX8" fmla="*/ 2971 w 12401"/>
              <a:gd name="connsiteY8" fmla="*/ 8693 h 12137"/>
              <a:gd name="connsiteX9" fmla="*/ 1638 w 12401"/>
              <a:gd name="connsiteY9" fmla="*/ 6762 h 12137"/>
              <a:gd name="connsiteX10" fmla="*/ 452 w 12401"/>
              <a:gd name="connsiteY10" fmla="*/ 4476 h 12137"/>
              <a:gd name="connsiteX11" fmla="*/ 102 w 12401"/>
              <a:gd name="connsiteY11" fmla="*/ 3349 h 12137"/>
              <a:gd name="connsiteX12" fmla="*/ 34 w 12401"/>
              <a:gd name="connsiteY12" fmla="*/ 1981 h 12137"/>
              <a:gd name="connsiteX13" fmla="*/ 757 w 12401"/>
              <a:gd name="connsiteY13" fmla="*/ 799 h 12137"/>
              <a:gd name="connsiteX14" fmla="*/ 2220 w 12401"/>
              <a:gd name="connsiteY14" fmla="*/ 176 h 12137"/>
              <a:gd name="connsiteX15" fmla="*/ 4408 w 12401"/>
              <a:gd name="connsiteY15" fmla="*/ 4 h 12137"/>
              <a:gd name="connsiteX16" fmla="*/ 6577 w 12401"/>
              <a:gd name="connsiteY16" fmla="*/ 116 h 12137"/>
              <a:gd name="connsiteX0" fmla="*/ 6577 w 12401"/>
              <a:gd name="connsiteY0" fmla="*/ 116 h 12137"/>
              <a:gd name="connsiteX1" fmla="*/ 9226 w 12401"/>
              <a:gd name="connsiteY1" fmla="*/ 448 h 12137"/>
              <a:gd name="connsiteX2" fmla="*/ 12216 w 12401"/>
              <a:gd name="connsiteY2" fmla="*/ 954 h 12137"/>
              <a:gd name="connsiteX3" fmla="*/ 12387 w 12401"/>
              <a:gd name="connsiteY3" fmla="*/ 4529 h 12137"/>
              <a:gd name="connsiteX4" fmla="*/ 12379 w 12401"/>
              <a:gd name="connsiteY4" fmla="*/ 6902 h 12137"/>
              <a:gd name="connsiteX5" fmla="*/ 12279 w 12401"/>
              <a:gd name="connsiteY5" fmla="*/ 11359 h 12137"/>
              <a:gd name="connsiteX6" fmla="*/ 9656 w 12401"/>
              <a:gd name="connsiteY6" fmla="*/ 12136 h 12137"/>
              <a:gd name="connsiteX7" fmla="*/ 6215 w 12401"/>
              <a:gd name="connsiteY7" fmla="*/ 11446 h 12137"/>
              <a:gd name="connsiteX8" fmla="*/ 2971 w 12401"/>
              <a:gd name="connsiteY8" fmla="*/ 8693 h 12137"/>
              <a:gd name="connsiteX9" fmla="*/ 1638 w 12401"/>
              <a:gd name="connsiteY9" fmla="*/ 6762 h 12137"/>
              <a:gd name="connsiteX10" fmla="*/ 452 w 12401"/>
              <a:gd name="connsiteY10" fmla="*/ 4476 h 12137"/>
              <a:gd name="connsiteX11" fmla="*/ 102 w 12401"/>
              <a:gd name="connsiteY11" fmla="*/ 3349 h 12137"/>
              <a:gd name="connsiteX12" fmla="*/ 34 w 12401"/>
              <a:gd name="connsiteY12" fmla="*/ 1981 h 12137"/>
              <a:gd name="connsiteX13" fmla="*/ 757 w 12401"/>
              <a:gd name="connsiteY13" fmla="*/ 799 h 12137"/>
              <a:gd name="connsiteX14" fmla="*/ 2220 w 12401"/>
              <a:gd name="connsiteY14" fmla="*/ 176 h 12137"/>
              <a:gd name="connsiteX15" fmla="*/ 4408 w 12401"/>
              <a:gd name="connsiteY15" fmla="*/ 4 h 12137"/>
              <a:gd name="connsiteX16" fmla="*/ 6577 w 12401"/>
              <a:gd name="connsiteY16" fmla="*/ 116 h 12137"/>
              <a:gd name="connsiteX0" fmla="*/ 6577 w 12441"/>
              <a:gd name="connsiteY0" fmla="*/ 116 h 12137"/>
              <a:gd name="connsiteX1" fmla="*/ 9226 w 12441"/>
              <a:gd name="connsiteY1" fmla="*/ 448 h 12137"/>
              <a:gd name="connsiteX2" fmla="*/ 12216 w 12441"/>
              <a:gd name="connsiteY2" fmla="*/ 954 h 12137"/>
              <a:gd name="connsiteX3" fmla="*/ 12247 w 12441"/>
              <a:gd name="connsiteY3" fmla="*/ 4832 h 12137"/>
              <a:gd name="connsiteX4" fmla="*/ 12379 w 12441"/>
              <a:gd name="connsiteY4" fmla="*/ 6902 h 12137"/>
              <a:gd name="connsiteX5" fmla="*/ 12279 w 12441"/>
              <a:gd name="connsiteY5" fmla="*/ 11359 h 12137"/>
              <a:gd name="connsiteX6" fmla="*/ 9656 w 12441"/>
              <a:gd name="connsiteY6" fmla="*/ 12136 h 12137"/>
              <a:gd name="connsiteX7" fmla="*/ 6215 w 12441"/>
              <a:gd name="connsiteY7" fmla="*/ 11446 h 12137"/>
              <a:gd name="connsiteX8" fmla="*/ 2971 w 12441"/>
              <a:gd name="connsiteY8" fmla="*/ 8693 h 12137"/>
              <a:gd name="connsiteX9" fmla="*/ 1638 w 12441"/>
              <a:gd name="connsiteY9" fmla="*/ 6762 h 12137"/>
              <a:gd name="connsiteX10" fmla="*/ 452 w 12441"/>
              <a:gd name="connsiteY10" fmla="*/ 4476 h 12137"/>
              <a:gd name="connsiteX11" fmla="*/ 102 w 12441"/>
              <a:gd name="connsiteY11" fmla="*/ 3349 h 12137"/>
              <a:gd name="connsiteX12" fmla="*/ 34 w 12441"/>
              <a:gd name="connsiteY12" fmla="*/ 1981 h 12137"/>
              <a:gd name="connsiteX13" fmla="*/ 757 w 12441"/>
              <a:gd name="connsiteY13" fmla="*/ 799 h 12137"/>
              <a:gd name="connsiteX14" fmla="*/ 2220 w 12441"/>
              <a:gd name="connsiteY14" fmla="*/ 176 h 12137"/>
              <a:gd name="connsiteX15" fmla="*/ 4408 w 12441"/>
              <a:gd name="connsiteY15" fmla="*/ 4 h 12137"/>
              <a:gd name="connsiteX16" fmla="*/ 6577 w 12441"/>
              <a:gd name="connsiteY16" fmla="*/ 116 h 12137"/>
              <a:gd name="connsiteX0" fmla="*/ 6577 w 12451"/>
              <a:gd name="connsiteY0" fmla="*/ 116 h 12137"/>
              <a:gd name="connsiteX1" fmla="*/ 9226 w 12451"/>
              <a:gd name="connsiteY1" fmla="*/ 448 h 12137"/>
              <a:gd name="connsiteX2" fmla="*/ 12216 w 12451"/>
              <a:gd name="connsiteY2" fmla="*/ 954 h 12137"/>
              <a:gd name="connsiteX3" fmla="*/ 12247 w 12451"/>
              <a:gd name="connsiteY3" fmla="*/ 4832 h 12137"/>
              <a:gd name="connsiteX4" fmla="*/ 12379 w 12451"/>
              <a:gd name="connsiteY4" fmla="*/ 6902 h 12137"/>
              <a:gd name="connsiteX5" fmla="*/ 12279 w 12451"/>
              <a:gd name="connsiteY5" fmla="*/ 11359 h 12137"/>
              <a:gd name="connsiteX6" fmla="*/ 9656 w 12451"/>
              <a:gd name="connsiteY6" fmla="*/ 12136 h 12137"/>
              <a:gd name="connsiteX7" fmla="*/ 6215 w 12451"/>
              <a:gd name="connsiteY7" fmla="*/ 11446 h 12137"/>
              <a:gd name="connsiteX8" fmla="*/ 2971 w 12451"/>
              <a:gd name="connsiteY8" fmla="*/ 8693 h 12137"/>
              <a:gd name="connsiteX9" fmla="*/ 1638 w 12451"/>
              <a:gd name="connsiteY9" fmla="*/ 6762 h 12137"/>
              <a:gd name="connsiteX10" fmla="*/ 452 w 12451"/>
              <a:gd name="connsiteY10" fmla="*/ 4476 h 12137"/>
              <a:gd name="connsiteX11" fmla="*/ 102 w 12451"/>
              <a:gd name="connsiteY11" fmla="*/ 3349 h 12137"/>
              <a:gd name="connsiteX12" fmla="*/ 34 w 12451"/>
              <a:gd name="connsiteY12" fmla="*/ 1981 h 12137"/>
              <a:gd name="connsiteX13" fmla="*/ 757 w 12451"/>
              <a:gd name="connsiteY13" fmla="*/ 799 h 12137"/>
              <a:gd name="connsiteX14" fmla="*/ 2220 w 12451"/>
              <a:gd name="connsiteY14" fmla="*/ 176 h 12137"/>
              <a:gd name="connsiteX15" fmla="*/ 4408 w 12451"/>
              <a:gd name="connsiteY15" fmla="*/ 4 h 12137"/>
              <a:gd name="connsiteX16" fmla="*/ 6577 w 12451"/>
              <a:gd name="connsiteY16" fmla="*/ 116 h 12137"/>
              <a:gd name="connsiteX0" fmla="*/ 6577 w 12489"/>
              <a:gd name="connsiteY0" fmla="*/ 116 h 12137"/>
              <a:gd name="connsiteX1" fmla="*/ 9226 w 12489"/>
              <a:gd name="connsiteY1" fmla="*/ 448 h 12137"/>
              <a:gd name="connsiteX2" fmla="*/ 12216 w 12489"/>
              <a:gd name="connsiteY2" fmla="*/ 954 h 12137"/>
              <a:gd name="connsiteX3" fmla="*/ 12247 w 12489"/>
              <a:gd name="connsiteY3" fmla="*/ 4832 h 12137"/>
              <a:gd name="connsiteX4" fmla="*/ 12322 w 12489"/>
              <a:gd name="connsiteY4" fmla="*/ 7944 h 12137"/>
              <a:gd name="connsiteX5" fmla="*/ 12279 w 12489"/>
              <a:gd name="connsiteY5" fmla="*/ 11359 h 12137"/>
              <a:gd name="connsiteX6" fmla="*/ 9656 w 12489"/>
              <a:gd name="connsiteY6" fmla="*/ 12136 h 12137"/>
              <a:gd name="connsiteX7" fmla="*/ 6215 w 12489"/>
              <a:gd name="connsiteY7" fmla="*/ 11446 h 12137"/>
              <a:gd name="connsiteX8" fmla="*/ 2971 w 12489"/>
              <a:gd name="connsiteY8" fmla="*/ 8693 h 12137"/>
              <a:gd name="connsiteX9" fmla="*/ 1638 w 12489"/>
              <a:gd name="connsiteY9" fmla="*/ 6762 h 12137"/>
              <a:gd name="connsiteX10" fmla="*/ 452 w 12489"/>
              <a:gd name="connsiteY10" fmla="*/ 4476 h 12137"/>
              <a:gd name="connsiteX11" fmla="*/ 102 w 12489"/>
              <a:gd name="connsiteY11" fmla="*/ 3349 h 12137"/>
              <a:gd name="connsiteX12" fmla="*/ 34 w 12489"/>
              <a:gd name="connsiteY12" fmla="*/ 1981 h 12137"/>
              <a:gd name="connsiteX13" fmla="*/ 757 w 12489"/>
              <a:gd name="connsiteY13" fmla="*/ 799 h 12137"/>
              <a:gd name="connsiteX14" fmla="*/ 2220 w 12489"/>
              <a:gd name="connsiteY14" fmla="*/ 176 h 12137"/>
              <a:gd name="connsiteX15" fmla="*/ 4408 w 12489"/>
              <a:gd name="connsiteY15" fmla="*/ 4 h 12137"/>
              <a:gd name="connsiteX16" fmla="*/ 6577 w 12489"/>
              <a:gd name="connsiteY16" fmla="*/ 116 h 12137"/>
              <a:gd name="connsiteX0" fmla="*/ 6577 w 12490"/>
              <a:gd name="connsiteY0" fmla="*/ 116 h 12137"/>
              <a:gd name="connsiteX1" fmla="*/ 9226 w 12490"/>
              <a:gd name="connsiteY1" fmla="*/ 448 h 12137"/>
              <a:gd name="connsiteX2" fmla="*/ 12216 w 12490"/>
              <a:gd name="connsiteY2" fmla="*/ 954 h 12137"/>
              <a:gd name="connsiteX3" fmla="*/ 12247 w 12490"/>
              <a:gd name="connsiteY3" fmla="*/ 4832 h 12137"/>
              <a:gd name="connsiteX4" fmla="*/ 12322 w 12490"/>
              <a:gd name="connsiteY4" fmla="*/ 7944 h 12137"/>
              <a:gd name="connsiteX5" fmla="*/ 12279 w 12490"/>
              <a:gd name="connsiteY5" fmla="*/ 11359 h 12137"/>
              <a:gd name="connsiteX6" fmla="*/ 9656 w 12490"/>
              <a:gd name="connsiteY6" fmla="*/ 12136 h 12137"/>
              <a:gd name="connsiteX7" fmla="*/ 6215 w 12490"/>
              <a:gd name="connsiteY7" fmla="*/ 11446 h 12137"/>
              <a:gd name="connsiteX8" fmla="*/ 2971 w 12490"/>
              <a:gd name="connsiteY8" fmla="*/ 8693 h 12137"/>
              <a:gd name="connsiteX9" fmla="*/ 1638 w 12490"/>
              <a:gd name="connsiteY9" fmla="*/ 6762 h 12137"/>
              <a:gd name="connsiteX10" fmla="*/ 452 w 12490"/>
              <a:gd name="connsiteY10" fmla="*/ 4476 h 12137"/>
              <a:gd name="connsiteX11" fmla="*/ 102 w 12490"/>
              <a:gd name="connsiteY11" fmla="*/ 3349 h 12137"/>
              <a:gd name="connsiteX12" fmla="*/ 34 w 12490"/>
              <a:gd name="connsiteY12" fmla="*/ 1981 h 12137"/>
              <a:gd name="connsiteX13" fmla="*/ 757 w 12490"/>
              <a:gd name="connsiteY13" fmla="*/ 799 h 12137"/>
              <a:gd name="connsiteX14" fmla="*/ 2220 w 12490"/>
              <a:gd name="connsiteY14" fmla="*/ 176 h 12137"/>
              <a:gd name="connsiteX15" fmla="*/ 4408 w 12490"/>
              <a:gd name="connsiteY15" fmla="*/ 4 h 12137"/>
              <a:gd name="connsiteX16" fmla="*/ 6577 w 12490"/>
              <a:gd name="connsiteY16" fmla="*/ 116 h 12137"/>
              <a:gd name="connsiteX0" fmla="*/ 6577 w 12488"/>
              <a:gd name="connsiteY0" fmla="*/ 116 h 12137"/>
              <a:gd name="connsiteX1" fmla="*/ 9226 w 12488"/>
              <a:gd name="connsiteY1" fmla="*/ 448 h 12137"/>
              <a:gd name="connsiteX2" fmla="*/ 12216 w 12488"/>
              <a:gd name="connsiteY2" fmla="*/ 954 h 12137"/>
              <a:gd name="connsiteX3" fmla="*/ 12247 w 12488"/>
              <a:gd name="connsiteY3" fmla="*/ 4832 h 12137"/>
              <a:gd name="connsiteX4" fmla="*/ 12322 w 12488"/>
              <a:gd name="connsiteY4" fmla="*/ 7944 h 12137"/>
              <a:gd name="connsiteX5" fmla="*/ 12279 w 12488"/>
              <a:gd name="connsiteY5" fmla="*/ 11359 h 12137"/>
              <a:gd name="connsiteX6" fmla="*/ 9656 w 12488"/>
              <a:gd name="connsiteY6" fmla="*/ 12136 h 12137"/>
              <a:gd name="connsiteX7" fmla="*/ 6215 w 12488"/>
              <a:gd name="connsiteY7" fmla="*/ 11446 h 12137"/>
              <a:gd name="connsiteX8" fmla="*/ 2971 w 12488"/>
              <a:gd name="connsiteY8" fmla="*/ 8693 h 12137"/>
              <a:gd name="connsiteX9" fmla="*/ 1638 w 12488"/>
              <a:gd name="connsiteY9" fmla="*/ 6762 h 12137"/>
              <a:gd name="connsiteX10" fmla="*/ 452 w 12488"/>
              <a:gd name="connsiteY10" fmla="*/ 4476 h 12137"/>
              <a:gd name="connsiteX11" fmla="*/ 102 w 12488"/>
              <a:gd name="connsiteY11" fmla="*/ 3349 h 12137"/>
              <a:gd name="connsiteX12" fmla="*/ 34 w 12488"/>
              <a:gd name="connsiteY12" fmla="*/ 1981 h 12137"/>
              <a:gd name="connsiteX13" fmla="*/ 757 w 12488"/>
              <a:gd name="connsiteY13" fmla="*/ 799 h 12137"/>
              <a:gd name="connsiteX14" fmla="*/ 2220 w 12488"/>
              <a:gd name="connsiteY14" fmla="*/ 176 h 12137"/>
              <a:gd name="connsiteX15" fmla="*/ 4408 w 12488"/>
              <a:gd name="connsiteY15" fmla="*/ 4 h 12137"/>
              <a:gd name="connsiteX16" fmla="*/ 6577 w 12488"/>
              <a:gd name="connsiteY16" fmla="*/ 116 h 12137"/>
              <a:gd name="connsiteX0" fmla="*/ 6577 w 12443"/>
              <a:gd name="connsiteY0" fmla="*/ 116 h 12137"/>
              <a:gd name="connsiteX1" fmla="*/ 9226 w 12443"/>
              <a:gd name="connsiteY1" fmla="*/ 448 h 12137"/>
              <a:gd name="connsiteX2" fmla="*/ 12216 w 12443"/>
              <a:gd name="connsiteY2" fmla="*/ 954 h 12137"/>
              <a:gd name="connsiteX3" fmla="*/ 12247 w 12443"/>
              <a:gd name="connsiteY3" fmla="*/ 4832 h 12137"/>
              <a:gd name="connsiteX4" fmla="*/ 12322 w 12443"/>
              <a:gd name="connsiteY4" fmla="*/ 7944 h 12137"/>
              <a:gd name="connsiteX5" fmla="*/ 12279 w 12443"/>
              <a:gd name="connsiteY5" fmla="*/ 11359 h 12137"/>
              <a:gd name="connsiteX6" fmla="*/ 9656 w 12443"/>
              <a:gd name="connsiteY6" fmla="*/ 12136 h 12137"/>
              <a:gd name="connsiteX7" fmla="*/ 6215 w 12443"/>
              <a:gd name="connsiteY7" fmla="*/ 11446 h 12137"/>
              <a:gd name="connsiteX8" fmla="*/ 2971 w 12443"/>
              <a:gd name="connsiteY8" fmla="*/ 8693 h 12137"/>
              <a:gd name="connsiteX9" fmla="*/ 1638 w 12443"/>
              <a:gd name="connsiteY9" fmla="*/ 6762 h 12137"/>
              <a:gd name="connsiteX10" fmla="*/ 452 w 12443"/>
              <a:gd name="connsiteY10" fmla="*/ 4476 h 12137"/>
              <a:gd name="connsiteX11" fmla="*/ 102 w 12443"/>
              <a:gd name="connsiteY11" fmla="*/ 3349 h 12137"/>
              <a:gd name="connsiteX12" fmla="*/ 34 w 12443"/>
              <a:gd name="connsiteY12" fmla="*/ 1981 h 12137"/>
              <a:gd name="connsiteX13" fmla="*/ 757 w 12443"/>
              <a:gd name="connsiteY13" fmla="*/ 799 h 12137"/>
              <a:gd name="connsiteX14" fmla="*/ 2220 w 12443"/>
              <a:gd name="connsiteY14" fmla="*/ 176 h 12137"/>
              <a:gd name="connsiteX15" fmla="*/ 4408 w 12443"/>
              <a:gd name="connsiteY15" fmla="*/ 4 h 12137"/>
              <a:gd name="connsiteX16" fmla="*/ 6577 w 12443"/>
              <a:gd name="connsiteY16" fmla="*/ 116 h 12137"/>
              <a:gd name="connsiteX0" fmla="*/ 6577 w 12496"/>
              <a:gd name="connsiteY0" fmla="*/ 116 h 12137"/>
              <a:gd name="connsiteX1" fmla="*/ 9226 w 12496"/>
              <a:gd name="connsiteY1" fmla="*/ 448 h 12137"/>
              <a:gd name="connsiteX2" fmla="*/ 12283 w 12496"/>
              <a:gd name="connsiteY2" fmla="*/ 1248 h 12137"/>
              <a:gd name="connsiteX3" fmla="*/ 12247 w 12496"/>
              <a:gd name="connsiteY3" fmla="*/ 4832 h 12137"/>
              <a:gd name="connsiteX4" fmla="*/ 12322 w 12496"/>
              <a:gd name="connsiteY4" fmla="*/ 7944 h 12137"/>
              <a:gd name="connsiteX5" fmla="*/ 12279 w 12496"/>
              <a:gd name="connsiteY5" fmla="*/ 11359 h 12137"/>
              <a:gd name="connsiteX6" fmla="*/ 9656 w 12496"/>
              <a:gd name="connsiteY6" fmla="*/ 12136 h 12137"/>
              <a:gd name="connsiteX7" fmla="*/ 6215 w 12496"/>
              <a:gd name="connsiteY7" fmla="*/ 11446 h 12137"/>
              <a:gd name="connsiteX8" fmla="*/ 2971 w 12496"/>
              <a:gd name="connsiteY8" fmla="*/ 8693 h 12137"/>
              <a:gd name="connsiteX9" fmla="*/ 1638 w 12496"/>
              <a:gd name="connsiteY9" fmla="*/ 6762 h 12137"/>
              <a:gd name="connsiteX10" fmla="*/ 452 w 12496"/>
              <a:gd name="connsiteY10" fmla="*/ 4476 h 12137"/>
              <a:gd name="connsiteX11" fmla="*/ 102 w 12496"/>
              <a:gd name="connsiteY11" fmla="*/ 3349 h 12137"/>
              <a:gd name="connsiteX12" fmla="*/ 34 w 12496"/>
              <a:gd name="connsiteY12" fmla="*/ 1981 h 12137"/>
              <a:gd name="connsiteX13" fmla="*/ 757 w 12496"/>
              <a:gd name="connsiteY13" fmla="*/ 799 h 12137"/>
              <a:gd name="connsiteX14" fmla="*/ 2220 w 12496"/>
              <a:gd name="connsiteY14" fmla="*/ 176 h 12137"/>
              <a:gd name="connsiteX15" fmla="*/ 4408 w 12496"/>
              <a:gd name="connsiteY15" fmla="*/ 4 h 12137"/>
              <a:gd name="connsiteX16" fmla="*/ 6577 w 12496"/>
              <a:gd name="connsiteY16" fmla="*/ 116 h 12137"/>
              <a:gd name="connsiteX0" fmla="*/ 6577 w 12380"/>
              <a:gd name="connsiteY0" fmla="*/ 116 h 12137"/>
              <a:gd name="connsiteX1" fmla="*/ 9226 w 12380"/>
              <a:gd name="connsiteY1" fmla="*/ 448 h 12137"/>
              <a:gd name="connsiteX2" fmla="*/ 12283 w 12380"/>
              <a:gd name="connsiteY2" fmla="*/ 1248 h 12137"/>
              <a:gd name="connsiteX3" fmla="*/ 12247 w 12380"/>
              <a:gd name="connsiteY3" fmla="*/ 4832 h 12137"/>
              <a:gd name="connsiteX4" fmla="*/ 12322 w 12380"/>
              <a:gd name="connsiteY4" fmla="*/ 7944 h 12137"/>
              <a:gd name="connsiteX5" fmla="*/ 12279 w 12380"/>
              <a:gd name="connsiteY5" fmla="*/ 11359 h 12137"/>
              <a:gd name="connsiteX6" fmla="*/ 9656 w 12380"/>
              <a:gd name="connsiteY6" fmla="*/ 12136 h 12137"/>
              <a:gd name="connsiteX7" fmla="*/ 6215 w 12380"/>
              <a:gd name="connsiteY7" fmla="*/ 11446 h 12137"/>
              <a:gd name="connsiteX8" fmla="*/ 2971 w 12380"/>
              <a:gd name="connsiteY8" fmla="*/ 8693 h 12137"/>
              <a:gd name="connsiteX9" fmla="*/ 1638 w 12380"/>
              <a:gd name="connsiteY9" fmla="*/ 6762 h 12137"/>
              <a:gd name="connsiteX10" fmla="*/ 452 w 12380"/>
              <a:gd name="connsiteY10" fmla="*/ 4476 h 12137"/>
              <a:gd name="connsiteX11" fmla="*/ 102 w 12380"/>
              <a:gd name="connsiteY11" fmla="*/ 3349 h 12137"/>
              <a:gd name="connsiteX12" fmla="*/ 34 w 12380"/>
              <a:gd name="connsiteY12" fmla="*/ 1981 h 12137"/>
              <a:gd name="connsiteX13" fmla="*/ 757 w 12380"/>
              <a:gd name="connsiteY13" fmla="*/ 799 h 12137"/>
              <a:gd name="connsiteX14" fmla="*/ 2220 w 12380"/>
              <a:gd name="connsiteY14" fmla="*/ 176 h 12137"/>
              <a:gd name="connsiteX15" fmla="*/ 4408 w 12380"/>
              <a:gd name="connsiteY15" fmla="*/ 4 h 12137"/>
              <a:gd name="connsiteX16" fmla="*/ 6577 w 12380"/>
              <a:gd name="connsiteY16" fmla="*/ 116 h 12137"/>
              <a:gd name="connsiteX0" fmla="*/ 6577 w 12322"/>
              <a:gd name="connsiteY0" fmla="*/ 116 h 12137"/>
              <a:gd name="connsiteX1" fmla="*/ 9226 w 12322"/>
              <a:gd name="connsiteY1" fmla="*/ 448 h 12137"/>
              <a:gd name="connsiteX2" fmla="*/ 12283 w 12322"/>
              <a:gd name="connsiteY2" fmla="*/ 1248 h 12137"/>
              <a:gd name="connsiteX3" fmla="*/ 12247 w 12322"/>
              <a:gd name="connsiteY3" fmla="*/ 4832 h 12137"/>
              <a:gd name="connsiteX4" fmla="*/ 12322 w 12322"/>
              <a:gd name="connsiteY4" fmla="*/ 7944 h 12137"/>
              <a:gd name="connsiteX5" fmla="*/ 12279 w 12322"/>
              <a:gd name="connsiteY5" fmla="*/ 11359 h 12137"/>
              <a:gd name="connsiteX6" fmla="*/ 9656 w 12322"/>
              <a:gd name="connsiteY6" fmla="*/ 12136 h 12137"/>
              <a:gd name="connsiteX7" fmla="*/ 6215 w 12322"/>
              <a:gd name="connsiteY7" fmla="*/ 11446 h 12137"/>
              <a:gd name="connsiteX8" fmla="*/ 2971 w 12322"/>
              <a:gd name="connsiteY8" fmla="*/ 8693 h 12137"/>
              <a:gd name="connsiteX9" fmla="*/ 1638 w 12322"/>
              <a:gd name="connsiteY9" fmla="*/ 6762 h 12137"/>
              <a:gd name="connsiteX10" fmla="*/ 452 w 12322"/>
              <a:gd name="connsiteY10" fmla="*/ 4476 h 12137"/>
              <a:gd name="connsiteX11" fmla="*/ 102 w 12322"/>
              <a:gd name="connsiteY11" fmla="*/ 3349 h 12137"/>
              <a:gd name="connsiteX12" fmla="*/ 34 w 12322"/>
              <a:gd name="connsiteY12" fmla="*/ 1981 h 12137"/>
              <a:gd name="connsiteX13" fmla="*/ 757 w 12322"/>
              <a:gd name="connsiteY13" fmla="*/ 799 h 12137"/>
              <a:gd name="connsiteX14" fmla="*/ 2220 w 12322"/>
              <a:gd name="connsiteY14" fmla="*/ 176 h 12137"/>
              <a:gd name="connsiteX15" fmla="*/ 4408 w 12322"/>
              <a:gd name="connsiteY15" fmla="*/ 4 h 12137"/>
              <a:gd name="connsiteX16" fmla="*/ 6577 w 12322"/>
              <a:gd name="connsiteY16" fmla="*/ 116 h 12137"/>
              <a:gd name="connsiteX0" fmla="*/ 6577 w 12322"/>
              <a:gd name="connsiteY0" fmla="*/ 116 h 12137"/>
              <a:gd name="connsiteX1" fmla="*/ 9226 w 12322"/>
              <a:gd name="connsiteY1" fmla="*/ 448 h 12137"/>
              <a:gd name="connsiteX2" fmla="*/ 12202 w 12322"/>
              <a:gd name="connsiteY2" fmla="*/ 806 h 12137"/>
              <a:gd name="connsiteX3" fmla="*/ 12247 w 12322"/>
              <a:gd name="connsiteY3" fmla="*/ 4832 h 12137"/>
              <a:gd name="connsiteX4" fmla="*/ 12322 w 12322"/>
              <a:gd name="connsiteY4" fmla="*/ 7944 h 12137"/>
              <a:gd name="connsiteX5" fmla="*/ 12279 w 12322"/>
              <a:gd name="connsiteY5" fmla="*/ 11359 h 12137"/>
              <a:gd name="connsiteX6" fmla="*/ 9656 w 12322"/>
              <a:gd name="connsiteY6" fmla="*/ 12136 h 12137"/>
              <a:gd name="connsiteX7" fmla="*/ 6215 w 12322"/>
              <a:gd name="connsiteY7" fmla="*/ 11446 h 12137"/>
              <a:gd name="connsiteX8" fmla="*/ 2971 w 12322"/>
              <a:gd name="connsiteY8" fmla="*/ 8693 h 12137"/>
              <a:gd name="connsiteX9" fmla="*/ 1638 w 12322"/>
              <a:gd name="connsiteY9" fmla="*/ 6762 h 12137"/>
              <a:gd name="connsiteX10" fmla="*/ 452 w 12322"/>
              <a:gd name="connsiteY10" fmla="*/ 4476 h 12137"/>
              <a:gd name="connsiteX11" fmla="*/ 102 w 12322"/>
              <a:gd name="connsiteY11" fmla="*/ 3349 h 12137"/>
              <a:gd name="connsiteX12" fmla="*/ 34 w 12322"/>
              <a:gd name="connsiteY12" fmla="*/ 1981 h 12137"/>
              <a:gd name="connsiteX13" fmla="*/ 757 w 12322"/>
              <a:gd name="connsiteY13" fmla="*/ 799 h 12137"/>
              <a:gd name="connsiteX14" fmla="*/ 2220 w 12322"/>
              <a:gd name="connsiteY14" fmla="*/ 176 h 12137"/>
              <a:gd name="connsiteX15" fmla="*/ 4408 w 12322"/>
              <a:gd name="connsiteY15" fmla="*/ 4 h 12137"/>
              <a:gd name="connsiteX16" fmla="*/ 6577 w 12322"/>
              <a:gd name="connsiteY16" fmla="*/ 116 h 12137"/>
              <a:gd name="connsiteX0" fmla="*/ 6577 w 12322"/>
              <a:gd name="connsiteY0" fmla="*/ 116 h 12137"/>
              <a:gd name="connsiteX1" fmla="*/ 9226 w 12322"/>
              <a:gd name="connsiteY1" fmla="*/ 448 h 12137"/>
              <a:gd name="connsiteX2" fmla="*/ 12203 w 12322"/>
              <a:gd name="connsiteY2" fmla="*/ 895 h 12137"/>
              <a:gd name="connsiteX3" fmla="*/ 12247 w 12322"/>
              <a:gd name="connsiteY3" fmla="*/ 4832 h 12137"/>
              <a:gd name="connsiteX4" fmla="*/ 12322 w 12322"/>
              <a:gd name="connsiteY4" fmla="*/ 7944 h 12137"/>
              <a:gd name="connsiteX5" fmla="*/ 12279 w 12322"/>
              <a:gd name="connsiteY5" fmla="*/ 11359 h 12137"/>
              <a:gd name="connsiteX6" fmla="*/ 9656 w 12322"/>
              <a:gd name="connsiteY6" fmla="*/ 12136 h 12137"/>
              <a:gd name="connsiteX7" fmla="*/ 6215 w 12322"/>
              <a:gd name="connsiteY7" fmla="*/ 11446 h 12137"/>
              <a:gd name="connsiteX8" fmla="*/ 2971 w 12322"/>
              <a:gd name="connsiteY8" fmla="*/ 8693 h 12137"/>
              <a:gd name="connsiteX9" fmla="*/ 1638 w 12322"/>
              <a:gd name="connsiteY9" fmla="*/ 6762 h 12137"/>
              <a:gd name="connsiteX10" fmla="*/ 452 w 12322"/>
              <a:gd name="connsiteY10" fmla="*/ 4476 h 12137"/>
              <a:gd name="connsiteX11" fmla="*/ 102 w 12322"/>
              <a:gd name="connsiteY11" fmla="*/ 3349 h 12137"/>
              <a:gd name="connsiteX12" fmla="*/ 34 w 12322"/>
              <a:gd name="connsiteY12" fmla="*/ 1981 h 12137"/>
              <a:gd name="connsiteX13" fmla="*/ 757 w 12322"/>
              <a:gd name="connsiteY13" fmla="*/ 799 h 12137"/>
              <a:gd name="connsiteX14" fmla="*/ 2220 w 12322"/>
              <a:gd name="connsiteY14" fmla="*/ 176 h 12137"/>
              <a:gd name="connsiteX15" fmla="*/ 4408 w 12322"/>
              <a:gd name="connsiteY15" fmla="*/ 4 h 12137"/>
              <a:gd name="connsiteX16" fmla="*/ 6577 w 12322"/>
              <a:gd name="connsiteY16" fmla="*/ 116 h 12137"/>
              <a:gd name="connsiteX0" fmla="*/ 6577 w 12322"/>
              <a:gd name="connsiteY0" fmla="*/ 116 h 12137"/>
              <a:gd name="connsiteX1" fmla="*/ 9226 w 12322"/>
              <a:gd name="connsiteY1" fmla="*/ 448 h 12137"/>
              <a:gd name="connsiteX2" fmla="*/ 12202 w 12322"/>
              <a:gd name="connsiteY2" fmla="*/ 806 h 12137"/>
              <a:gd name="connsiteX3" fmla="*/ 12247 w 12322"/>
              <a:gd name="connsiteY3" fmla="*/ 4832 h 12137"/>
              <a:gd name="connsiteX4" fmla="*/ 12322 w 12322"/>
              <a:gd name="connsiteY4" fmla="*/ 7944 h 12137"/>
              <a:gd name="connsiteX5" fmla="*/ 12279 w 12322"/>
              <a:gd name="connsiteY5" fmla="*/ 11359 h 12137"/>
              <a:gd name="connsiteX6" fmla="*/ 9656 w 12322"/>
              <a:gd name="connsiteY6" fmla="*/ 12136 h 12137"/>
              <a:gd name="connsiteX7" fmla="*/ 6215 w 12322"/>
              <a:gd name="connsiteY7" fmla="*/ 11446 h 12137"/>
              <a:gd name="connsiteX8" fmla="*/ 2971 w 12322"/>
              <a:gd name="connsiteY8" fmla="*/ 8693 h 12137"/>
              <a:gd name="connsiteX9" fmla="*/ 1638 w 12322"/>
              <a:gd name="connsiteY9" fmla="*/ 6762 h 12137"/>
              <a:gd name="connsiteX10" fmla="*/ 452 w 12322"/>
              <a:gd name="connsiteY10" fmla="*/ 4476 h 12137"/>
              <a:gd name="connsiteX11" fmla="*/ 102 w 12322"/>
              <a:gd name="connsiteY11" fmla="*/ 3349 h 12137"/>
              <a:gd name="connsiteX12" fmla="*/ 34 w 12322"/>
              <a:gd name="connsiteY12" fmla="*/ 1981 h 12137"/>
              <a:gd name="connsiteX13" fmla="*/ 757 w 12322"/>
              <a:gd name="connsiteY13" fmla="*/ 799 h 12137"/>
              <a:gd name="connsiteX14" fmla="*/ 2220 w 12322"/>
              <a:gd name="connsiteY14" fmla="*/ 176 h 12137"/>
              <a:gd name="connsiteX15" fmla="*/ 4408 w 12322"/>
              <a:gd name="connsiteY15" fmla="*/ 4 h 12137"/>
              <a:gd name="connsiteX16" fmla="*/ 6577 w 12322"/>
              <a:gd name="connsiteY16" fmla="*/ 116 h 12137"/>
              <a:gd name="connsiteX0" fmla="*/ 6577 w 12481"/>
              <a:gd name="connsiteY0" fmla="*/ 116 h 12137"/>
              <a:gd name="connsiteX1" fmla="*/ 9226 w 12481"/>
              <a:gd name="connsiteY1" fmla="*/ 448 h 12137"/>
              <a:gd name="connsiteX2" fmla="*/ 12202 w 12481"/>
              <a:gd name="connsiteY2" fmla="*/ 806 h 12137"/>
              <a:gd name="connsiteX3" fmla="*/ 12247 w 12481"/>
              <a:gd name="connsiteY3" fmla="*/ 4832 h 12137"/>
              <a:gd name="connsiteX4" fmla="*/ 12300 w 12481"/>
              <a:gd name="connsiteY4" fmla="*/ 8390 h 12137"/>
              <a:gd name="connsiteX5" fmla="*/ 12279 w 12481"/>
              <a:gd name="connsiteY5" fmla="*/ 11359 h 12137"/>
              <a:gd name="connsiteX6" fmla="*/ 9656 w 12481"/>
              <a:gd name="connsiteY6" fmla="*/ 12136 h 12137"/>
              <a:gd name="connsiteX7" fmla="*/ 6215 w 12481"/>
              <a:gd name="connsiteY7" fmla="*/ 11446 h 12137"/>
              <a:gd name="connsiteX8" fmla="*/ 2971 w 12481"/>
              <a:gd name="connsiteY8" fmla="*/ 8693 h 12137"/>
              <a:gd name="connsiteX9" fmla="*/ 1638 w 12481"/>
              <a:gd name="connsiteY9" fmla="*/ 6762 h 12137"/>
              <a:gd name="connsiteX10" fmla="*/ 452 w 12481"/>
              <a:gd name="connsiteY10" fmla="*/ 4476 h 12137"/>
              <a:gd name="connsiteX11" fmla="*/ 102 w 12481"/>
              <a:gd name="connsiteY11" fmla="*/ 3349 h 12137"/>
              <a:gd name="connsiteX12" fmla="*/ 34 w 12481"/>
              <a:gd name="connsiteY12" fmla="*/ 1981 h 12137"/>
              <a:gd name="connsiteX13" fmla="*/ 757 w 12481"/>
              <a:gd name="connsiteY13" fmla="*/ 799 h 12137"/>
              <a:gd name="connsiteX14" fmla="*/ 2220 w 12481"/>
              <a:gd name="connsiteY14" fmla="*/ 176 h 12137"/>
              <a:gd name="connsiteX15" fmla="*/ 4408 w 12481"/>
              <a:gd name="connsiteY15" fmla="*/ 4 h 12137"/>
              <a:gd name="connsiteX16" fmla="*/ 6577 w 12481"/>
              <a:gd name="connsiteY16" fmla="*/ 116 h 12137"/>
              <a:gd name="connsiteX0" fmla="*/ 6577 w 12484"/>
              <a:gd name="connsiteY0" fmla="*/ 116 h 12137"/>
              <a:gd name="connsiteX1" fmla="*/ 9226 w 12484"/>
              <a:gd name="connsiteY1" fmla="*/ 448 h 12137"/>
              <a:gd name="connsiteX2" fmla="*/ 12202 w 12484"/>
              <a:gd name="connsiteY2" fmla="*/ 806 h 12137"/>
              <a:gd name="connsiteX3" fmla="*/ 12247 w 12484"/>
              <a:gd name="connsiteY3" fmla="*/ 4832 h 12137"/>
              <a:gd name="connsiteX4" fmla="*/ 12309 w 12484"/>
              <a:gd name="connsiteY4" fmla="*/ 7885 h 12137"/>
              <a:gd name="connsiteX5" fmla="*/ 12279 w 12484"/>
              <a:gd name="connsiteY5" fmla="*/ 11359 h 12137"/>
              <a:gd name="connsiteX6" fmla="*/ 9656 w 12484"/>
              <a:gd name="connsiteY6" fmla="*/ 12136 h 12137"/>
              <a:gd name="connsiteX7" fmla="*/ 6215 w 12484"/>
              <a:gd name="connsiteY7" fmla="*/ 11446 h 12137"/>
              <a:gd name="connsiteX8" fmla="*/ 2971 w 12484"/>
              <a:gd name="connsiteY8" fmla="*/ 8693 h 12137"/>
              <a:gd name="connsiteX9" fmla="*/ 1638 w 12484"/>
              <a:gd name="connsiteY9" fmla="*/ 6762 h 12137"/>
              <a:gd name="connsiteX10" fmla="*/ 452 w 12484"/>
              <a:gd name="connsiteY10" fmla="*/ 4476 h 12137"/>
              <a:gd name="connsiteX11" fmla="*/ 102 w 12484"/>
              <a:gd name="connsiteY11" fmla="*/ 3349 h 12137"/>
              <a:gd name="connsiteX12" fmla="*/ 34 w 12484"/>
              <a:gd name="connsiteY12" fmla="*/ 1981 h 12137"/>
              <a:gd name="connsiteX13" fmla="*/ 757 w 12484"/>
              <a:gd name="connsiteY13" fmla="*/ 799 h 12137"/>
              <a:gd name="connsiteX14" fmla="*/ 2220 w 12484"/>
              <a:gd name="connsiteY14" fmla="*/ 176 h 12137"/>
              <a:gd name="connsiteX15" fmla="*/ 4408 w 12484"/>
              <a:gd name="connsiteY15" fmla="*/ 4 h 12137"/>
              <a:gd name="connsiteX16" fmla="*/ 6577 w 12484"/>
              <a:gd name="connsiteY16" fmla="*/ 116 h 12137"/>
              <a:gd name="connsiteX0" fmla="*/ 6577 w 12492"/>
              <a:gd name="connsiteY0" fmla="*/ 116 h 12137"/>
              <a:gd name="connsiteX1" fmla="*/ 9226 w 12492"/>
              <a:gd name="connsiteY1" fmla="*/ 448 h 12137"/>
              <a:gd name="connsiteX2" fmla="*/ 12202 w 12492"/>
              <a:gd name="connsiteY2" fmla="*/ 806 h 12137"/>
              <a:gd name="connsiteX3" fmla="*/ 12247 w 12492"/>
              <a:gd name="connsiteY3" fmla="*/ 4832 h 12137"/>
              <a:gd name="connsiteX4" fmla="*/ 12330 w 12492"/>
              <a:gd name="connsiteY4" fmla="*/ 7260 h 12137"/>
              <a:gd name="connsiteX5" fmla="*/ 12279 w 12492"/>
              <a:gd name="connsiteY5" fmla="*/ 11359 h 12137"/>
              <a:gd name="connsiteX6" fmla="*/ 9656 w 12492"/>
              <a:gd name="connsiteY6" fmla="*/ 12136 h 12137"/>
              <a:gd name="connsiteX7" fmla="*/ 6215 w 12492"/>
              <a:gd name="connsiteY7" fmla="*/ 11446 h 12137"/>
              <a:gd name="connsiteX8" fmla="*/ 2971 w 12492"/>
              <a:gd name="connsiteY8" fmla="*/ 8693 h 12137"/>
              <a:gd name="connsiteX9" fmla="*/ 1638 w 12492"/>
              <a:gd name="connsiteY9" fmla="*/ 6762 h 12137"/>
              <a:gd name="connsiteX10" fmla="*/ 452 w 12492"/>
              <a:gd name="connsiteY10" fmla="*/ 4476 h 12137"/>
              <a:gd name="connsiteX11" fmla="*/ 102 w 12492"/>
              <a:gd name="connsiteY11" fmla="*/ 3349 h 12137"/>
              <a:gd name="connsiteX12" fmla="*/ 34 w 12492"/>
              <a:gd name="connsiteY12" fmla="*/ 1981 h 12137"/>
              <a:gd name="connsiteX13" fmla="*/ 757 w 12492"/>
              <a:gd name="connsiteY13" fmla="*/ 799 h 12137"/>
              <a:gd name="connsiteX14" fmla="*/ 2220 w 12492"/>
              <a:gd name="connsiteY14" fmla="*/ 176 h 12137"/>
              <a:gd name="connsiteX15" fmla="*/ 4408 w 12492"/>
              <a:gd name="connsiteY15" fmla="*/ 4 h 12137"/>
              <a:gd name="connsiteX16" fmla="*/ 6577 w 12492"/>
              <a:gd name="connsiteY16" fmla="*/ 116 h 12137"/>
              <a:gd name="connsiteX0" fmla="*/ 6577 w 12484"/>
              <a:gd name="connsiteY0" fmla="*/ 116 h 12137"/>
              <a:gd name="connsiteX1" fmla="*/ 9226 w 12484"/>
              <a:gd name="connsiteY1" fmla="*/ 448 h 12137"/>
              <a:gd name="connsiteX2" fmla="*/ 12202 w 12484"/>
              <a:gd name="connsiteY2" fmla="*/ 806 h 12137"/>
              <a:gd name="connsiteX3" fmla="*/ 12247 w 12484"/>
              <a:gd name="connsiteY3" fmla="*/ 4832 h 12137"/>
              <a:gd name="connsiteX4" fmla="*/ 12309 w 12484"/>
              <a:gd name="connsiteY4" fmla="*/ 7944 h 12137"/>
              <a:gd name="connsiteX5" fmla="*/ 12279 w 12484"/>
              <a:gd name="connsiteY5" fmla="*/ 11359 h 12137"/>
              <a:gd name="connsiteX6" fmla="*/ 9656 w 12484"/>
              <a:gd name="connsiteY6" fmla="*/ 12136 h 12137"/>
              <a:gd name="connsiteX7" fmla="*/ 6215 w 12484"/>
              <a:gd name="connsiteY7" fmla="*/ 11446 h 12137"/>
              <a:gd name="connsiteX8" fmla="*/ 2971 w 12484"/>
              <a:gd name="connsiteY8" fmla="*/ 8693 h 12137"/>
              <a:gd name="connsiteX9" fmla="*/ 1638 w 12484"/>
              <a:gd name="connsiteY9" fmla="*/ 6762 h 12137"/>
              <a:gd name="connsiteX10" fmla="*/ 452 w 12484"/>
              <a:gd name="connsiteY10" fmla="*/ 4476 h 12137"/>
              <a:gd name="connsiteX11" fmla="*/ 102 w 12484"/>
              <a:gd name="connsiteY11" fmla="*/ 3349 h 12137"/>
              <a:gd name="connsiteX12" fmla="*/ 34 w 12484"/>
              <a:gd name="connsiteY12" fmla="*/ 1981 h 12137"/>
              <a:gd name="connsiteX13" fmla="*/ 757 w 12484"/>
              <a:gd name="connsiteY13" fmla="*/ 799 h 12137"/>
              <a:gd name="connsiteX14" fmla="*/ 2220 w 12484"/>
              <a:gd name="connsiteY14" fmla="*/ 176 h 12137"/>
              <a:gd name="connsiteX15" fmla="*/ 4408 w 12484"/>
              <a:gd name="connsiteY15" fmla="*/ 4 h 12137"/>
              <a:gd name="connsiteX16" fmla="*/ 6577 w 12484"/>
              <a:gd name="connsiteY16" fmla="*/ 116 h 12137"/>
              <a:gd name="connsiteX0" fmla="*/ 6577 w 12321"/>
              <a:gd name="connsiteY0" fmla="*/ 116 h 12137"/>
              <a:gd name="connsiteX1" fmla="*/ 9226 w 12321"/>
              <a:gd name="connsiteY1" fmla="*/ 448 h 12137"/>
              <a:gd name="connsiteX2" fmla="*/ 12202 w 12321"/>
              <a:gd name="connsiteY2" fmla="*/ 806 h 12137"/>
              <a:gd name="connsiteX3" fmla="*/ 12247 w 12321"/>
              <a:gd name="connsiteY3" fmla="*/ 4832 h 12137"/>
              <a:gd name="connsiteX4" fmla="*/ 12309 w 12321"/>
              <a:gd name="connsiteY4" fmla="*/ 7944 h 12137"/>
              <a:gd name="connsiteX5" fmla="*/ 12279 w 12321"/>
              <a:gd name="connsiteY5" fmla="*/ 11359 h 12137"/>
              <a:gd name="connsiteX6" fmla="*/ 9656 w 12321"/>
              <a:gd name="connsiteY6" fmla="*/ 12136 h 12137"/>
              <a:gd name="connsiteX7" fmla="*/ 6215 w 12321"/>
              <a:gd name="connsiteY7" fmla="*/ 11446 h 12137"/>
              <a:gd name="connsiteX8" fmla="*/ 2971 w 12321"/>
              <a:gd name="connsiteY8" fmla="*/ 8693 h 12137"/>
              <a:gd name="connsiteX9" fmla="*/ 1638 w 12321"/>
              <a:gd name="connsiteY9" fmla="*/ 6762 h 12137"/>
              <a:gd name="connsiteX10" fmla="*/ 452 w 12321"/>
              <a:gd name="connsiteY10" fmla="*/ 4476 h 12137"/>
              <a:gd name="connsiteX11" fmla="*/ 102 w 12321"/>
              <a:gd name="connsiteY11" fmla="*/ 3349 h 12137"/>
              <a:gd name="connsiteX12" fmla="*/ 34 w 12321"/>
              <a:gd name="connsiteY12" fmla="*/ 1981 h 12137"/>
              <a:gd name="connsiteX13" fmla="*/ 757 w 12321"/>
              <a:gd name="connsiteY13" fmla="*/ 799 h 12137"/>
              <a:gd name="connsiteX14" fmla="*/ 2220 w 12321"/>
              <a:gd name="connsiteY14" fmla="*/ 176 h 12137"/>
              <a:gd name="connsiteX15" fmla="*/ 4408 w 12321"/>
              <a:gd name="connsiteY15" fmla="*/ 4 h 12137"/>
              <a:gd name="connsiteX16" fmla="*/ 6577 w 12321"/>
              <a:gd name="connsiteY16" fmla="*/ 116 h 12137"/>
              <a:gd name="connsiteX0" fmla="*/ 6577 w 12336"/>
              <a:gd name="connsiteY0" fmla="*/ 116 h 12137"/>
              <a:gd name="connsiteX1" fmla="*/ 9226 w 12336"/>
              <a:gd name="connsiteY1" fmla="*/ 448 h 12137"/>
              <a:gd name="connsiteX2" fmla="*/ 12202 w 12336"/>
              <a:gd name="connsiteY2" fmla="*/ 806 h 12137"/>
              <a:gd name="connsiteX3" fmla="*/ 12247 w 12336"/>
              <a:gd name="connsiteY3" fmla="*/ 4832 h 12137"/>
              <a:gd name="connsiteX4" fmla="*/ 12309 w 12336"/>
              <a:gd name="connsiteY4" fmla="*/ 7944 h 12137"/>
              <a:gd name="connsiteX5" fmla="*/ 12279 w 12336"/>
              <a:gd name="connsiteY5" fmla="*/ 11359 h 12137"/>
              <a:gd name="connsiteX6" fmla="*/ 9656 w 12336"/>
              <a:gd name="connsiteY6" fmla="*/ 12136 h 12137"/>
              <a:gd name="connsiteX7" fmla="*/ 6215 w 12336"/>
              <a:gd name="connsiteY7" fmla="*/ 11446 h 12137"/>
              <a:gd name="connsiteX8" fmla="*/ 2971 w 12336"/>
              <a:gd name="connsiteY8" fmla="*/ 8693 h 12137"/>
              <a:gd name="connsiteX9" fmla="*/ 1638 w 12336"/>
              <a:gd name="connsiteY9" fmla="*/ 6762 h 12137"/>
              <a:gd name="connsiteX10" fmla="*/ 452 w 12336"/>
              <a:gd name="connsiteY10" fmla="*/ 4476 h 12137"/>
              <a:gd name="connsiteX11" fmla="*/ 102 w 12336"/>
              <a:gd name="connsiteY11" fmla="*/ 3349 h 12137"/>
              <a:gd name="connsiteX12" fmla="*/ 34 w 12336"/>
              <a:gd name="connsiteY12" fmla="*/ 1981 h 12137"/>
              <a:gd name="connsiteX13" fmla="*/ 757 w 12336"/>
              <a:gd name="connsiteY13" fmla="*/ 799 h 12137"/>
              <a:gd name="connsiteX14" fmla="*/ 2220 w 12336"/>
              <a:gd name="connsiteY14" fmla="*/ 176 h 12137"/>
              <a:gd name="connsiteX15" fmla="*/ 4408 w 12336"/>
              <a:gd name="connsiteY15" fmla="*/ 4 h 12137"/>
              <a:gd name="connsiteX16" fmla="*/ 6577 w 12336"/>
              <a:gd name="connsiteY16" fmla="*/ 116 h 12137"/>
              <a:gd name="connsiteX0" fmla="*/ 6577 w 12358"/>
              <a:gd name="connsiteY0" fmla="*/ 116 h 12137"/>
              <a:gd name="connsiteX1" fmla="*/ 9226 w 12358"/>
              <a:gd name="connsiteY1" fmla="*/ 448 h 12137"/>
              <a:gd name="connsiteX2" fmla="*/ 12202 w 12358"/>
              <a:gd name="connsiteY2" fmla="*/ 806 h 12137"/>
              <a:gd name="connsiteX3" fmla="*/ 12247 w 12358"/>
              <a:gd name="connsiteY3" fmla="*/ 4832 h 12137"/>
              <a:gd name="connsiteX4" fmla="*/ 12309 w 12358"/>
              <a:gd name="connsiteY4" fmla="*/ 7944 h 12137"/>
              <a:gd name="connsiteX5" fmla="*/ 12279 w 12358"/>
              <a:gd name="connsiteY5" fmla="*/ 11359 h 12137"/>
              <a:gd name="connsiteX6" fmla="*/ 9656 w 12358"/>
              <a:gd name="connsiteY6" fmla="*/ 12136 h 12137"/>
              <a:gd name="connsiteX7" fmla="*/ 6215 w 12358"/>
              <a:gd name="connsiteY7" fmla="*/ 11446 h 12137"/>
              <a:gd name="connsiteX8" fmla="*/ 2971 w 12358"/>
              <a:gd name="connsiteY8" fmla="*/ 8693 h 12137"/>
              <a:gd name="connsiteX9" fmla="*/ 1638 w 12358"/>
              <a:gd name="connsiteY9" fmla="*/ 6762 h 12137"/>
              <a:gd name="connsiteX10" fmla="*/ 452 w 12358"/>
              <a:gd name="connsiteY10" fmla="*/ 4476 h 12137"/>
              <a:gd name="connsiteX11" fmla="*/ 102 w 12358"/>
              <a:gd name="connsiteY11" fmla="*/ 3349 h 12137"/>
              <a:gd name="connsiteX12" fmla="*/ 34 w 12358"/>
              <a:gd name="connsiteY12" fmla="*/ 1981 h 12137"/>
              <a:gd name="connsiteX13" fmla="*/ 757 w 12358"/>
              <a:gd name="connsiteY13" fmla="*/ 799 h 12137"/>
              <a:gd name="connsiteX14" fmla="*/ 2220 w 12358"/>
              <a:gd name="connsiteY14" fmla="*/ 176 h 12137"/>
              <a:gd name="connsiteX15" fmla="*/ 4408 w 12358"/>
              <a:gd name="connsiteY15" fmla="*/ 4 h 12137"/>
              <a:gd name="connsiteX16" fmla="*/ 6577 w 12358"/>
              <a:gd name="connsiteY16" fmla="*/ 116 h 12137"/>
              <a:gd name="connsiteX0" fmla="*/ 6577 w 12309"/>
              <a:gd name="connsiteY0" fmla="*/ 116 h 12137"/>
              <a:gd name="connsiteX1" fmla="*/ 9226 w 12309"/>
              <a:gd name="connsiteY1" fmla="*/ 448 h 12137"/>
              <a:gd name="connsiteX2" fmla="*/ 12202 w 12309"/>
              <a:gd name="connsiteY2" fmla="*/ 806 h 12137"/>
              <a:gd name="connsiteX3" fmla="*/ 12247 w 12309"/>
              <a:gd name="connsiteY3" fmla="*/ 4832 h 12137"/>
              <a:gd name="connsiteX4" fmla="*/ 12309 w 12309"/>
              <a:gd name="connsiteY4" fmla="*/ 7944 h 12137"/>
              <a:gd name="connsiteX5" fmla="*/ 12279 w 12309"/>
              <a:gd name="connsiteY5" fmla="*/ 11359 h 12137"/>
              <a:gd name="connsiteX6" fmla="*/ 9656 w 12309"/>
              <a:gd name="connsiteY6" fmla="*/ 12136 h 12137"/>
              <a:gd name="connsiteX7" fmla="*/ 6215 w 12309"/>
              <a:gd name="connsiteY7" fmla="*/ 11446 h 12137"/>
              <a:gd name="connsiteX8" fmla="*/ 2971 w 12309"/>
              <a:gd name="connsiteY8" fmla="*/ 8693 h 12137"/>
              <a:gd name="connsiteX9" fmla="*/ 1638 w 12309"/>
              <a:gd name="connsiteY9" fmla="*/ 6762 h 12137"/>
              <a:gd name="connsiteX10" fmla="*/ 452 w 12309"/>
              <a:gd name="connsiteY10" fmla="*/ 4476 h 12137"/>
              <a:gd name="connsiteX11" fmla="*/ 102 w 12309"/>
              <a:gd name="connsiteY11" fmla="*/ 3349 h 12137"/>
              <a:gd name="connsiteX12" fmla="*/ 34 w 12309"/>
              <a:gd name="connsiteY12" fmla="*/ 1981 h 12137"/>
              <a:gd name="connsiteX13" fmla="*/ 757 w 12309"/>
              <a:gd name="connsiteY13" fmla="*/ 799 h 12137"/>
              <a:gd name="connsiteX14" fmla="*/ 2220 w 12309"/>
              <a:gd name="connsiteY14" fmla="*/ 176 h 12137"/>
              <a:gd name="connsiteX15" fmla="*/ 4408 w 12309"/>
              <a:gd name="connsiteY15" fmla="*/ 4 h 12137"/>
              <a:gd name="connsiteX16" fmla="*/ 6577 w 12309"/>
              <a:gd name="connsiteY16" fmla="*/ 116 h 12137"/>
              <a:gd name="connsiteX0" fmla="*/ 6577 w 12471"/>
              <a:gd name="connsiteY0" fmla="*/ 116 h 12137"/>
              <a:gd name="connsiteX1" fmla="*/ 9226 w 12471"/>
              <a:gd name="connsiteY1" fmla="*/ 448 h 12137"/>
              <a:gd name="connsiteX2" fmla="*/ 12202 w 12471"/>
              <a:gd name="connsiteY2" fmla="*/ 806 h 12137"/>
              <a:gd name="connsiteX3" fmla="*/ 12247 w 12471"/>
              <a:gd name="connsiteY3" fmla="*/ 4832 h 12137"/>
              <a:gd name="connsiteX4" fmla="*/ 12272 w 12471"/>
              <a:gd name="connsiteY4" fmla="*/ 8153 h 12137"/>
              <a:gd name="connsiteX5" fmla="*/ 12279 w 12471"/>
              <a:gd name="connsiteY5" fmla="*/ 11359 h 12137"/>
              <a:gd name="connsiteX6" fmla="*/ 9656 w 12471"/>
              <a:gd name="connsiteY6" fmla="*/ 12136 h 12137"/>
              <a:gd name="connsiteX7" fmla="*/ 6215 w 12471"/>
              <a:gd name="connsiteY7" fmla="*/ 11446 h 12137"/>
              <a:gd name="connsiteX8" fmla="*/ 2971 w 12471"/>
              <a:gd name="connsiteY8" fmla="*/ 8693 h 12137"/>
              <a:gd name="connsiteX9" fmla="*/ 1638 w 12471"/>
              <a:gd name="connsiteY9" fmla="*/ 6762 h 12137"/>
              <a:gd name="connsiteX10" fmla="*/ 452 w 12471"/>
              <a:gd name="connsiteY10" fmla="*/ 4476 h 12137"/>
              <a:gd name="connsiteX11" fmla="*/ 102 w 12471"/>
              <a:gd name="connsiteY11" fmla="*/ 3349 h 12137"/>
              <a:gd name="connsiteX12" fmla="*/ 34 w 12471"/>
              <a:gd name="connsiteY12" fmla="*/ 1981 h 12137"/>
              <a:gd name="connsiteX13" fmla="*/ 757 w 12471"/>
              <a:gd name="connsiteY13" fmla="*/ 799 h 12137"/>
              <a:gd name="connsiteX14" fmla="*/ 2220 w 12471"/>
              <a:gd name="connsiteY14" fmla="*/ 176 h 12137"/>
              <a:gd name="connsiteX15" fmla="*/ 4408 w 12471"/>
              <a:gd name="connsiteY15" fmla="*/ 4 h 12137"/>
              <a:gd name="connsiteX16" fmla="*/ 6577 w 12471"/>
              <a:gd name="connsiteY16" fmla="*/ 116 h 12137"/>
              <a:gd name="connsiteX0" fmla="*/ 6577 w 12289"/>
              <a:gd name="connsiteY0" fmla="*/ 116 h 12137"/>
              <a:gd name="connsiteX1" fmla="*/ 9226 w 12289"/>
              <a:gd name="connsiteY1" fmla="*/ 448 h 12137"/>
              <a:gd name="connsiteX2" fmla="*/ 12202 w 12289"/>
              <a:gd name="connsiteY2" fmla="*/ 806 h 12137"/>
              <a:gd name="connsiteX3" fmla="*/ 12247 w 12289"/>
              <a:gd name="connsiteY3" fmla="*/ 4832 h 12137"/>
              <a:gd name="connsiteX4" fmla="*/ 12272 w 12289"/>
              <a:gd name="connsiteY4" fmla="*/ 8153 h 12137"/>
              <a:gd name="connsiteX5" fmla="*/ 12279 w 12289"/>
              <a:gd name="connsiteY5" fmla="*/ 11359 h 12137"/>
              <a:gd name="connsiteX6" fmla="*/ 9656 w 12289"/>
              <a:gd name="connsiteY6" fmla="*/ 12136 h 12137"/>
              <a:gd name="connsiteX7" fmla="*/ 6215 w 12289"/>
              <a:gd name="connsiteY7" fmla="*/ 11446 h 12137"/>
              <a:gd name="connsiteX8" fmla="*/ 2971 w 12289"/>
              <a:gd name="connsiteY8" fmla="*/ 8693 h 12137"/>
              <a:gd name="connsiteX9" fmla="*/ 1638 w 12289"/>
              <a:gd name="connsiteY9" fmla="*/ 6762 h 12137"/>
              <a:gd name="connsiteX10" fmla="*/ 452 w 12289"/>
              <a:gd name="connsiteY10" fmla="*/ 4476 h 12137"/>
              <a:gd name="connsiteX11" fmla="*/ 102 w 12289"/>
              <a:gd name="connsiteY11" fmla="*/ 3349 h 12137"/>
              <a:gd name="connsiteX12" fmla="*/ 34 w 12289"/>
              <a:gd name="connsiteY12" fmla="*/ 1981 h 12137"/>
              <a:gd name="connsiteX13" fmla="*/ 757 w 12289"/>
              <a:gd name="connsiteY13" fmla="*/ 799 h 12137"/>
              <a:gd name="connsiteX14" fmla="*/ 2220 w 12289"/>
              <a:gd name="connsiteY14" fmla="*/ 176 h 12137"/>
              <a:gd name="connsiteX15" fmla="*/ 4408 w 12289"/>
              <a:gd name="connsiteY15" fmla="*/ 4 h 12137"/>
              <a:gd name="connsiteX16" fmla="*/ 6577 w 12289"/>
              <a:gd name="connsiteY16" fmla="*/ 116 h 12137"/>
              <a:gd name="connsiteX0" fmla="*/ 6577 w 12290"/>
              <a:gd name="connsiteY0" fmla="*/ 116 h 12137"/>
              <a:gd name="connsiteX1" fmla="*/ 9226 w 12290"/>
              <a:gd name="connsiteY1" fmla="*/ 448 h 12137"/>
              <a:gd name="connsiteX2" fmla="*/ 12202 w 12290"/>
              <a:gd name="connsiteY2" fmla="*/ 806 h 12137"/>
              <a:gd name="connsiteX3" fmla="*/ 12247 w 12290"/>
              <a:gd name="connsiteY3" fmla="*/ 4832 h 12137"/>
              <a:gd name="connsiteX4" fmla="*/ 12272 w 12290"/>
              <a:gd name="connsiteY4" fmla="*/ 8153 h 12137"/>
              <a:gd name="connsiteX5" fmla="*/ 12279 w 12290"/>
              <a:gd name="connsiteY5" fmla="*/ 11359 h 12137"/>
              <a:gd name="connsiteX6" fmla="*/ 9656 w 12290"/>
              <a:gd name="connsiteY6" fmla="*/ 12136 h 12137"/>
              <a:gd name="connsiteX7" fmla="*/ 6215 w 12290"/>
              <a:gd name="connsiteY7" fmla="*/ 11446 h 12137"/>
              <a:gd name="connsiteX8" fmla="*/ 2971 w 12290"/>
              <a:gd name="connsiteY8" fmla="*/ 8693 h 12137"/>
              <a:gd name="connsiteX9" fmla="*/ 1638 w 12290"/>
              <a:gd name="connsiteY9" fmla="*/ 6762 h 12137"/>
              <a:gd name="connsiteX10" fmla="*/ 452 w 12290"/>
              <a:gd name="connsiteY10" fmla="*/ 4476 h 12137"/>
              <a:gd name="connsiteX11" fmla="*/ 102 w 12290"/>
              <a:gd name="connsiteY11" fmla="*/ 3349 h 12137"/>
              <a:gd name="connsiteX12" fmla="*/ 34 w 12290"/>
              <a:gd name="connsiteY12" fmla="*/ 1981 h 12137"/>
              <a:gd name="connsiteX13" fmla="*/ 757 w 12290"/>
              <a:gd name="connsiteY13" fmla="*/ 799 h 12137"/>
              <a:gd name="connsiteX14" fmla="*/ 2220 w 12290"/>
              <a:gd name="connsiteY14" fmla="*/ 176 h 12137"/>
              <a:gd name="connsiteX15" fmla="*/ 4408 w 12290"/>
              <a:gd name="connsiteY15" fmla="*/ 4 h 12137"/>
              <a:gd name="connsiteX16" fmla="*/ 6577 w 12290"/>
              <a:gd name="connsiteY16" fmla="*/ 116 h 12137"/>
              <a:gd name="connsiteX0" fmla="*/ 6577 w 12291"/>
              <a:gd name="connsiteY0" fmla="*/ 116 h 12137"/>
              <a:gd name="connsiteX1" fmla="*/ 9226 w 12291"/>
              <a:gd name="connsiteY1" fmla="*/ 448 h 12137"/>
              <a:gd name="connsiteX2" fmla="*/ 12202 w 12291"/>
              <a:gd name="connsiteY2" fmla="*/ 806 h 12137"/>
              <a:gd name="connsiteX3" fmla="*/ 12247 w 12291"/>
              <a:gd name="connsiteY3" fmla="*/ 4832 h 12137"/>
              <a:gd name="connsiteX4" fmla="*/ 12272 w 12291"/>
              <a:gd name="connsiteY4" fmla="*/ 8153 h 12137"/>
              <a:gd name="connsiteX5" fmla="*/ 12279 w 12291"/>
              <a:gd name="connsiteY5" fmla="*/ 11359 h 12137"/>
              <a:gd name="connsiteX6" fmla="*/ 9656 w 12291"/>
              <a:gd name="connsiteY6" fmla="*/ 12136 h 12137"/>
              <a:gd name="connsiteX7" fmla="*/ 6215 w 12291"/>
              <a:gd name="connsiteY7" fmla="*/ 11446 h 12137"/>
              <a:gd name="connsiteX8" fmla="*/ 2971 w 12291"/>
              <a:gd name="connsiteY8" fmla="*/ 8693 h 12137"/>
              <a:gd name="connsiteX9" fmla="*/ 1638 w 12291"/>
              <a:gd name="connsiteY9" fmla="*/ 6762 h 12137"/>
              <a:gd name="connsiteX10" fmla="*/ 452 w 12291"/>
              <a:gd name="connsiteY10" fmla="*/ 4476 h 12137"/>
              <a:gd name="connsiteX11" fmla="*/ 102 w 12291"/>
              <a:gd name="connsiteY11" fmla="*/ 3349 h 12137"/>
              <a:gd name="connsiteX12" fmla="*/ 34 w 12291"/>
              <a:gd name="connsiteY12" fmla="*/ 1981 h 12137"/>
              <a:gd name="connsiteX13" fmla="*/ 757 w 12291"/>
              <a:gd name="connsiteY13" fmla="*/ 799 h 12137"/>
              <a:gd name="connsiteX14" fmla="*/ 2220 w 12291"/>
              <a:gd name="connsiteY14" fmla="*/ 176 h 12137"/>
              <a:gd name="connsiteX15" fmla="*/ 4408 w 12291"/>
              <a:gd name="connsiteY15" fmla="*/ 4 h 12137"/>
              <a:gd name="connsiteX16" fmla="*/ 6577 w 12291"/>
              <a:gd name="connsiteY16" fmla="*/ 116 h 12137"/>
              <a:gd name="connsiteX0" fmla="*/ 6577 w 12294"/>
              <a:gd name="connsiteY0" fmla="*/ 116 h 12137"/>
              <a:gd name="connsiteX1" fmla="*/ 9226 w 12294"/>
              <a:gd name="connsiteY1" fmla="*/ 448 h 12137"/>
              <a:gd name="connsiteX2" fmla="*/ 12202 w 12294"/>
              <a:gd name="connsiteY2" fmla="*/ 806 h 12137"/>
              <a:gd name="connsiteX3" fmla="*/ 12247 w 12294"/>
              <a:gd name="connsiteY3" fmla="*/ 4832 h 12137"/>
              <a:gd name="connsiteX4" fmla="*/ 12272 w 12294"/>
              <a:gd name="connsiteY4" fmla="*/ 8153 h 12137"/>
              <a:gd name="connsiteX5" fmla="*/ 12279 w 12294"/>
              <a:gd name="connsiteY5" fmla="*/ 11359 h 12137"/>
              <a:gd name="connsiteX6" fmla="*/ 9656 w 12294"/>
              <a:gd name="connsiteY6" fmla="*/ 12136 h 12137"/>
              <a:gd name="connsiteX7" fmla="*/ 6215 w 12294"/>
              <a:gd name="connsiteY7" fmla="*/ 11446 h 12137"/>
              <a:gd name="connsiteX8" fmla="*/ 2971 w 12294"/>
              <a:gd name="connsiteY8" fmla="*/ 8693 h 12137"/>
              <a:gd name="connsiteX9" fmla="*/ 1638 w 12294"/>
              <a:gd name="connsiteY9" fmla="*/ 6762 h 12137"/>
              <a:gd name="connsiteX10" fmla="*/ 452 w 12294"/>
              <a:gd name="connsiteY10" fmla="*/ 4476 h 12137"/>
              <a:gd name="connsiteX11" fmla="*/ 102 w 12294"/>
              <a:gd name="connsiteY11" fmla="*/ 3349 h 12137"/>
              <a:gd name="connsiteX12" fmla="*/ 34 w 12294"/>
              <a:gd name="connsiteY12" fmla="*/ 1981 h 12137"/>
              <a:gd name="connsiteX13" fmla="*/ 757 w 12294"/>
              <a:gd name="connsiteY13" fmla="*/ 799 h 12137"/>
              <a:gd name="connsiteX14" fmla="*/ 2220 w 12294"/>
              <a:gd name="connsiteY14" fmla="*/ 176 h 12137"/>
              <a:gd name="connsiteX15" fmla="*/ 4408 w 12294"/>
              <a:gd name="connsiteY15" fmla="*/ 4 h 12137"/>
              <a:gd name="connsiteX16" fmla="*/ 6577 w 12294"/>
              <a:gd name="connsiteY16" fmla="*/ 116 h 12137"/>
              <a:gd name="connsiteX0" fmla="*/ 6577 w 12294"/>
              <a:gd name="connsiteY0" fmla="*/ 116 h 12137"/>
              <a:gd name="connsiteX1" fmla="*/ 9226 w 12294"/>
              <a:gd name="connsiteY1" fmla="*/ 448 h 12137"/>
              <a:gd name="connsiteX2" fmla="*/ 12202 w 12294"/>
              <a:gd name="connsiteY2" fmla="*/ 806 h 12137"/>
              <a:gd name="connsiteX3" fmla="*/ 12247 w 12294"/>
              <a:gd name="connsiteY3" fmla="*/ 4832 h 12137"/>
              <a:gd name="connsiteX4" fmla="*/ 12272 w 12294"/>
              <a:gd name="connsiteY4" fmla="*/ 8153 h 12137"/>
              <a:gd name="connsiteX5" fmla="*/ 12279 w 12294"/>
              <a:gd name="connsiteY5" fmla="*/ 11359 h 12137"/>
              <a:gd name="connsiteX6" fmla="*/ 9656 w 12294"/>
              <a:gd name="connsiteY6" fmla="*/ 12136 h 12137"/>
              <a:gd name="connsiteX7" fmla="*/ 6215 w 12294"/>
              <a:gd name="connsiteY7" fmla="*/ 11446 h 12137"/>
              <a:gd name="connsiteX8" fmla="*/ 2971 w 12294"/>
              <a:gd name="connsiteY8" fmla="*/ 8693 h 12137"/>
              <a:gd name="connsiteX9" fmla="*/ 1638 w 12294"/>
              <a:gd name="connsiteY9" fmla="*/ 6762 h 12137"/>
              <a:gd name="connsiteX10" fmla="*/ 452 w 12294"/>
              <a:gd name="connsiteY10" fmla="*/ 4476 h 12137"/>
              <a:gd name="connsiteX11" fmla="*/ 102 w 12294"/>
              <a:gd name="connsiteY11" fmla="*/ 3349 h 12137"/>
              <a:gd name="connsiteX12" fmla="*/ 34 w 12294"/>
              <a:gd name="connsiteY12" fmla="*/ 1981 h 12137"/>
              <a:gd name="connsiteX13" fmla="*/ 757 w 12294"/>
              <a:gd name="connsiteY13" fmla="*/ 799 h 12137"/>
              <a:gd name="connsiteX14" fmla="*/ 2220 w 12294"/>
              <a:gd name="connsiteY14" fmla="*/ 176 h 12137"/>
              <a:gd name="connsiteX15" fmla="*/ 4408 w 12294"/>
              <a:gd name="connsiteY15" fmla="*/ 4 h 12137"/>
              <a:gd name="connsiteX16" fmla="*/ 6577 w 12294"/>
              <a:gd name="connsiteY16" fmla="*/ 116 h 12137"/>
              <a:gd name="connsiteX0" fmla="*/ 6577 w 12294"/>
              <a:gd name="connsiteY0" fmla="*/ 116 h 12137"/>
              <a:gd name="connsiteX1" fmla="*/ 9226 w 12294"/>
              <a:gd name="connsiteY1" fmla="*/ 448 h 12137"/>
              <a:gd name="connsiteX2" fmla="*/ 12202 w 12294"/>
              <a:gd name="connsiteY2" fmla="*/ 806 h 12137"/>
              <a:gd name="connsiteX3" fmla="*/ 12247 w 12294"/>
              <a:gd name="connsiteY3" fmla="*/ 4832 h 12137"/>
              <a:gd name="connsiteX4" fmla="*/ 12272 w 12294"/>
              <a:gd name="connsiteY4" fmla="*/ 8153 h 12137"/>
              <a:gd name="connsiteX5" fmla="*/ 12279 w 12294"/>
              <a:gd name="connsiteY5" fmla="*/ 11359 h 12137"/>
              <a:gd name="connsiteX6" fmla="*/ 9656 w 12294"/>
              <a:gd name="connsiteY6" fmla="*/ 12136 h 12137"/>
              <a:gd name="connsiteX7" fmla="*/ 6215 w 12294"/>
              <a:gd name="connsiteY7" fmla="*/ 11446 h 12137"/>
              <a:gd name="connsiteX8" fmla="*/ 2971 w 12294"/>
              <a:gd name="connsiteY8" fmla="*/ 8693 h 12137"/>
              <a:gd name="connsiteX9" fmla="*/ 1638 w 12294"/>
              <a:gd name="connsiteY9" fmla="*/ 6762 h 12137"/>
              <a:gd name="connsiteX10" fmla="*/ 452 w 12294"/>
              <a:gd name="connsiteY10" fmla="*/ 4476 h 12137"/>
              <a:gd name="connsiteX11" fmla="*/ 102 w 12294"/>
              <a:gd name="connsiteY11" fmla="*/ 3349 h 12137"/>
              <a:gd name="connsiteX12" fmla="*/ 34 w 12294"/>
              <a:gd name="connsiteY12" fmla="*/ 1981 h 12137"/>
              <a:gd name="connsiteX13" fmla="*/ 757 w 12294"/>
              <a:gd name="connsiteY13" fmla="*/ 799 h 12137"/>
              <a:gd name="connsiteX14" fmla="*/ 2220 w 12294"/>
              <a:gd name="connsiteY14" fmla="*/ 176 h 12137"/>
              <a:gd name="connsiteX15" fmla="*/ 4408 w 12294"/>
              <a:gd name="connsiteY15" fmla="*/ 4 h 12137"/>
              <a:gd name="connsiteX16" fmla="*/ 6577 w 12294"/>
              <a:gd name="connsiteY16" fmla="*/ 116 h 12137"/>
              <a:gd name="connsiteX0" fmla="*/ 6577 w 12294"/>
              <a:gd name="connsiteY0" fmla="*/ 116 h 12137"/>
              <a:gd name="connsiteX1" fmla="*/ 9226 w 12294"/>
              <a:gd name="connsiteY1" fmla="*/ 448 h 12137"/>
              <a:gd name="connsiteX2" fmla="*/ 12177 w 12294"/>
              <a:gd name="connsiteY2" fmla="*/ 866 h 12137"/>
              <a:gd name="connsiteX3" fmla="*/ 12247 w 12294"/>
              <a:gd name="connsiteY3" fmla="*/ 4832 h 12137"/>
              <a:gd name="connsiteX4" fmla="*/ 12272 w 12294"/>
              <a:gd name="connsiteY4" fmla="*/ 8153 h 12137"/>
              <a:gd name="connsiteX5" fmla="*/ 12279 w 12294"/>
              <a:gd name="connsiteY5" fmla="*/ 11359 h 12137"/>
              <a:gd name="connsiteX6" fmla="*/ 9656 w 12294"/>
              <a:gd name="connsiteY6" fmla="*/ 12136 h 12137"/>
              <a:gd name="connsiteX7" fmla="*/ 6215 w 12294"/>
              <a:gd name="connsiteY7" fmla="*/ 11446 h 12137"/>
              <a:gd name="connsiteX8" fmla="*/ 2971 w 12294"/>
              <a:gd name="connsiteY8" fmla="*/ 8693 h 12137"/>
              <a:gd name="connsiteX9" fmla="*/ 1638 w 12294"/>
              <a:gd name="connsiteY9" fmla="*/ 6762 h 12137"/>
              <a:gd name="connsiteX10" fmla="*/ 452 w 12294"/>
              <a:gd name="connsiteY10" fmla="*/ 4476 h 12137"/>
              <a:gd name="connsiteX11" fmla="*/ 102 w 12294"/>
              <a:gd name="connsiteY11" fmla="*/ 3349 h 12137"/>
              <a:gd name="connsiteX12" fmla="*/ 34 w 12294"/>
              <a:gd name="connsiteY12" fmla="*/ 1981 h 12137"/>
              <a:gd name="connsiteX13" fmla="*/ 757 w 12294"/>
              <a:gd name="connsiteY13" fmla="*/ 799 h 12137"/>
              <a:gd name="connsiteX14" fmla="*/ 2220 w 12294"/>
              <a:gd name="connsiteY14" fmla="*/ 176 h 12137"/>
              <a:gd name="connsiteX15" fmla="*/ 4408 w 12294"/>
              <a:gd name="connsiteY15" fmla="*/ 4 h 12137"/>
              <a:gd name="connsiteX16" fmla="*/ 6577 w 12294"/>
              <a:gd name="connsiteY16" fmla="*/ 116 h 12137"/>
              <a:gd name="connsiteX0" fmla="*/ 6577 w 12277"/>
              <a:gd name="connsiteY0" fmla="*/ 116 h 12136"/>
              <a:gd name="connsiteX1" fmla="*/ 9226 w 12277"/>
              <a:gd name="connsiteY1" fmla="*/ 448 h 12136"/>
              <a:gd name="connsiteX2" fmla="*/ 12177 w 12277"/>
              <a:gd name="connsiteY2" fmla="*/ 866 h 12136"/>
              <a:gd name="connsiteX3" fmla="*/ 12247 w 12277"/>
              <a:gd name="connsiteY3" fmla="*/ 4832 h 12136"/>
              <a:gd name="connsiteX4" fmla="*/ 12272 w 12277"/>
              <a:gd name="connsiteY4" fmla="*/ 8153 h 12136"/>
              <a:gd name="connsiteX5" fmla="*/ 12253 w 12277"/>
              <a:gd name="connsiteY5" fmla="*/ 11390 h 12136"/>
              <a:gd name="connsiteX6" fmla="*/ 9656 w 12277"/>
              <a:gd name="connsiteY6" fmla="*/ 12136 h 12136"/>
              <a:gd name="connsiteX7" fmla="*/ 6215 w 12277"/>
              <a:gd name="connsiteY7" fmla="*/ 11446 h 12136"/>
              <a:gd name="connsiteX8" fmla="*/ 2971 w 12277"/>
              <a:gd name="connsiteY8" fmla="*/ 8693 h 12136"/>
              <a:gd name="connsiteX9" fmla="*/ 1638 w 12277"/>
              <a:gd name="connsiteY9" fmla="*/ 6762 h 12136"/>
              <a:gd name="connsiteX10" fmla="*/ 452 w 12277"/>
              <a:gd name="connsiteY10" fmla="*/ 4476 h 12136"/>
              <a:gd name="connsiteX11" fmla="*/ 102 w 12277"/>
              <a:gd name="connsiteY11" fmla="*/ 3349 h 12136"/>
              <a:gd name="connsiteX12" fmla="*/ 34 w 12277"/>
              <a:gd name="connsiteY12" fmla="*/ 1981 h 12136"/>
              <a:gd name="connsiteX13" fmla="*/ 757 w 12277"/>
              <a:gd name="connsiteY13" fmla="*/ 799 h 12136"/>
              <a:gd name="connsiteX14" fmla="*/ 2220 w 12277"/>
              <a:gd name="connsiteY14" fmla="*/ 176 h 12136"/>
              <a:gd name="connsiteX15" fmla="*/ 4408 w 12277"/>
              <a:gd name="connsiteY15" fmla="*/ 4 h 12136"/>
              <a:gd name="connsiteX16" fmla="*/ 6577 w 12277"/>
              <a:gd name="connsiteY16" fmla="*/ 116 h 12136"/>
              <a:gd name="connsiteX0" fmla="*/ 6594 w 12294"/>
              <a:gd name="connsiteY0" fmla="*/ 116 h 12136"/>
              <a:gd name="connsiteX1" fmla="*/ 9243 w 12294"/>
              <a:gd name="connsiteY1" fmla="*/ 448 h 12136"/>
              <a:gd name="connsiteX2" fmla="*/ 12194 w 12294"/>
              <a:gd name="connsiteY2" fmla="*/ 866 h 12136"/>
              <a:gd name="connsiteX3" fmla="*/ 12264 w 12294"/>
              <a:gd name="connsiteY3" fmla="*/ 4832 h 12136"/>
              <a:gd name="connsiteX4" fmla="*/ 12289 w 12294"/>
              <a:gd name="connsiteY4" fmla="*/ 8153 h 12136"/>
              <a:gd name="connsiteX5" fmla="*/ 12270 w 12294"/>
              <a:gd name="connsiteY5" fmla="*/ 11390 h 12136"/>
              <a:gd name="connsiteX6" fmla="*/ 9673 w 12294"/>
              <a:gd name="connsiteY6" fmla="*/ 12136 h 12136"/>
              <a:gd name="connsiteX7" fmla="*/ 6232 w 12294"/>
              <a:gd name="connsiteY7" fmla="*/ 11446 h 12136"/>
              <a:gd name="connsiteX8" fmla="*/ 2988 w 12294"/>
              <a:gd name="connsiteY8" fmla="*/ 8693 h 12136"/>
              <a:gd name="connsiteX9" fmla="*/ 1655 w 12294"/>
              <a:gd name="connsiteY9" fmla="*/ 6762 h 12136"/>
              <a:gd name="connsiteX10" fmla="*/ 469 w 12294"/>
              <a:gd name="connsiteY10" fmla="*/ 4476 h 12136"/>
              <a:gd name="connsiteX11" fmla="*/ 119 w 12294"/>
              <a:gd name="connsiteY11" fmla="*/ 3349 h 12136"/>
              <a:gd name="connsiteX12" fmla="*/ 51 w 12294"/>
              <a:gd name="connsiteY12" fmla="*/ 1981 h 12136"/>
              <a:gd name="connsiteX13" fmla="*/ 774 w 12294"/>
              <a:gd name="connsiteY13" fmla="*/ 829 h 12136"/>
              <a:gd name="connsiteX14" fmla="*/ 2237 w 12294"/>
              <a:gd name="connsiteY14" fmla="*/ 176 h 12136"/>
              <a:gd name="connsiteX15" fmla="*/ 4425 w 12294"/>
              <a:gd name="connsiteY15" fmla="*/ 4 h 12136"/>
              <a:gd name="connsiteX16" fmla="*/ 6594 w 12294"/>
              <a:gd name="connsiteY16" fmla="*/ 116 h 12136"/>
              <a:gd name="connsiteX0" fmla="*/ 6577 w 12277"/>
              <a:gd name="connsiteY0" fmla="*/ 116 h 12136"/>
              <a:gd name="connsiteX1" fmla="*/ 9226 w 12277"/>
              <a:gd name="connsiteY1" fmla="*/ 448 h 12136"/>
              <a:gd name="connsiteX2" fmla="*/ 12177 w 12277"/>
              <a:gd name="connsiteY2" fmla="*/ 866 h 12136"/>
              <a:gd name="connsiteX3" fmla="*/ 12247 w 12277"/>
              <a:gd name="connsiteY3" fmla="*/ 4832 h 12136"/>
              <a:gd name="connsiteX4" fmla="*/ 12272 w 12277"/>
              <a:gd name="connsiteY4" fmla="*/ 8153 h 12136"/>
              <a:gd name="connsiteX5" fmla="*/ 12253 w 12277"/>
              <a:gd name="connsiteY5" fmla="*/ 11390 h 12136"/>
              <a:gd name="connsiteX6" fmla="*/ 9656 w 12277"/>
              <a:gd name="connsiteY6" fmla="*/ 12136 h 12136"/>
              <a:gd name="connsiteX7" fmla="*/ 6215 w 12277"/>
              <a:gd name="connsiteY7" fmla="*/ 11446 h 12136"/>
              <a:gd name="connsiteX8" fmla="*/ 2971 w 12277"/>
              <a:gd name="connsiteY8" fmla="*/ 8693 h 12136"/>
              <a:gd name="connsiteX9" fmla="*/ 1638 w 12277"/>
              <a:gd name="connsiteY9" fmla="*/ 6762 h 12136"/>
              <a:gd name="connsiteX10" fmla="*/ 452 w 12277"/>
              <a:gd name="connsiteY10" fmla="*/ 4476 h 12136"/>
              <a:gd name="connsiteX11" fmla="*/ 102 w 12277"/>
              <a:gd name="connsiteY11" fmla="*/ 3349 h 12136"/>
              <a:gd name="connsiteX12" fmla="*/ 60 w 12277"/>
              <a:gd name="connsiteY12" fmla="*/ 1950 h 12136"/>
              <a:gd name="connsiteX13" fmla="*/ 757 w 12277"/>
              <a:gd name="connsiteY13" fmla="*/ 829 h 12136"/>
              <a:gd name="connsiteX14" fmla="*/ 2220 w 12277"/>
              <a:gd name="connsiteY14" fmla="*/ 176 h 12136"/>
              <a:gd name="connsiteX15" fmla="*/ 4408 w 12277"/>
              <a:gd name="connsiteY15" fmla="*/ 4 h 12136"/>
              <a:gd name="connsiteX16" fmla="*/ 6577 w 12277"/>
              <a:gd name="connsiteY16" fmla="*/ 116 h 12136"/>
              <a:gd name="connsiteX0" fmla="*/ 6577 w 12277"/>
              <a:gd name="connsiteY0" fmla="*/ 114 h 12134"/>
              <a:gd name="connsiteX1" fmla="*/ 9226 w 12277"/>
              <a:gd name="connsiteY1" fmla="*/ 446 h 12134"/>
              <a:gd name="connsiteX2" fmla="*/ 12177 w 12277"/>
              <a:gd name="connsiteY2" fmla="*/ 864 h 12134"/>
              <a:gd name="connsiteX3" fmla="*/ 12247 w 12277"/>
              <a:gd name="connsiteY3" fmla="*/ 4830 h 12134"/>
              <a:gd name="connsiteX4" fmla="*/ 12272 w 12277"/>
              <a:gd name="connsiteY4" fmla="*/ 8151 h 12134"/>
              <a:gd name="connsiteX5" fmla="*/ 12253 w 12277"/>
              <a:gd name="connsiteY5" fmla="*/ 11388 h 12134"/>
              <a:gd name="connsiteX6" fmla="*/ 9656 w 12277"/>
              <a:gd name="connsiteY6" fmla="*/ 12134 h 12134"/>
              <a:gd name="connsiteX7" fmla="*/ 6215 w 12277"/>
              <a:gd name="connsiteY7" fmla="*/ 11444 h 12134"/>
              <a:gd name="connsiteX8" fmla="*/ 2971 w 12277"/>
              <a:gd name="connsiteY8" fmla="*/ 8691 h 12134"/>
              <a:gd name="connsiteX9" fmla="*/ 1638 w 12277"/>
              <a:gd name="connsiteY9" fmla="*/ 6760 h 12134"/>
              <a:gd name="connsiteX10" fmla="*/ 452 w 12277"/>
              <a:gd name="connsiteY10" fmla="*/ 4474 h 12134"/>
              <a:gd name="connsiteX11" fmla="*/ 102 w 12277"/>
              <a:gd name="connsiteY11" fmla="*/ 3347 h 12134"/>
              <a:gd name="connsiteX12" fmla="*/ 60 w 12277"/>
              <a:gd name="connsiteY12" fmla="*/ 1948 h 12134"/>
              <a:gd name="connsiteX13" fmla="*/ 757 w 12277"/>
              <a:gd name="connsiteY13" fmla="*/ 827 h 12134"/>
              <a:gd name="connsiteX14" fmla="*/ 2220 w 12277"/>
              <a:gd name="connsiteY14" fmla="*/ 233 h 12134"/>
              <a:gd name="connsiteX15" fmla="*/ 4408 w 12277"/>
              <a:gd name="connsiteY15" fmla="*/ 2 h 12134"/>
              <a:gd name="connsiteX16" fmla="*/ 6577 w 12277"/>
              <a:gd name="connsiteY16" fmla="*/ 114 h 12134"/>
              <a:gd name="connsiteX0" fmla="*/ 6577 w 12277"/>
              <a:gd name="connsiteY0" fmla="*/ 114 h 12135"/>
              <a:gd name="connsiteX1" fmla="*/ 9226 w 12277"/>
              <a:gd name="connsiteY1" fmla="*/ 446 h 12135"/>
              <a:gd name="connsiteX2" fmla="*/ 12177 w 12277"/>
              <a:gd name="connsiteY2" fmla="*/ 864 h 12135"/>
              <a:gd name="connsiteX3" fmla="*/ 12247 w 12277"/>
              <a:gd name="connsiteY3" fmla="*/ 4830 h 12135"/>
              <a:gd name="connsiteX4" fmla="*/ 12272 w 12277"/>
              <a:gd name="connsiteY4" fmla="*/ 8151 h 12135"/>
              <a:gd name="connsiteX5" fmla="*/ 12253 w 12277"/>
              <a:gd name="connsiteY5" fmla="*/ 11388 h 12135"/>
              <a:gd name="connsiteX6" fmla="*/ 9656 w 12277"/>
              <a:gd name="connsiteY6" fmla="*/ 12134 h 12135"/>
              <a:gd name="connsiteX7" fmla="*/ 6163 w 12277"/>
              <a:gd name="connsiteY7" fmla="*/ 11476 h 12135"/>
              <a:gd name="connsiteX8" fmla="*/ 2971 w 12277"/>
              <a:gd name="connsiteY8" fmla="*/ 8691 h 12135"/>
              <a:gd name="connsiteX9" fmla="*/ 1638 w 12277"/>
              <a:gd name="connsiteY9" fmla="*/ 6760 h 12135"/>
              <a:gd name="connsiteX10" fmla="*/ 452 w 12277"/>
              <a:gd name="connsiteY10" fmla="*/ 4474 h 12135"/>
              <a:gd name="connsiteX11" fmla="*/ 102 w 12277"/>
              <a:gd name="connsiteY11" fmla="*/ 3347 h 12135"/>
              <a:gd name="connsiteX12" fmla="*/ 60 w 12277"/>
              <a:gd name="connsiteY12" fmla="*/ 1948 h 12135"/>
              <a:gd name="connsiteX13" fmla="*/ 757 w 12277"/>
              <a:gd name="connsiteY13" fmla="*/ 827 h 12135"/>
              <a:gd name="connsiteX14" fmla="*/ 2220 w 12277"/>
              <a:gd name="connsiteY14" fmla="*/ 233 h 12135"/>
              <a:gd name="connsiteX15" fmla="*/ 4408 w 12277"/>
              <a:gd name="connsiteY15" fmla="*/ 2 h 12135"/>
              <a:gd name="connsiteX16" fmla="*/ 6577 w 12277"/>
              <a:gd name="connsiteY16" fmla="*/ 114 h 12135"/>
              <a:gd name="connsiteX0" fmla="*/ 6577 w 12459"/>
              <a:gd name="connsiteY0" fmla="*/ 114 h 12109"/>
              <a:gd name="connsiteX1" fmla="*/ 9226 w 12459"/>
              <a:gd name="connsiteY1" fmla="*/ 446 h 12109"/>
              <a:gd name="connsiteX2" fmla="*/ 12177 w 12459"/>
              <a:gd name="connsiteY2" fmla="*/ 864 h 12109"/>
              <a:gd name="connsiteX3" fmla="*/ 12247 w 12459"/>
              <a:gd name="connsiteY3" fmla="*/ 4830 h 12109"/>
              <a:gd name="connsiteX4" fmla="*/ 12272 w 12459"/>
              <a:gd name="connsiteY4" fmla="*/ 8151 h 12109"/>
              <a:gd name="connsiteX5" fmla="*/ 12253 w 12459"/>
              <a:gd name="connsiteY5" fmla="*/ 11388 h 12109"/>
              <a:gd name="connsiteX6" fmla="*/ 9552 w 12459"/>
              <a:gd name="connsiteY6" fmla="*/ 12108 h 12109"/>
              <a:gd name="connsiteX7" fmla="*/ 6163 w 12459"/>
              <a:gd name="connsiteY7" fmla="*/ 11476 h 12109"/>
              <a:gd name="connsiteX8" fmla="*/ 2971 w 12459"/>
              <a:gd name="connsiteY8" fmla="*/ 8691 h 12109"/>
              <a:gd name="connsiteX9" fmla="*/ 1638 w 12459"/>
              <a:gd name="connsiteY9" fmla="*/ 6760 h 12109"/>
              <a:gd name="connsiteX10" fmla="*/ 452 w 12459"/>
              <a:gd name="connsiteY10" fmla="*/ 4474 h 12109"/>
              <a:gd name="connsiteX11" fmla="*/ 102 w 12459"/>
              <a:gd name="connsiteY11" fmla="*/ 3347 h 12109"/>
              <a:gd name="connsiteX12" fmla="*/ 60 w 12459"/>
              <a:gd name="connsiteY12" fmla="*/ 1948 h 12109"/>
              <a:gd name="connsiteX13" fmla="*/ 757 w 12459"/>
              <a:gd name="connsiteY13" fmla="*/ 827 h 12109"/>
              <a:gd name="connsiteX14" fmla="*/ 2220 w 12459"/>
              <a:gd name="connsiteY14" fmla="*/ 233 h 12109"/>
              <a:gd name="connsiteX15" fmla="*/ 4408 w 12459"/>
              <a:gd name="connsiteY15" fmla="*/ 2 h 12109"/>
              <a:gd name="connsiteX16" fmla="*/ 6577 w 12459"/>
              <a:gd name="connsiteY16" fmla="*/ 114 h 12109"/>
              <a:gd name="connsiteX0" fmla="*/ 6577 w 12274"/>
              <a:gd name="connsiteY0" fmla="*/ 114 h 12109"/>
              <a:gd name="connsiteX1" fmla="*/ 9226 w 12274"/>
              <a:gd name="connsiteY1" fmla="*/ 446 h 12109"/>
              <a:gd name="connsiteX2" fmla="*/ 12177 w 12274"/>
              <a:gd name="connsiteY2" fmla="*/ 864 h 12109"/>
              <a:gd name="connsiteX3" fmla="*/ 12247 w 12274"/>
              <a:gd name="connsiteY3" fmla="*/ 4830 h 12109"/>
              <a:gd name="connsiteX4" fmla="*/ 12272 w 12274"/>
              <a:gd name="connsiteY4" fmla="*/ 8151 h 12109"/>
              <a:gd name="connsiteX5" fmla="*/ 12253 w 12274"/>
              <a:gd name="connsiteY5" fmla="*/ 11388 h 12109"/>
              <a:gd name="connsiteX6" fmla="*/ 9552 w 12274"/>
              <a:gd name="connsiteY6" fmla="*/ 12108 h 12109"/>
              <a:gd name="connsiteX7" fmla="*/ 6163 w 12274"/>
              <a:gd name="connsiteY7" fmla="*/ 11476 h 12109"/>
              <a:gd name="connsiteX8" fmla="*/ 2971 w 12274"/>
              <a:gd name="connsiteY8" fmla="*/ 8691 h 12109"/>
              <a:gd name="connsiteX9" fmla="*/ 1638 w 12274"/>
              <a:gd name="connsiteY9" fmla="*/ 6760 h 12109"/>
              <a:gd name="connsiteX10" fmla="*/ 452 w 12274"/>
              <a:gd name="connsiteY10" fmla="*/ 4474 h 12109"/>
              <a:gd name="connsiteX11" fmla="*/ 102 w 12274"/>
              <a:gd name="connsiteY11" fmla="*/ 3347 h 12109"/>
              <a:gd name="connsiteX12" fmla="*/ 60 w 12274"/>
              <a:gd name="connsiteY12" fmla="*/ 1948 h 12109"/>
              <a:gd name="connsiteX13" fmla="*/ 757 w 12274"/>
              <a:gd name="connsiteY13" fmla="*/ 827 h 12109"/>
              <a:gd name="connsiteX14" fmla="*/ 2220 w 12274"/>
              <a:gd name="connsiteY14" fmla="*/ 233 h 12109"/>
              <a:gd name="connsiteX15" fmla="*/ 4408 w 12274"/>
              <a:gd name="connsiteY15" fmla="*/ 2 h 12109"/>
              <a:gd name="connsiteX16" fmla="*/ 6577 w 12274"/>
              <a:gd name="connsiteY16" fmla="*/ 114 h 12109"/>
              <a:gd name="connsiteX0" fmla="*/ 6577 w 12278"/>
              <a:gd name="connsiteY0" fmla="*/ 114 h 12109"/>
              <a:gd name="connsiteX1" fmla="*/ 9226 w 12278"/>
              <a:gd name="connsiteY1" fmla="*/ 446 h 12109"/>
              <a:gd name="connsiteX2" fmla="*/ 12177 w 12278"/>
              <a:gd name="connsiteY2" fmla="*/ 864 h 12109"/>
              <a:gd name="connsiteX3" fmla="*/ 12247 w 12278"/>
              <a:gd name="connsiteY3" fmla="*/ 4830 h 12109"/>
              <a:gd name="connsiteX4" fmla="*/ 12272 w 12278"/>
              <a:gd name="connsiteY4" fmla="*/ 8151 h 12109"/>
              <a:gd name="connsiteX5" fmla="*/ 12253 w 12278"/>
              <a:gd name="connsiteY5" fmla="*/ 11388 h 12109"/>
              <a:gd name="connsiteX6" fmla="*/ 9552 w 12278"/>
              <a:gd name="connsiteY6" fmla="*/ 12108 h 12109"/>
              <a:gd name="connsiteX7" fmla="*/ 6163 w 12278"/>
              <a:gd name="connsiteY7" fmla="*/ 11476 h 12109"/>
              <a:gd name="connsiteX8" fmla="*/ 2971 w 12278"/>
              <a:gd name="connsiteY8" fmla="*/ 8691 h 12109"/>
              <a:gd name="connsiteX9" fmla="*/ 1638 w 12278"/>
              <a:gd name="connsiteY9" fmla="*/ 6760 h 12109"/>
              <a:gd name="connsiteX10" fmla="*/ 452 w 12278"/>
              <a:gd name="connsiteY10" fmla="*/ 4474 h 12109"/>
              <a:gd name="connsiteX11" fmla="*/ 102 w 12278"/>
              <a:gd name="connsiteY11" fmla="*/ 3347 h 12109"/>
              <a:gd name="connsiteX12" fmla="*/ 60 w 12278"/>
              <a:gd name="connsiteY12" fmla="*/ 1948 h 12109"/>
              <a:gd name="connsiteX13" fmla="*/ 757 w 12278"/>
              <a:gd name="connsiteY13" fmla="*/ 827 h 12109"/>
              <a:gd name="connsiteX14" fmla="*/ 2220 w 12278"/>
              <a:gd name="connsiteY14" fmla="*/ 233 h 12109"/>
              <a:gd name="connsiteX15" fmla="*/ 4408 w 12278"/>
              <a:gd name="connsiteY15" fmla="*/ 2 h 12109"/>
              <a:gd name="connsiteX16" fmla="*/ 6577 w 12278"/>
              <a:gd name="connsiteY16" fmla="*/ 114 h 12109"/>
              <a:gd name="connsiteX0" fmla="*/ 6577 w 12286"/>
              <a:gd name="connsiteY0" fmla="*/ 114 h 12109"/>
              <a:gd name="connsiteX1" fmla="*/ 9226 w 12286"/>
              <a:gd name="connsiteY1" fmla="*/ 446 h 12109"/>
              <a:gd name="connsiteX2" fmla="*/ 12177 w 12286"/>
              <a:gd name="connsiteY2" fmla="*/ 864 h 12109"/>
              <a:gd name="connsiteX3" fmla="*/ 12247 w 12286"/>
              <a:gd name="connsiteY3" fmla="*/ 4830 h 12109"/>
              <a:gd name="connsiteX4" fmla="*/ 12272 w 12286"/>
              <a:gd name="connsiteY4" fmla="*/ 8151 h 12109"/>
              <a:gd name="connsiteX5" fmla="*/ 12253 w 12286"/>
              <a:gd name="connsiteY5" fmla="*/ 11388 h 12109"/>
              <a:gd name="connsiteX6" fmla="*/ 9552 w 12286"/>
              <a:gd name="connsiteY6" fmla="*/ 12108 h 12109"/>
              <a:gd name="connsiteX7" fmla="*/ 6163 w 12286"/>
              <a:gd name="connsiteY7" fmla="*/ 11476 h 12109"/>
              <a:gd name="connsiteX8" fmla="*/ 2971 w 12286"/>
              <a:gd name="connsiteY8" fmla="*/ 8691 h 12109"/>
              <a:gd name="connsiteX9" fmla="*/ 1638 w 12286"/>
              <a:gd name="connsiteY9" fmla="*/ 6760 h 12109"/>
              <a:gd name="connsiteX10" fmla="*/ 452 w 12286"/>
              <a:gd name="connsiteY10" fmla="*/ 4474 h 12109"/>
              <a:gd name="connsiteX11" fmla="*/ 102 w 12286"/>
              <a:gd name="connsiteY11" fmla="*/ 3347 h 12109"/>
              <a:gd name="connsiteX12" fmla="*/ 60 w 12286"/>
              <a:gd name="connsiteY12" fmla="*/ 1948 h 12109"/>
              <a:gd name="connsiteX13" fmla="*/ 757 w 12286"/>
              <a:gd name="connsiteY13" fmla="*/ 827 h 12109"/>
              <a:gd name="connsiteX14" fmla="*/ 2220 w 12286"/>
              <a:gd name="connsiteY14" fmla="*/ 233 h 12109"/>
              <a:gd name="connsiteX15" fmla="*/ 4408 w 12286"/>
              <a:gd name="connsiteY15" fmla="*/ 2 h 12109"/>
              <a:gd name="connsiteX16" fmla="*/ 6577 w 12286"/>
              <a:gd name="connsiteY16" fmla="*/ 114 h 12109"/>
              <a:gd name="connsiteX0" fmla="*/ 6577 w 12286"/>
              <a:gd name="connsiteY0" fmla="*/ 114 h 12109"/>
              <a:gd name="connsiteX1" fmla="*/ 9226 w 12286"/>
              <a:gd name="connsiteY1" fmla="*/ 446 h 12109"/>
              <a:gd name="connsiteX2" fmla="*/ 12216 w 12286"/>
              <a:gd name="connsiteY2" fmla="*/ 892 h 12109"/>
              <a:gd name="connsiteX3" fmla="*/ 12247 w 12286"/>
              <a:gd name="connsiteY3" fmla="*/ 4830 h 12109"/>
              <a:gd name="connsiteX4" fmla="*/ 12272 w 12286"/>
              <a:gd name="connsiteY4" fmla="*/ 8151 h 12109"/>
              <a:gd name="connsiteX5" fmla="*/ 12253 w 12286"/>
              <a:gd name="connsiteY5" fmla="*/ 11388 h 12109"/>
              <a:gd name="connsiteX6" fmla="*/ 9552 w 12286"/>
              <a:gd name="connsiteY6" fmla="*/ 12108 h 12109"/>
              <a:gd name="connsiteX7" fmla="*/ 6163 w 12286"/>
              <a:gd name="connsiteY7" fmla="*/ 11476 h 12109"/>
              <a:gd name="connsiteX8" fmla="*/ 2971 w 12286"/>
              <a:gd name="connsiteY8" fmla="*/ 8691 h 12109"/>
              <a:gd name="connsiteX9" fmla="*/ 1638 w 12286"/>
              <a:gd name="connsiteY9" fmla="*/ 6760 h 12109"/>
              <a:gd name="connsiteX10" fmla="*/ 452 w 12286"/>
              <a:gd name="connsiteY10" fmla="*/ 4474 h 12109"/>
              <a:gd name="connsiteX11" fmla="*/ 102 w 12286"/>
              <a:gd name="connsiteY11" fmla="*/ 3347 h 12109"/>
              <a:gd name="connsiteX12" fmla="*/ 60 w 12286"/>
              <a:gd name="connsiteY12" fmla="*/ 1948 h 12109"/>
              <a:gd name="connsiteX13" fmla="*/ 757 w 12286"/>
              <a:gd name="connsiteY13" fmla="*/ 827 h 12109"/>
              <a:gd name="connsiteX14" fmla="*/ 2220 w 12286"/>
              <a:gd name="connsiteY14" fmla="*/ 233 h 12109"/>
              <a:gd name="connsiteX15" fmla="*/ 4408 w 12286"/>
              <a:gd name="connsiteY15" fmla="*/ 2 h 12109"/>
              <a:gd name="connsiteX16" fmla="*/ 6577 w 12286"/>
              <a:gd name="connsiteY16" fmla="*/ 114 h 12109"/>
              <a:gd name="connsiteX0" fmla="*/ 6577 w 12286"/>
              <a:gd name="connsiteY0" fmla="*/ 114 h 12109"/>
              <a:gd name="connsiteX1" fmla="*/ 9226 w 12286"/>
              <a:gd name="connsiteY1" fmla="*/ 446 h 12109"/>
              <a:gd name="connsiteX2" fmla="*/ 12216 w 12286"/>
              <a:gd name="connsiteY2" fmla="*/ 892 h 12109"/>
              <a:gd name="connsiteX3" fmla="*/ 12247 w 12286"/>
              <a:gd name="connsiteY3" fmla="*/ 4830 h 12109"/>
              <a:gd name="connsiteX4" fmla="*/ 12272 w 12286"/>
              <a:gd name="connsiteY4" fmla="*/ 8151 h 12109"/>
              <a:gd name="connsiteX5" fmla="*/ 12253 w 12286"/>
              <a:gd name="connsiteY5" fmla="*/ 11388 h 12109"/>
              <a:gd name="connsiteX6" fmla="*/ 9552 w 12286"/>
              <a:gd name="connsiteY6" fmla="*/ 12108 h 12109"/>
              <a:gd name="connsiteX7" fmla="*/ 6163 w 12286"/>
              <a:gd name="connsiteY7" fmla="*/ 11476 h 12109"/>
              <a:gd name="connsiteX8" fmla="*/ 2971 w 12286"/>
              <a:gd name="connsiteY8" fmla="*/ 8691 h 12109"/>
              <a:gd name="connsiteX9" fmla="*/ 1638 w 12286"/>
              <a:gd name="connsiteY9" fmla="*/ 6760 h 12109"/>
              <a:gd name="connsiteX10" fmla="*/ 452 w 12286"/>
              <a:gd name="connsiteY10" fmla="*/ 4474 h 12109"/>
              <a:gd name="connsiteX11" fmla="*/ 102 w 12286"/>
              <a:gd name="connsiteY11" fmla="*/ 3347 h 12109"/>
              <a:gd name="connsiteX12" fmla="*/ 60 w 12286"/>
              <a:gd name="connsiteY12" fmla="*/ 1948 h 12109"/>
              <a:gd name="connsiteX13" fmla="*/ 757 w 12286"/>
              <a:gd name="connsiteY13" fmla="*/ 827 h 12109"/>
              <a:gd name="connsiteX14" fmla="*/ 2220 w 12286"/>
              <a:gd name="connsiteY14" fmla="*/ 233 h 12109"/>
              <a:gd name="connsiteX15" fmla="*/ 4408 w 12286"/>
              <a:gd name="connsiteY15" fmla="*/ 2 h 12109"/>
              <a:gd name="connsiteX16" fmla="*/ 6577 w 12286"/>
              <a:gd name="connsiteY16" fmla="*/ 114 h 12109"/>
              <a:gd name="connsiteX0" fmla="*/ 6577 w 12286"/>
              <a:gd name="connsiteY0" fmla="*/ 114 h 12109"/>
              <a:gd name="connsiteX1" fmla="*/ 9226 w 12286"/>
              <a:gd name="connsiteY1" fmla="*/ 446 h 12109"/>
              <a:gd name="connsiteX2" fmla="*/ 12190 w 12286"/>
              <a:gd name="connsiteY2" fmla="*/ 834 h 12109"/>
              <a:gd name="connsiteX3" fmla="*/ 12247 w 12286"/>
              <a:gd name="connsiteY3" fmla="*/ 4830 h 12109"/>
              <a:gd name="connsiteX4" fmla="*/ 12272 w 12286"/>
              <a:gd name="connsiteY4" fmla="*/ 8151 h 12109"/>
              <a:gd name="connsiteX5" fmla="*/ 12253 w 12286"/>
              <a:gd name="connsiteY5" fmla="*/ 11388 h 12109"/>
              <a:gd name="connsiteX6" fmla="*/ 9552 w 12286"/>
              <a:gd name="connsiteY6" fmla="*/ 12108 h 12109"/>
              <a:gd name="connsiteX7" fmla="*/ 6163 w 12286"/>
              <a:gd name="connsiteY7" fmla="*/ 11476 h 12109"/>
              <a:gd name="connsiteX8" fmla="*/ 2971 w 12286"/>
              <a:gd name="connsiteY8" fmla="*/ 8691 h 12109"/>
              <a:gd name="connsiteX9" fmla="*/ 1638 w 12286"/>
              <a:gd name="connsiteY9" fmla="*/ 6760 h 12109"/>
              <a:gd name="connsiteX10" fmla="*/ 452 w 12286"/>
              <a:gd name="connsiteY10" fmla="*/ 4474 h 12109"/>
              <a:gd name="connsiteX11" fmla="*/ 102 w 12286"/>
              <a:gd name="connsiteY11" fmla="*/ 3347 h 12109"/>
              <a:gd name="connsiteX12" fmla="*/ 60 w 12286"/>
              <a:gd name="connsiteY12" fmla="*/ 1948 h 12109"/>
              <a:gd name="connsiteX13" fmla="*/ 757 w 12286"/>
              <a:gd name="connsiteY13" fmla="*/ 827 h 12109"/>
              <a:gd name="connsiteX14" fmla="*/ 2220 w 12286"/>
              <a:gd name="connsiteY14" fmla="*/ 233 h 12109"/>
              <a:gd name="connsiteX15" fmla="*/ 4408 w 12286"/>
              <a:gd name="connsiteY15" fmla="*/ 2 h 12109"/>
              <a:gd name="connsiteX16" fmla="*/ 6577 w 12286"/>
              <a:gd name="connsiteY16" fmla="*/ 114 h 12109"/>
              <a:gd name="connsiteX0" fmla="*/ 6577 w 12282"/>
              <a:gd name="connsiteY0" fmla="*/ 114 h 12109"/>
              <a:gd name="connsiteX1" fmla="*/ 9226 w 12282"/>
              <a:gd name="connsiteY1" fmla="*/ 446 h 12109"/>
              <a:gd name="connsiteX2" fmla="*/ 12190 w 12282"/>
              <a:gd name="connsiteY2" fmla="*/ 834 h 12109"/>
              <a:gd name="connsiteX3" fmla="*/ 12247 w 12282"/>
              <a:gd name="connsiteY3" fmla="*/ 4830 h 12109"/>
              <a:gd name="connsiteX4" fmla="*/ 12272 w 12282"/>
              <a:gd name="connsiteY4" fmla="*/ 8151 h 12109"/>
              <a:gd name="connsiteX5" fmla="*/ 12253 w 12282"/>
              <a:gd name="connsiteY5" fmla="*/ 11388 h 12109"/>
              <a:gd name="connsiteX6" fmla="*/ 9552 w 12282"/>
              <a:gd name="connsiteY6" fmla="*/ 12108 h 12109"/>
              <a:gd name="connsiteX7" fmla="*/ 6163 w 12282"/>
              <a:gd name="connsiteY7" fmla="*/ 11476 h 12109"/>
              <a:gd name="connsiteX8" fmla="*/ 2971 w 12282"/>
              <a:gd name="connsiteY8" fmla="*/ 8691 h 12109"/>
              <a:gd name="connsiteX9" fmla="*/ 1638 w 12282"/>
              <a:gd name="connsiteY9" fmla="*/ 6760 h 12109"/>
              <a:gd name="connsiteX10" fmla="*/ 452 w 12282"/>
              <a:gd name="connsiteY10" fmla="*/ 4474 h 12109"/>
              <a:gd name="connsiteX11" fmla="*/ 102 w 12282"/>
              <a:gd name="connsiteY11" fmla="*/ 3347 h 12109"/>
              <a:gd name="connsiteX12" fmla="*/ 60 w 12282"/>
              <a:gd name="connsiteY12" fmla="*/ 1948 h 12109"/>
              <a:gd name="connsiteX13" fmla="*/ 757 w 12282"/>
              <a:gd name="connsiteY13" fmla="*/ 827 h 12109"/>
              <a:gd name="connsiteX14" fmla="*/ 2220 w 12282"/>
              <a:gd name="connsiteY14" fmla="*/ 233 h 12109"/>
              <a:gd name="connsiteX15" fmla="*/ 4408 w 12282"/>
              <a:gd name="connsiteY15" fmla="*/ 2 h 12109"/>
              <a:gd name="connsiteX16" fmla="*/ 6577 w 12282"/>
              <a:gd name="connsiteY16" fmla="*/ 114 h 12109"/>
              <a:gd name="connsiteX0" fmla="*/ 6577 w 12295"/>
              <a:gd name="connsiteY0" fmla="*/ 114 h 12109"/>
              <a:gd name="connsiteX1" fmla="*/ 9226 w 12295"/>
              <a:gd name="connsiteY1" fmla="*/ 446 h 12109"/>
              <a:gd name="connsiteX2" fmla="*/ 12190 w 12295"/>
              <a:gd name="connsiteY2" fmla="*/ 834 h 12109"/>
              <a:gd name="connsiteX3" fmla="*/ 12247 w 12295"/>
              <a:gd name="connsiteY3" fmla="*/ 4830 h 12109"/>
              <a:gd name="connsiteX4" fmla="*/ 12272 w 12295"/>
              <a:gd name="connsiteY4" fmla="*/ 8151 h 12109"/>
              <a:gd name="connsiteX5" fmla="*/ 12253 w 12295"/>
              <a:gd name="connsiteY5" fmla="*/ 11388 h 12109"/>
              <a:gd name="connsiteX6" fmla="*/ 9552 w 12295"/>
              <a:gd name="connsiteY6" fmla="*/ 12108 h 12109"/>
              <a:gd name="connsiteX7" fmla="*/ 6163 w 12295"/>
              <a:gd name="connsiteY7" fmla="*/ 11476 h 12109"/>
              <a:gd name="connsiteX8" fmla="*/ 2971 w 12295"/>
              <a:gd name="connsiteY8" fmla="*/ 8691 h 12109"/>
              <a:gd name="connsiteX9" fmla="*/ 1638 w 12295"/>
              <a:gd name="connsiteY9" fmla="*/ 6760 h 12109"/>
              <a:gd name="connsiteX10" fmla="*/ 452 w 12295"/>
              <a:gd name="connsiteY10" fmla="*/ 4474 h 12109"/>
              <a:gd name="connsiteX11" fmla="*/ 102 w 12295"/>
              <a:gd name="connsiteY11" fmla="*/ 3347 h 12109"/>
              <a:gd name="connsiteX12" fmla="*/ 60 w 12295"/>
              <a:gd name="connsiteY12" fmla="*/ 1948 h 12109"/>
              <a:gd name="connsiteX13" fmla="*/ 757 w 12295"/>
              <a:gd name="connsiteY13" fmla="*/ 827 h 12109"/>
              <a:gd name="connsiteX14" fmla="*/ 2220 w 12295"/>
              <a:gd name="connsiteY14" fmla="*/ 233 h 12109"/>
              <a:gd name="connsiteX15" fmla="*/ 4408 w 12295"/>
              <a:gd name="connsiteY15" fmla="*/ 2 h 12109"/>
              <a:gd name="connsiteX16" fmla="*/ 6577 w 12295"/>
              <a:gd name="connsiteY16" fmla="*/ 114 h 12109"/>
              <a:gd name="connsiteX0" fmla="*/ 6577 w 12280"/>
              <a:gd name="connsiteY0" fmla="*/ 114 h 12109"/>
              <a:gd name="connsiteX1" fmla="*/ 9226 w 12280"/>
              <a:gd name="connsiteY1" fmla="*/ 446 h 12109"/>
              <a:gd name="connsiteX2" fmla="*/ 12190 w 12280"/>
              <a:gd name="connsiteY2" fmla="*/ 834 h 12109"/>
              <a:gd name="connsiteX3" fmla="*/ 12247 w 12280"/>
              <a:gd name="connsiteY3" fmla="*/ 4830 h 12109"/>
              <a:gd name="connsiteX4" fmla="*/ 12272 w 12280"/>
              <a:gd name="connsiteY4" fmla="*/ 8151 h 12109"/>
              <a:gd name="connsiteX5" fmla="*/ 12253 w 12280"/>
              <a:gd name="connsiteY5" fmla="*/ 11388 h 12109"/>
              <a:gd name="connsiteX6" fmla="*/ 9552 w 12280"/>
              <a:gd name="connsiteY6" fmla="*/ 12108 h 12109"/>
              <a:gd name="connsiteX7" fmla="*/ 6163 w 12280"/>
              <a:gd name="connsiteY7" fmla="*/ 11476 h 12109"/>
              <a:gd name="connsiteX8" fmla="*/ 2971 w 12280"/>
              <a:gd name="connsiteY8" fmla="*/ 8691 h 12109"/>
              <a:gd name="connsiteX9" fmla="*/ 1638 w 12280"/>
              <a:gd name="connsiteY9" fmla="*/ 6760 h 12109"/>
              <a:gd name="connsiteX10" fmla="*/ 452 w 12280"/>
              <a:gd name="connsiteY10" fmla="*/ 4474 h 12109"/>
              <a:gd name="connsiteX11" fmla="*/ 102 w 12280"/>
              <a:gd name="connsiteY11" fmla="*/ 3347 h 12109"/>
              <a:gd name="connsiteX12" fmla="*/ 60 w 12280"/>
              <a:gd name="connsiteY12" fmla="*/ 1948 h 12109"/>
              <a:gd name="connsiteX13" fmla="*/ 757 w 12280"/>
              <a:gd name="connsiteY13" fmla="*/ 827 h 12109"/>
              <a:gd name="connsiteX14" fmla="*/ 2220 w 12280"/>
              <a:gd name="connsiteY14" fmla="*/ 233 h 12109"/>
              <a:gd name="connsiteX15" fmla="*/ 4408 w 12280"/>
              <a:gd name="connsiteY15" fmla="*/ 2 h 12109"/>
              <a:gd name="connsiteX16" fmla="*/ 6577 w 12280"/>
              <a:gd name="connsiteY16" fmla="*/ 114 h 12109"/>
              <a:gd name="connsiteX0" fmla="*/ 6577 w 12461"/>
              <a:gd name="connsiteY0" fmla="*/ 114 h 12109"/>
              <a:gd name="connsiteX1" fmla="*/ 9226 w 12461"/>
              <a:gd name="connsiteY1" fmla="*/ 446 h 12109"/>
              <a:gd name="connsiteX2" fmla="*/ 12190 w 12461"/>
              <a:gd name="connsiteY2" fmla="*/ 834 h 12109"/>
              <a:gd name="connsiteX3" fmla="*/ 12247 w 12461"/>
              <a:gd name="connsiteY3" fmla="*/ 4830 h 12109"/>
              <a:gd name="connsiteX4" fmla="*/ 12259 w 12461"/>
              <a:gd name="connsiteY4" fmla="*/ 8181 h 12109"/>
              <a:gd name="connsiteX5" fmla="*/ 12253 w 12461"/>
              <a:gd name="connsiteY5" fmla="*/ 11388 h 12109"/>
              <a:gd name="connsiteX6" fmla="*/ 9552 w 12461"/>
              <a:gd name="connsiteY6" fmla="*/ 12108 h 12109"/>
              <a:gd name="connsiteX7" fmla="*/ 6163 w 12461"/>
              <a:gd name="connsiteY7" fmla="*/ 11476 h 12109"/>
              <a:gd name="connsiteX8" fmla="*/ 2971 w 12461"/>
              <a:gd name="connsiteY8" fmla="*/ 8691 h 12109"/>
              <a:gd name="connsiteX9" fmla="*/ 1638 w 12461"/>
              <a:gd name="connsiteY9" fmla="*/ 6760 h 12109"/>
              <a:gd name="connsiteX10" fmla="*/ 452 w 12461"/>
              <a:gd name="connsiteY10" fmla="*/ 4474 h 12109"/>
              <a:gd name="connsiteX11" fmla="*/ 102 w 12461"/>
              <a:gd name="connsiteY11" fmla="*/ 3347 h 12109"/>
              <a:gd name="connsiteX12" fmla="*/ 60 w 12461"/>
              <a:gd name="connsiteY12" fmla="*/ 1948 h 12109"/>
              <a:gd name="connsiteX13" fmla="*/ 757 w 12461"/>
              <a:gd name="connsiteY13" fmla="*/ 827 h 12109"/>
              <a:gd name="connsiteX14" fmla="*/ 2220 w 12461"/>
              <a:gd name="connsiteY14" fmla="*/ 233 h 12109"/>
              <a:gd name="connsiteX15" fmla="*/ 4408 w 12461"/>
              <a:gd name="connsiteY15" fmla="*/ 2 h 12109"/>
              <a:gd name="connsiteX16" fmla="*/ 6577 w 12461"/>
              <a:gd name="connsiteY16" fmla="*/ 114 h 12109"/>
              <a:gd name="connsiteX0" fmla="*/ 6577 w 12460"/>
              <a:gd name="connsiteY0" fmla="*/ 114 h 12109"/>
              <a:gd name="connsiteX1" fmla="*/ 9226 w 12460"/>
              <a:gd name="connsiteY1" fmla="*/ 446 h 12109"/>
              <a:gd name="connsiteX2" fmla="*/ 12190 w 12460"/>
              <a:gd name="connsiteY2" fmla="*/ 834 h 12109"/>
              <a:gd name="connsiteX3" fmla="*/ 12247 w 12460"/>
              <a:gd name="connsiteY3" fmla="*/ 4830 h 12109"/>
              <a:gd name="connsiteX4" fmla="*/ 12259 w 12460"/>
              <a:gd name="connsiteY4" fmla="*/ 8181 h 12109"/>
              <a:gd name="connsiteX5" fmla="*/ 12253 w 12460"/>
              <a:gd name="connsiteY5" fmla="*/ 11388 h 12109"/>
              <a:gd name="connsiteX6" fmla="*/ 9552 w 12460"/>
              <a:gd name="connsiteY6" fmla="*/ 12108 h 12109"/>
              <a:gd name="connsiteX7" fmla="*/ 6163 w 12460"/>
              <a:gd name="connsiteY7" fmla="*/ 11476 h 12109"/>
              <a:gd name="connsiteX8" fmla="*/ 2971 w 12460"/>
              <a:gd name="connsiteY8" fmla="*/ 8691 h 12109"/>
              <a:gd name="connsiteX9" fmla="*/ 1638 w 12460"/>
              <a:gd name="connsiteY9" fmla="*/ 6760 h 12109"/>
              <a:gd name="connsiteX10" fmla="*/ 452 w 12460"/>
              <a:gd name="connsiteY10" fmla="*/ 4474 h 12109"/>
              <a:gd name="connsiteX11" fmla="*/ 102 w 12460"/>
              <a:gd name="connsiteY11" fmla="*/ 3347 h 12109"/>
              <a:gd name="connsiteX12" fmla="*/ 60 w 12460"/>
              <a:gd name="connsiteY12" fmla="*/ 1948 h 12109"/>
              <a:gd name="connsiteX13" fmla="*/ 757 w 12460"/>
              <a:gd name="connsiteY13" fmla="*/ 827 h 12109"/>
              <a:gd name="connsiteX14" fmla="*/ 2220 w 12460"/>
              <a:gd name="connsiteY14" fmla="*/ 233 h 12109"/>
              <a:gd name="connsiteX15" fmla="*/ 4408 w 12460"/>
              <a:gd name="connsiteY15" fmla="*/ 2 h 12109"/>
              <a:gd name="connsiteX16" fmla="*/ 6577 w 12460"/>
              <a:gd name="connsiteY16" fmla="*/ 114 h 12109"/>
              <a:gd name="connsiteX0" fmla="*/ 6577 w 12291"/>
              <a:gd name="connsiteY0" fmla="*/ 114 h 12109"/>
              <a:gd name="connsiteX1" fmla="*/ 9226 w 12291"/>
              <a:gd name="connsiteY1" fmla="*/ 446 h 12109"/>
              <a:gd name="connsiteX2" fmla="*/ 12190 w 12291"/>
              <a:gd name="connsiteY2" fmla="*/ 834 h 12109"/>
              <a:gd name="connsiteX3" fmla="*/ 12247 w 12291"/>
              <a:gd name="connsiteY3" fmla="*/ 4830 h 12109"/>
              <a:gd name="connsiteX4" fmla="*/ 12259 w 12291"/>
              <a:gd name="connsiteY4" fmla="*/ 8181 h 12109"/>
              <a:gd name="connsiteX5" fmla="*/ 12253 w 12291"/>
              <a:gd name="connsiteY5" fmla="*/ 11388 h 12109"/>
              <a:gd name="connsiteX6" fmla="*/ 9552 w 12291"/>
              <a:gd name="connsiteY6" fmla="*/ 12108 h 12109"/>
              <a:gd name="connsiteX7" fmla="*/ 6163 w 12291"/>
              <a:gd name="connsiteY7" fmla="*/ 11476 h 12109"/>
              <a:gd name="connsiteX8" fmla="*/ 2971 w 12291"/>
              <a:gd name="connsiteY8" fmla="*/ 8691 h 12109"/>
              <a:gd name="connsiteX9" fmla="*/ 1638 w 12291"/>
              <a:gd name="connsiteY9" fmla="*/ 6760 h 12109"/>
              <a:gd name="connsiteX10" fmla="*/ 452 w 12291"/>
              <a:gd name="connsiteY10" fmla="*/ 4474 h 12109"/>
              <a:gd name="connsiteX11" fmla="*/ 102 w 12291"/>
              <a:gd name="connsiteY11" fmla="*/ 3347 h 12109"/>
              <a:gd name="connsiteX12" fmla="*/ 60 w 12291"/>
              <a:gd name="connsiteY12" fmla="*/ 1948 h 12109"/>
              <a:gd name="connsiteX13" fmla="*/ 757 w 12291"/>
              <a:gd name="connsiteY13" fmla="*/ 827 h 12109"/>
              <a:gd name="connsiteX14" fmla="*/ 2220 w 12291"/>
              <a:gd name="connsiteY14" fmla="*/ 233 h 12109"/>
              <a:gd name="connsiteX15" fmla="*/ 4408 w 12291"/>
              <a:gd name="connsiteY15" fmla="*/ 2 h 12109"/>
              <a:gd name="connsiteX16" fmla="*/ 6577 w 12291"/>
              <a:gd name="connsiteY16" fmla="*/ 114 h 12109"/>
              <a:gd name="connsiteX0" fmla="*/ 6577 w 12419"/>
              <a:gd name="connsiteY0" fmla="*/ 114 h 12109"/>
              <a:gd name="connsiteX1" fmla="*/ 9226 w 12419"/>
              <a:gd name="connsiteY1" fmla="*/ 446 h 12109"/>
              <a:gd name="connsiteX2" fmla="*/ 12190 w 12419"/>
              <a:gd name="connsiteY2" fmla="*/ 834 h 12109"/>
              <a:gd name="connsiteX3" fmla="*/ 12225 w 12419"/>
              <a:gd name="connsiteY3" fmla="*/ 4856 h 12109"/>
              <a:gd name="connsiteX4" fmla="*/ 12259 w 12419"/>
              <a:gd name="connsiteY4" fmla="*/ 8181 h 12109"/>
              <a:gd name="connsiteX5" fmla="*/ 12253 w 12419"/>
              <a:gd name="connsiteY5" fmla="*/ 11388 h 12109"/>
              <a:gd name="connsiteX6" fmla="*/ 9552 w 12419"/>
              <a:gd name="connsiteY6" fmla="*/ 12108 h 12109"/>
              <a:gd name="connsiteX7" fmla="*/ 6163 w 12419"/>
              <a:gd name="connsiteY7" fmla="*/ 11476 h 12109"/>
              <a:gd name="connsiteX8" fmla="*/ 2971 w 12419"/>
              <a:gd name="connsiteY8" fmla="*/ 8691 h 12109"/>
              <a:gd name="connsiteX9" fmla="*/ 1638 w 12419"/>
              <a:gd name="connsiteY9" fmla="*/ 6760 h 12109"/>
              <a:gd name="connsiteX10" fmla="*/ 452 w 12419"/>
              <a:gd name="connsiteY10" fmla="*/ 4474 h 12109"/>
              <a:gd name="connsiteX11" fmla="*/ 102 w 12419"/>
              <a:gd name="connsiteY11" fmla="*/ 3347 h 12109"/>
              <a:gd name="connsiteX12" fmla="*/ 60 w 12419"/>
              <a:gd name="connsiteY12" fmla="*/ 1948 h 12109"/>
              <a:gd name="connsiteX13" fmla="*/ 757 w 12419"/>
              <a:gd name="connsiteY13" fmla="*/ 827 h 12109"/>
              <a:gd name="connsiteX14" fmla="*/ 2220 w 12419"/>
              <a:gd name="connsiteY14" fmla="*/ 233 h 12109"/>
              <a:gd name="connsiteX15" fmla="*/ 4408 w 12419"/>
              <a:gd name="connsiteY15" fmla="*/ 2 h 12109"/>
              <a:gd name="connsiteX16" fmla="*/ 6577 w 12419"/>
              <a:gd name="connsiteY16" fmla="*/ 114 h 12109"/>
              <a:gd name="connsiteX0" fmla="*/ 6577 w 12285"/>
              <a:gd name="connsiteY0" fmla="*/ 114 h 12109"/>
              <a:gd name="connsiteX1" fmla="*/ 9226 w 12285"/>
              <a:gd name="connsiteY1" fmla="*/ 446 h 12109"/>
              <a:gd name="connsiteX2" fmla="*/ 12190 w 12285"/>
              <a:gd name="connsiteY2" fmla="*/ 834 h 12109"/>
              <a:gd name="connsiteX3" fmla="*/ 12225 w 12285"/>
              <a:gd name="connsiteY3" fmla="*/ 4856 h 12109"/>
              <a:gd name="connsiteX4" fmla="*/ 12259 w 12285"/>
              <a:gd name="connsiteY4" fmla="*/ 8181 h 12109"/>
              <a:gd name="connsiteX5" fmla="*/ 12253 w 12285"/>
              <a:gd name="connsiteY5" fmla="*/ 11388 h 12109"/>
              <a:gd name="connsiteX6" fmla="*/ 9552 w 12285"/>
              <a:gd name="connsiteY6" fmla="*/ 12108 h 12109"/>
              <a:gd name="connsiteX7" fmla="*/ 6163 w 12285"/>
              <a:gd name="connsiteY7" fmla="*/ 11476 h 12109"/>
              <a:gd name="connsiteX8" fmla="*/ 2971 w 12285"/>
              <a:gd name="connsiteY8" fmla="*/ 8691 h 12109"/>
              <a:gd name="connsiteX9" fmla="*/ 1638 w 12285"/>
              <a:gd name="connsiteY9" fmla="*/ 6760 h 12109"/>
              <a:gd name="connsiteX10" fmla="*/ 452 w 12285"/>
              <a:gd name="connsiteY10" fmla="*/ 4474 h 12109"/>
              <a:gd name="connsiteX11" fmla="*/ 102 w 12285"/>
              <a:gd name="connsiteY11" fmla="*/ 3347 h 12109"/>
              <a:gd name="connsiteX12" fmla="*/ 60 w 12285"/>
              <a:gd name="connsiteY12" fmla="*/ 1948 h 12109"/>
              <a:gd name="connsiteX13" fmla="*/ 757 w 12285"/>
              <a:gd name="connsiteY13" fmla="*/ 827 h 12109"/>
              <a:gd name="connsiteX14" fmla="*/ 2220 w 12285"/>
              <a:gd name="connsiteY14" fmla="*/ 233 h 12109"/>
              <a:gd name="connsiteX15" fmla="*/ 4408 w 12285"/>
              <a:gd name="connsiteY15" fmla="*/ 2 h 12109"/>
              <a:gd name="connsiteX16" fmla="*/ 6577 w 12285"/>
              <a:gd name="connsiteY16" fmla="*/ 114 h 12109"/>
              <a:gd name="connsiteX0" fmla="*/ 6577 w 12262"/>
              <a:gd name="connsiteY0" fmla="*/ 114 h 12109"/>
              <a:gd name="connsiteX1" fmla="*/ 9226 w 12262"/>
              <a:gd name="connsiteY1" fmla="*/ 446 h 12109"/>
              <a:gd name="connsiteX2" fmla="*/ 12190 w 12262"/>
              <a:gd name="connsiteY2" fmla="*/ 834 h 12109"/>
              <a:gd name="connsiteX3" fmla="*/ 12225 w 12262"/>
              <a:gd name="connsiteY3" fmla="*/ 4856 h 12109"/>
              <a:gd name="connsiteX4" fmla="*/ 12259 w 12262"/>
              <a:gd name="connsiteY4" fmla="*/ 8181 h 12109"/>
              <a:gd name="connsiteX5" fmla="*/ 12253 w 12262"/>
              <a:gd name="connsiteY5" fmla="*/ 11388 h 12109"/>
              <a:gd name="connsiteX6" fmla="*/ 9552 w 12262"/>
              <a:gd name="connsiteY6" fmla="*/ 12108 h 12109"/>
              <a:gd name="connsiteX7" fmla="*/ 6163 w 12262"/>
              <a:gd name="connsiteY7" fmla="*/ 11476 h 12109"/>
              <a:gd name="connsiteX8" fmla="*/ 2971 w 12262"/>
              <a:gd name="connsiteY8" fmla="*/ 8691 h 12109"/>
              <a:gd name="connsiteX9" fmla="*/ 1638 w 12262"/>
              <a:gd name="connsiteY9" fmla="*/ 6760 h 12109"/>
              <a:gd name="connsiteX10" fmla="*/ 452 w 12262"/>
              <a:gd name="connsiteY10" fmla="*/ 4474 h 12109"/>
              <a:gd name="connsiteX11" fmla="*/ 102 w 12262"/>
              <a:gd name="connsiteY11" fmla="*/ 3347 h 12109"/>
              <a:gd name="connsiteX12" fmla="*/ 60 w 12262"/>
              <a:gd name="connsiteY12" fmla="*/ 1948 h 12109"/>
              <a:gd name="connsiteX13" fmla="*/ 757 w 12262"/>
              <a:gd name="connsiteY13" fmla="*/ 827 h 12109"/>
              <a:gd name="connsiteX14" fmla="*/ 2220 w 12262"/>
              <a:gd name="connsiteY14" fmla="*/ 233 h 12109"/>
              <a:gd name="connsiteX15" fmla="*/ 4408 w 12262"/>
              <a:gd name="connsiteY15" fmla="*/ 2 h 12109"/>
              <a:gd name="connsiteX16" fmla="*/ 6577 w 12262"/>
              <a:gd name="connsiteY16" fmla="*/ 114 h 12109"/>
              <a:gd name="connsiteX0" fmla="*/ 6577 w 12263"/>
              <a:gd name="connsiteY0" fmla="*/ 114 h 12109"/>
              <a:gd name="connsiteX1" fmla="*/ 9226 w 12263"/>
              <a:gd name="connsiteY1" fmla="*/ 446 h 12109"/>
              <a:gd name="connsiteX2" fmla="*/ 12190 w 12263"/>
              <a:gd name="connsiteY2" fmla="*/ 834 h 12109"/>
              <a:gd name="connsiteX3" fmla="*/ 12225 w 12263"/>
              <a:gd name="connsiteY3" fmla="*/ 4856 h 12109"/>
              <a:gd name="connsiteX4" fmla="*/ 12259 w 12263"/>
              <a:gd name="connsiteY4" fmla="*/ 8181 h 12109"/>
              <a:gd name="connsiteX5" fmla="*/ 12253 w 12263"/>
              <a:gd name="connsiteY5" fmla="*/ 11388 h 12109"/>
              <a:gd name="connsiteX6" fmla="*/ 9552 w 12263"/>
              <a:gd name="connsiteY6" fmla="*/ 12108 h 12109"/>
              <a:gd name="connsiteX7" fmla="*/ 6163 w 12263"/>
              <a:gd name="connsiteY7" fmla="*/ 11476 h 12109"/>
              <a:gd name="connsiteX8" fmla="*/ 2971 w 12263"/>
              <a:gd name="connsiteY8" fmla="*/ 8691 h 12109"/>
              <a:gd name="connsiteX9" fmla="*/ 1638 w 12263"/>
              <a:gd name="connsiteY9" fmla="*/ 6760 h 12109"/>
              <a:gd name="connsiteX10" fmla="*/ 452 w 12263"/>
              <a:gd name="connsiteY10" fmla="*/ 4474 h 12109"/>
              <a:gd name="connsiteX11" fmla="*/ 102 w 12263"/>
              <a:gd name="connsiteY11" fmla="*/ 3347 h 12109"/>
              <a:gd name="connsiteX12" fmla="*/ 60 w 12263"/>
              <a:gd name="connsiteY12" fmla="*/ 1948 h 12109"/>
              <a:gd name="connsiteX13" fmla="*/ 757 w 12263"/>
              <a:gd name="connsiteY13" fmla="*/ 827 h 12109"/>
              <a:gd name="connsiteX14" fmla="*/ 2220 w 12263"/>
              <a:gd name="connsiteY14" fmla="*/ 233 h 12109"/>
              <a:gd name="connsiteX15" fmla="*/ 4408 w 12263"/>
              <a:gd name="connsiteY15" fmla="*/ 2 h 12109"/>
              <a:gd name="connsiteX16" fmla="*/ 6577 w 12263"/>
              <a:gd name="connsiteY16" fmla="*/ 114 h 12109"/>
              <a:gd name="connsiteX0" fmla="*/ 6577 w 12264"/>
              <a:gd name="connsiteY0" fmla="*/ 114 h 12109"/>
              <a:gd name="connsiteX1" fmla="*/ 9226 w 12264"/>
              <a:gd name="connsiteY1" fmla="*/ 446 h 12109"/>
              <a:gd name="connsiteX2" fmla="*/ 12190 w 12264"/>
              <a:gd name="connsiteY2" fmla="*/ 834 h 12109"/>
              <a:gd name="connsiteX3" fmla="*/ 12225 w 12264"/>
              <a:gd name="connsiteY3" fmla="*/ 4856 h 12109"/>
              <a:gd name="connsiteX4" fmla="*/ 12259 w 12264"/>
              <a:gd name="connsiteY4" fmla="*/ 8181 h 12109"/>
              <a:gd name="connsiteX5" fmla="*/ 12253 w 12264"/>
              <a:gd name="connsiteY5" fmla="*/ 11388 h 12109"/>
              <a:gd name="connsiteX6" fmla="*/ 9552 w 12264"/>
              <a:gd name="connsiteY6" fmla="*/ 12108 h 12109"/>
              <a:gd name="connsiteX7" fmla="*/ 6163 w 12264"/>
              <a:gd name="connsiteY7" fmla="*/ 11476 h 12109"/>
              <a:gd name="connsiteX8" fmla="*/ 2971 w 12264"/>
              <a:gd name="connsiteY8" fmla="*/ 8691 h 12109"/>
              <a:gd name="connsiteX9" fmla="*/ 1638 w 12264"/>
              <a:gd name="connsiteY9" fmla="*/ 6760 h 12109"/>
              <a:gd name="connsiteX10" fmla="*/ 452 w 12264"/>
              <a:gd name="connsiteY10" fmla="*/ 4474 h 12109"/>
              <a:gd name="connsiteX11" fmla="*/ 102 w 12264"/>
              <a:gd name="connsiteY11" fmla="*/ 3347 h 12109"/>
              <a:gd name="connsiteX12" fmla="*/ 60 w 12264"/>
              <a:gd name="connsiteY12" fmla="*/ 1948 h 12109"/>
              <a:gd name="connsiteX13" fmla="*/ 757 w 12264"/>
              <a:gd name="connsiteY13" fmla="*/ 827 h 12109"/>
              <a:gd name="connsiteX14" fmla="*/ 2220 w 12264"/>
              <a:gd name="connsiteY14" fmla="*/ 233 h 12109"/>
              <a:gd name="connsiteX15" fmla="*/ 4408 w 12264"/>
              <a:gd name="connsiteY15" fmla="*/ 2 h 12109"/>
              <a:gd name="connsiteX16" fmla="*/ 6577 w 12264"/>
              <a:gd name="connsiteY16" fmla="*/ 114 h 12109"/>
              <a:gd name="connsiteX0" fmla="*/ 6577 w 12264"/>
              <a:gd name="connsiteY0" fmla="*/ 114 h 12109"/>
              <a:gd name="connsiteX1" fmla="*/ 9226 w 12264"/>
              <a:gd name="connsiteY1" fmla="*/ 446 h 12109"/>
              <a:gd name="connsiteX2" fmla="*/ 12157 w 12264"/>
              <a:gd name="connsiteY2" fmla="*/ 835 h 12109"/>
              <a:gd name="connsiteX3" fmla="*/ 12225 w 12264"/>
              <a:gd name="connsiteY3" fmla="*/ 4856 h 12109"/>
              <a:gd name="connsiteX4" fmla="*/ 12259 w 12264"/>
              <a:gd name="connsiteY4" fmla="*/ 8181 h 12109"/>
              <a:gd name="connsiteX5" fmla="*/ 12253 w 12264"/>
              <a:gd name="connsiteY5" fmla="*/ 11388 h 12109"/>
              <a:gd name="connsiteX6" fmla="*/ 9552 w 12264"/>
              <a:gd name="connsiteY6" fmla="*/ 12108 h 12109"/>
              <a:gd name="connsiteX7" fmla="*/ 6163 w 12264"/>
              <a:gd name="connsiteY7" fmla="*/ 11476 h 12109"/>
              <a:gd name="connsiteX8" fmla="*/ 2971 w 12264"/>
              <a:gd name="connsiteY8" fmla="*/ 8691 h 12109"/>
              <a:gd name="connsiteX9" fmla="*/ 1638 w 12264"/>
              <a:gd name="connsiteY9" fmla="*/ 6760 h 12109"/>
              <a:gd name="connsiteX10" fmla="*/ 452 w 12264"/>
              <a:gd name="connsiteY10" fmla="*/ 4474 h 12109"/>
              <a:gd name="connsiteX11" fmla="*/ 102 w 12264"/>
              <a:gd name="connsiteY11" fmla="*/ 3347 h 12109"/>
              <a:gd name="connsiteX12" fmla="*/ 60 w 12264"/>
              <a:gd name="connsiteY12" fmla="*/ 1948 h 12109"/>
              <a:gd name="connsiteX13" fmla="*/ 757 w 12264"/>
              <a:gd name="connsiteY13" fmla="*/ 827 h 12109"/>
              <a:gd name="connsiteX14" fmla="*/ 2220 w 12264"/>
              <a:gd name="connsiteY14" fmla="*/ 233 h 12109"/>
              <a:gd name="connsiteX15" fmla="*/ 4408 w 12264"/>
              <a:gd name="connsiteY15" fmla="*/ 2 h 12109"/>
              <a:gd name="connsiteX16" fmla="*/ 6577 w 12264"/>
              <a:gd name="connsiteY16" fmla="*/ 114 h 12109"/>
              <a:gd name="connsiteX0" fmla="*/ 6577 w 12264"/>
              <a:gd name="connsiteY0" fmla="*/ 114 h 12109"/>
              <a:gd name="connsiteX1" fmla="*/ 9226 w 12264"/>
              <a:gd name="connsiteY1" fmla="*/ 446 h 12109"/>
              <a:gd name="connsiteX2" fmla="*/ 12168 w 12264"/>
              <a:gd name="connsiteY2" fmla="*/ 835 h 12109"/>
              <a:gd name="connsiteX3" fmla="*/ 12225 w 12264"/>
              <a:gd name="connsiteY3" fmla="*/ 4856 h 12109"/>
              <a:gd name="connsiteX4" fmla="*/ 12259 w 12264"/>
              <a:gd name="connsiteY4" fmla="*/ 8181 h 12109"/>
              <a:gd name="connsiteX5" fmla="*/ 12253 w 12264"/>
              <a:gd name="connsiteY5" fmla="*/ 11388 h 12109"/>
              <a:gd name="connsiteX6" fmla="*/ 9552 w 12264"/>
              <a:gd name="connsiteY6" fmla="*/ 12108 h 12109"/>
              <a:gd name="connsiteX7" fmla="*/ 6163 w 12264"/>
              <a:gd name="connsiteY7" fmla="*/ 11476 h 12109"/>
              <a:gd name="connsiteX8" fmla="*/ 2971 w 12264"/>
              <a:gd name="connsiteY8" fmla="*/ 8691 h 12109"/>
              <a:gd name="connsiteX9" fmla="*/ 1638 w 12264"/>
              <a:gd name="connsiteY9" fmla="*/ 6760 h 12109"/>
              <a:gd name="connsiteX10" fmla="*/ 452 w 12264"/>
              <a:gd name="connsiteY10" fmla="*/ 4474 h 12109"/>
              <a:gd name="connsiteX11" fmla="*/ 102 w 12264"/>
              <a:gd name="connsiteY11" fmla="*/ 3347 h 12109"/>
              <a:gd name="connsiteX12" fmla="*/ 60 w 12264"/>
              <a:gd name="connsiteY12" fmla="*/ 1948 h 12109"/>
              <a:gd name="connsiteX13" fmla="*/ 757 w 12264"/>
              <a:gd name="connsiteY13" fmla="*/ 827 h 12109"/>
              <a:gd name="connsiteX14" fmla="*/ 2220 w 12264"/>
              <a:gd name="connsiteY14" fmla="*/ 233 h 12109"/>
              <a:gd name="connsiteX15" fmla="*/ 4408 w 12264"/>
              <a:gd name="connsiteY15" fmla="*/ 2 h 12109"/>
              <a:gd name="connsiteX16" fmla="*/ 6577 w 12264"/>
              <a:gd name="connsiteY16" fmla="*/ 114 h 12109"/>
              <a:gd name="connsiteX0" fmla="*/ 6577 w 12264"/>
              <a:gd name="connsiteY0" fmla="*/ 114 h 12109"/>
              <a:gd name="connsiteX1" fmla="*/ 9226 w 12264"/>
              <a:gd name="connsiteY1" fmla="*/ 446 h 12109"/>
              <a:gd name="connsiteX2" fmla="*/ 12179 w 12264"/>
              <a:gd name="connsiteY2" fmla="*/ 809 h 12109"/>
              <a:gd name="connsiteX3" fmla="*/ 12225 w 12264"/>
              <a:gd name="connsiteY3" fmla="*/ 4856 h 12109"/>
              <a:gd name="connsiteX4" fmla="*/ 12259 w 12264"/>
              <a:gd name="connsiteY4" fmla="*/ 8181 h 12109"/>
              <a:gd name="connsiteX5" fmla="*/ 12253 w 12264"/>
              <a:gd name="connsiteY5" fmla="*/ 11388 h 12109"/>
              <a:gd name="connsiteX6" fmla="*/ 9552 w 12264"/>
              <a:gd name="connsiteY6" fmla="*/ 12108 h 12109"/>
              <a:gd name="connsiteX7" fmla="*/ 6163 w 12264"/>
              <a:gd name="connsiteY7" fmla="*/ 11476 h 12109"/>
              <a:gd name="connsiteX8" fmla="*/ 2971 w 12264"/>
              <a:gd name="connsiteY8" fmla="*/ 8691 h 12109"/>
              <a:gd name="connsiteX9" fmla="*/ 1638 w 12264"/>
              <a:gd name="connsiteY9" fmla="*/ 6760 h 12109"/>
              <a:gd name="connsiteX10" fmla="*/ 452 w 12264"/>
              <a:gd name="connsiteY10" fmla="*/ 4474 h 12109"/>
              <a:gd name="connsiteX11" fmla="*/ 102 w 12264"/>
              <a:gd name="connsiteY11" fmla="*/ 3347 h 12109"/>
              <a:gd name="connsiteX12" fmla="*/ 60 w 12264"/>
              <a:gd name="connsiteY12" fmla="*/ 1948 h 12109"/>
              <a:gd name="connsiteX13" fmla="*/ 757 w 12264"/>
              <a:gd name="connsiteY13" fmla="*/ 827 h 12109"/>
              <a:gd name="connsiteX14" fmla="*/ 2220 w 12264"/>
              <a:gd name="connsiteY14" fmla="*/ 233 h 12109"/>
              <a:gd name="connsiteX15" fmla="*/ 4408 w 12264"/>
              <a:gd name="connsiteY15" fmla="*/ 2 h 12109"/>
              <a:gd name="connsiteX16" fmla="*/ 6577 w 12264"/>
              <a:gd name="connsiteY16" fmla="*/ 114 h 12109"/>
              <a:gd name="connsiteX0" fmla="*/ 6577 w 12264"/>
              <a:gd name="connsiteY0" fmla="*/ 114 h 12109"/>
              <a:gd name="connsiteX1" fmla="*/ 9226 w 12264"/>
              <a:gd name="connsiteY1" fmla="*/ 446 h 12109"/>
              <a:gd name="connsiteX2" fmla="*/ 12214 w 12264"/>
              <a:gd name="connsiteY2" fmla="*/ 808 h 12109"/>
              <a:gd name="connsiteX3" fmla="*/ 12225 w 12264"/>
              <a:gd name="connsiteY3" fmla="*/ 4856 h 12109"/>
              <a:gd name="connsiteX4" fmla="*/ 12259 w 12264"/>
              <a:gd name="connsiteY4" fmla="*/ 8181 h 12109"/>
              <a:gd name="connsiteX5" fmla="*/ 12253 w 12264"/>
              <a:gd name="connsiteY5" fmla="*/ 11388 h 12109"/>
              <a:gd name="connsiteX6" fmla="*/ 9552 w 12264"/>
              <a:gd name="connsiteY6" fmla="*/ 12108 h 12109"/>
              <a:gd name="connsiteX7" fmla="*/ 6163 w 12264"/>
              <a:gd name="connsiteY7" fmla="*/ 11476 h 12109"/>
              <a:gd name="connsiteX8" fmla="*/ 2971 w 12264"/>
              <a:gd name="connsiteY8" fmla="*/ 8691 h 12109"/>
              <a:gd name="connsiteX9" fmla="*/ 1638 w 12264"/>
              <a:gd name="connsiteY9" fmla="*/ 6760 h 12109"/>
              <a:gd name="connsiteX10" fmla="*/ 452 w 12264"/>
              <a:gd name="connsiteY10" fmla="*/ 4474 h 12109"/>
              <a:gd name="connsiteX11" fmla="*/ 102 w 12264"/>
              <a:gd name="connsiteY11" fmla="*/ 3347 h 12109"/>
              <a:gd name="connsiteX12" fmla="*/ 60 w 12264"/>
              <a:gd name="connsiteY12" fmla="*/ 1948 h 12109"/>
              <a:gd name="connsiteX13" fmla="*/ 757 w 12264"/>
              <a:gd name="connsiteY13" fmla="*/ 827 h 12109"/>
              <a:gd name="connsiteX14" fmla="*/ 2220 w 12264"/>
              <a:gd name="connsiteY14" fmla="*/ 233 h 12109"/>
              <a:gd name="connsiteX15" fmla="*/ 4408 w 12264"/>
              <a:gd name="connsiteY15" fmla="*/ 2 h 12109"/>
              <a:gd name="connsiteX16" fmla="*/ 6577 w 12264"/>
              <a:gd name="connsiteY16" fmla="*/ 114 h 12109"/>
              <a:gd name="connsiteX0" fmla="*/ 6577 w 12264"/>
              <a:gd name="connsiteY0" fmla="*/ 114 h 12109"/>
              <a:gd name="connsiteX1" fmla="*/ 9226 w 12264"/>
              <a:gd name="connsiteY1" fmla="*/ 446 h 12109"/>
              <a:gd name="connsiteX2" fmla="*/ 12214 w 12264"/>
              <a:gd name="connsiteY2" fmla="*/ 808 h 12109"/>
              <a:gd name="connsiteX3" fmla="*/ 12225 w 12264"/>
              <a:gd name="connsiteY3" fmla="*/ 4856 h 12109"/>
              <a:gd name="connsiteX4" fmla="*/ 12259 w 12264"/>
              <a:gd name="connsiteY4" fmla="*/ 8181 h 12109"/>
              <a:gd name="connsiteX5" fmla="*/ 12253 w 12264"/>
              <a:gd name="connsiteY5" fmla="*/ 11388 h 12109"/>
              <a:gd name="connsiteX6" fmla="*/ 9552 w 12264"/>
              <a:gd name="connsiteY6" fmla="*/ 12108 h 12109"/>
              <a:gd name="connsiteX7" fmla="*/ 6163 w 12264"/>
              <a:gd name="connsiteY7" fmla="*/ 11476 h 12109"/>
              <a:gd name="connsiteX8" fmla="*/ 2971 w 12264"/>
              <a:gd name="connsiteY8" fmla="*/ 8691 h 12109"/>
              <a:gd name="connsiteX9" fmla="*/ 1638 w 12264"/>
              <a:gd name="connsiteY9" fmla="*/ 6760 h 12109"/>
              <a:gd name="connsiteX10" fmla="*/ 452 w 12264"/>
              <a:gd name="connsiteY10" fmla="*/ 4474 h 12109"/>
              <a:gd name="connsiteX11" fmla="*/ 102 w 12264"/>
              <a:gd name="connsiteY11" fmla="*/ 3347 h 12109"/>
              <a:gd name="connsiteX12" fmla="*/ 60 w 12264"/>
              <a:gd name="connsiteY12" fmla="*/ 1948 h 12109"/>
              <a:gd name="connsiteX13" fmla="*/ 757 w 12264"/>
              <a:gd name="connsiteY13" fmla="*/ 827 h 12109"/>
              <a:gd name="connsiteX14" fmla="*/ 2220 w 12264"/>
              <a:gd name="connsiteY14" fmla="*/ 233 h 12109"/>
              <a:gd name="connsiteX15" fmla="*/ 4408 w 12264"/>
              <a:gd name="connsiteY15" fmla="*/ 2 h 12109"/>
              <a:gd name="connsiteX16" fmla="*/ 6577 w 12264"/>
              <a:gd name="connsiteY16" fmla="*/ 114 h 12109"/>
              <a:gd name="connsiteX0" fmla="*/ 6577 w 12264"/>
              <a:gd name="connsiteY0" fmla="*/ 114 h 12109"/>
              <a:gd name="connsiteX1" fmla="*/ 9226 w 12264"/>
              <a:gd name="connsiteY1" fmla="*/ 446 h 12109"/>
              <a:gd name="connsiteX2" fmla="*/ 12226 w 12264"/>
              <a:gd name="connsiteY2" fmla="*/ 808 h 12109"/>
              <a:gd name="connsiteX3" fmla="*/ 12225 w 12264"/>
              <a:gd name="connsiteY3" fmla="*/ 4856 h 12109"/>
              <a:gd name="connsiteX4" fmla="*/ 12259 w 12264"/>
              <a:gd name="connsiteY4" fmla="*/ 8181 h 12109"/>
              <a:gd name="connsiteX5" fmla="*/ 12253 w 12264"/>
              <a:gd name="connsiteY5" fmla="*/ 11388 h 12109"/>
              <a:gd name="connsiteX6" fmla="*/ 9552 w 12264"/>
              <a:gd name="connsiteY6" fmla="*/ 12108 h 12109"/>
              <a:gd name="connsiteX7" fmla="*/ 6163 w 12264"/>
              <a:gd name="connsiteY7" fmla="*/ 11476 h 12109"/>
              <a:gd name="connsiteX8" fmla="*/ 2971 w 12264"/>
              <a:gd name="connsiteY8" fmla="*/ 8691 h 12109"/>
              <a:gd name="connsiteX9" fmla="*/ 1638 w 12264"/>
              <a:gd name="connsiteY9" fmla="*/ 6760 h 12109"/>
              <a:gd name="connsiteX10" fmla="*/ 452 w 12264"/>
              <a:gd name="connsiteY10" fmla="*/ 4474 h 12109"/>
              <a:gd name="connsiteX11" fmla="*/ 102 w 12264"/>
              <a:gd name="connsiteY11" fmla="*/ 3347 h 12109"/>
              <a:gd name="connsiteX12" fmla="*/ 60 w 12264"/>
              <a:gd name="connsiteY12" fmla="*/ 1948 h 12109"/>
              <a:gd name="connsiteX13" fmla="*/ 757 w 12264"/>
              <a:gd name="connsiteY13" fmla="*/ 827 h 12109"/>
              <a:gd name="connsiteX14" fmla="*/ 2220 w 12264"/>
              <a:gd name="connsiteY14" fmla="*/ 233 h 12109"/>
              <a:gd name="connsiteX15" fmla="*/ 4408 w 12264"/>
              <a:gd name="connsiteY15" fmla="*/ 2 h 12109"/>
              <a:gd name="connsiteX16" fmla="*/ 6577 w 12264"/>
              <a:gd name="connsiteY16" fmla="*/ 114 h 12109"/>
              <a:gd name="connsiteX0" fmla="*/ 6577 w 12264"/>
              <a:gd name="connsiteY0" fmla="*/ 114 h 12109"/>
              <a:gd name="connsiteX1" fmla="*/ 9226 w 12264"/>
              <a:gd name="connsiteY1" fmla="*/ 446 h 12109"/>
              <a:gd name="connsiteX2" fmla="*/ 12226 w 12264"/>
              <a:gd name="connsiteY2" fmla="*/ 808 h 12109"/>
              <a:gd name="connsiteX3" fmla="*/ 12225 w 12264"/>
              <a:gd name="connsiteY3" fmla="*/ 4856 h 12109"/>
              <a:gd name="connsiteX4" fmla="*/ 12259 w 12264"/>
              <a:gd name="connsiteY4" fmla="*/ 8181 h 12109"/>
              <a:gd name="connsiteX5" fmla="*/ 12253 w 12264"/>
              <a:gd name="connsiteY5" fmla="*/ 11388 h 12109"/>
              <a:gd name="connsiteX6" fmla="*/ 9552 w 12264"/>
              <a:gd name="connsiteY6" fmla="*/ 12108 h 12109"/>
              <a:gd name="connsiteX7" fmla="*/ 6163 w 12264"/>
              <a:gd name="connsiteY7" fmla="*/ 11476 h 12109"/>
              <a:gd name="connsiteX8" fmla="*/ 2971 w 12264"/>
              <a:gd name="connsiteY8" fmla="*/ 8691 h 12109"/>
              <a:gd name="connsiteX9" fmla="*/ 1638 w 12264"/>
              <a:gd name="connsiteY9" fmla="*/ 6760 h 12109"/>
              <a:gd name="connsiteX10" fmla="*/ 452 w 12264"/>
              <a:gd name="connsiteY10" fmla="*/ 4474 h 12109"/>
              <a:gd name="connsiteX11" fmla="*/ 102 w 12264"/>
              <a:gd name="connsiteY11" fmla="*/ 3347 h 12109"/>
              <a:gd name="connsiteX12" fmla="*/ 60 w 12264"/>
              <a:gd name="connsiteY12" fmla="*/ 1948 h 12109"/>
              <a:gd name="connsiteX13" fmla="*/ 757 w 12264"/>
              <a:gd name="connsiteY13" fmla="*/ 827 h 12109"/>
              <a:gd name="connsiteX14" fmla="*/ 2220 w 12264"/>
              <a:gd name="connsiteY14" fmla="*/ 233 h 12109"/>
              <a:gd name="connsiteX15" fmla="*/ 4408 w 12264"/>
              <a:gd name="connsiteY15" fmla="*/ 2 h 12109"/>
              <a:gd name="connsiteX16" fmla="*/ 6577 w 12264"/>
              <a:gd name="connsiteY16" fmla="*/ 114 h 12109"/>
              <a:gd name="connsiteX0" fmla="*/ 6577 w 12264"/>
              <a:gd name="connsiteY0" fmla="*/ 114 h 12108"/>
              <a:gd name="connsiteX1" fmla="*/ 9226 w 12264"/>
              <a:gd name="connsiteY1" fmla="*/ 446 h 12108"/>
              <a:gd name="connsiteX2" fmla="*/ 12226 w 12264"/>
              <a:gd name="connsiteY2" fmla="*/ 808 h 12108"/>
              <a:gd name="connsiteX3" fmla="*/ 12225 w 12264"/>
              <a:gd name="connsiteY3" fmla="*/ 4856 h 12108"/>
              <a:gd name="connsiteX4" fmla="*/ 12259 w 12264"/>
              <a:gd name="connsiteY4" fmla="*/ 8181 h 12108"/>
              <a:gd name="connsiteX5" fmla="*/ 12253 w 12264"/>
              <a:gd name="connsiteY5" fmla="*/ 11388 h 12108"/>
              <a:gd name="connsiteX6" fmla="*/ 9552 w 12264"/>
              <a:gd name="connsiteY6" fmla="*/ 12108 h 12108"/>
              <a:gd name="connsiteX7" fmla="*/ 6163 w 12264"/>
              <a:gd name="connsiteY7" fmla="*/ 11476 h 12108"/>
              <a:gd name="connsiteX8" fmla="*/ 3404 w 12264"/>
              <a:gd name="connsiteY8" fmla="*/ 9180 h 12108"/>
              <a:gd name="connsiteX9" fmla="*/ 1638 w 12264"/>
              <a:gd name="connsiteY9" fmla="*/ 6760 h 12108"/>
              <a:gd name="connsiteX10" fmla="*/ 452 w 12264"/>
              <a:gd name="connsiteY10" fmla="*/ 4474 h 12108"/>
              <a:gd name="connsiteX11" fmla="*/ 102 w 12264"/>
              <a:gd name="connsiteY11" fmla="*/ 3347 h 12108"/>
              <a:gd name="connsiteX12" fmla="*/ 60 w 12264"/>
              <a:gd name="connsiteY12" fmla="*/ 1948 h 12108"/>
              <a:gd name="connsiteX13" fmla="*/ 757 w 12264"/>
              <a:gd name="connsiteY13" fmla="*/ 827 h 12108"/>
              <a:gd name="connsiteX14" fmla="*/ 2220 w 12264"/>
              <a:gd name="connsiteY14" fmla="*/ 233 h 12108"/>
              <a:gd name="connsiteX15" fmla="*/ 4408 w 12264"/>
              <a:gd name="connsiteY15" fmla="*/ 2 h 12108"/>
              <a:gd name="connsiteX16" fmla="*/ 6577 w 12264"/>
              <a:gd name="connsiteY16" fmla="*/ 114 h 12108"/>
              <a:gd name="connsiteX0" fmla="*/ 6577 w 12264"/>
              <a:gd name="connsiteY0" fmla="*/ 114 h 12108"/>
              <a:gd name="connsiteX1" fmla="*/ 9226 w 12264"/>
              <a:gd name="connsiteY1" fmla="*/ 446 h 12108"/>
              <a:gd name="connsiteX2" fmla="*/ 12226 w 12264"/>
              <a:gd name="connsiteY2" fmla="*/ 808 h 12108"/>
              <a:gd name="connsiteX3" fmla="*/ 12225 w 12264"/>
              <a:gd name="connsiteY3" fmla="*/ 4856 h 12108"/>
              <a:gd name="connsiteX4" fmla="*/ 12259 w 12264"/>
              <a:gd name="connsiteY4" fmla="*/ 8181 h 12108"/>
              <a:gd name="connsiteX5" fmla="*/ 12253 w 12264"/>
              <a:gd name="connsiteY5" fmla="*/ 11388 h 12108"/>
              <a:gd name="connsiteX6" fmla="*/ 9552 w 12264"/>
              <a:gd name="connsiteY6" fmla="*/ 12108 h 12108"/>
              <a:gd name="connsiteX7" fmla="*/ 6163 w 12264"/>
              <a:gd name="connsiteY7" fmla="*/ 11476 h 12108"/>
              <a:gd name="connsiteX8" fmla="*/ 3404 w 12264"/>
              <a:gd name="connsiteY8" fmla="*/ 9180 h 12108"/>
              <a:gd name="connsiteX9" fmla="*/ 1638 w 12264"/>
              <a:gd name="connsiteY9" fmla="*/ 6760 h 12108"/>
              <a:gd name="connsiteX10" fmla="*/ 452 w 12264"/>
              <a:gd name="connsiteY10" fmla="*/ 4474 h 12108"/>
              <a:gd name="connsiteX11" fmla="*/ 102 w 12264"/>
              <a:gd name="connsiteY11" fmla="*/ 3347 h 12108"/>
              <a:gd name="connsiteX12" fmla="*/ 60 w 12264"/>
              <a:gd name="connsiteY12" fmla="*/ 1948 h 12108"/>
              <a:gd name="connsiteX13" fmla="*/ 757 w 12264"/>
              <a:gd name="connsiteY13" fmla="*/ 827 h 12108"/>
              <a:gd name="connsiteX14" fmla="*/ 2220 w 12264"/>
              <a:gd name="connsiteY14" fmla="*/ 233 h 12108"/>
              <a:gd name="connsiteX15" fmla="*/ 4408 w 12264"/>
              <a:gd name="connsiteY15" fmla="*/ 2 h 12108"/>
              <a:gd name="connsiteX16" fmla="*/ 6577 w 12264"/>
              <a:gd name="connsiteY16" fmla="*/ 114 h 12108"/>
              <a:gd name="connsiteX0" fmla="*/ 6577 w 12264"/>
              <a:gd name="connsiteY0" fmla="*/ 114 h 12108"/>
              <a:gd name="connsiteX1" fmla="*/ 9226 w 12264"/>
              <a:gd name="connsiteY1" fmla="*/ 446 h 12108"/>
              <a:gd name="connsiteX2" fmla="*/ 12226 w 12264"/>
              <a:gd name="connsiteY2" fmla="*/ 808 h 12108"/>
              <a:gd name="connsiteX3" fmla="*/ 12225 w 12264"/>
              <a:gd name="connsiteY3" fmla="*/ 4856 h 12108"/>
              <a:gd name="connsiteX4" fmla="*/ 12259 w 12264"/>
              <a:gd name="connsiteY4" fmla="*/ 8181 h 12108"/>
              <a:gd name="connsiteX5" fmla="*/ 12253 w 12264"/>
              <a:gd name="connsiteY5" fmla="*/ 11388 h 12108"/>
              <a:gd name="connsiteX6" fmla="*/ 9552 w 12264"/>
              <a:gd name="connsiteY6" fmla="*/ 12108 h 12108"/>
              <a:gd name="connsiteX7" fmla="*/ 6163 w 12264"/>
              <a:gd name="connsiteY7" fmla="*/ 11476 h 12108"/>
              <a:gd name="connsiteX8" fmla="*/ 3405 w 12264"/>
              <a:gd name="connsiteY8" fmla="*/ 9287 h 12108"/>
              <a:gd name="connsiteX9" fmla="*/ 1638 w 12264"/>
              <a:gd name="connsiteY9" fmla="*/ 6760 h 12108"/>
              <a:gd name="connsiteX10" fmla="*/ 452 w 12264"/>
              <a:gd name="connsiteY10" fmla="*/ 4474 h 12108"/>
              <a:gd name="connsiteX11" fmla="*/ 102 w 12264"/>
              <a:gd name="connsiteY11" fmla="*/ 3347 h 12108"/>
              <a:gd name="connsiteX12" fmla="*/ 60 w 12264"/>
              <a:gd name="connsiteY12" fmla="*/ 1948 h 12108"/>
              <a:gd name="connsiteX13" fmla="*/ 757 w 12264"/>
              <a:gd name="connsiteY13" fmla="*/ 827 h 12108"/>
              <a:gd name="connsiteX14" fmla="*/ 2220 w 12264"/>
              <a:gd name="connsiteY14" fmla="*/ 233 h 12108"/>
              <a:gd name="connsiteX15" fmla="*/ 4408 w 12264"/>
              <a:gd name="connsiteY15" fmla="*/ 2 h 12108"/>
              <a:gd name="connsiteX16" fmla="*/ 6577 w 12264"/>
              <a:gd name="connsiteY16" fmla="*/ 114 h 12108"/>
              <a:gd name="connsiteX0" fmla="*/ 6577 w 12264"/>
              <a:gd name="connsiteY0" fmla="*/ 114 h 12108"/>
              <a:gd name="connsiteX1" fmla="*/ 9226 w 12264"/>
              <a:gd name="connsiteY1" fmla="*/ 446 h 12108"/>
              <a:gd name="connsiteX2" fmla="*/ 12226 w 12264"/>
              <a:gd name="connsiteY2" fmla="*/ 808 h 12108"/>
              <a:gd name="connsiteX3" fmla="*/ 12225 w 12264"/>
              <a:gd name="connsiteY3" fmla="*/ 4856 h 12108"/>
              <a:gd name="connsiteX4" fmla="*/ 12259 w 12264"/>
              <a:gd name="connsiteY4" fmla="*/ 8181 h 12108"/>
              <a:gd name="connsiteX5" fmla="*/ 12253 w 12264"/>
              <a:gd name="connsiteY5" fmla="*/ 11388 h 12108"/>
              <a:gd name="connsiteX6" fmla="*/ 9552 w 12264"/>
              <a:gd name="connsiteY6" fmla="*/ 12108 h 12108"/>
              <a:gd name="connsiteX7" fmla="*/ 6163 w 12264"/>
              <a:gd name="connsiteY7" fmla="*/ 11476 h 12108"/>
              <a:gd name="connsiteX8" fmla="*/ 3405 w 12264"/>
              <a:gd name="connsiteY8" fmla="*/ 9287 h 12108"/>
              <a:gd name="connsiteX9" fmla="*/ 1638 w 12264"/>
              <a:gd name="connsiteY9" fmla="*/ 6760 h 12108"/>
              <a:gd name="connsiteX10" fmla="*/ 452 w 12264"/>
              <a:gd name="connsiteY10" fmla="*/ 4474 h 12108"/>
              <a:gd name="connsiteX11" fmla="*/ 102 w 12264"/>
              <a:gd name="connsiteY11" fmla="*/ 3347 h 12108"/>
              <a:gd name="connsiteX12" fmla="*/ 60 w 12264"/>
              <a:gd name="connsiteY12" fmla="*/ 1948 h 12108"/>
              <a:gd name="connsiteX13" fmla="*/ 757 w 12264"/>
              <a:gd name="connsiteY13" fmla="*/ 827 h 12108"/>
              <a:gd name="connsiteX14" fmla="*/ 2220 w 12264"/>
              <a:gd name="connsiteY14" fmla="*/ 233 h 12108"/>
              <a:gd name="connsiteX15" fmla="*/ 4408 w 12264"/>
              <a:gd name="connsiteY15" fmla="*/ 2 h 12108"/>
              <a:gd name="connsiteX16" fmla="*/ 6577 w 12264"/>
              <a:gd name="connsiteY16" fmla="*/ 114 h 12108"/>
              <a:gd name="connsiteX0" fmla="*/ 6577 w 12264"/>
              <a:gd name="connsiteY0" fmla="*/ 114 h 12108"/>
              <a:gd name="connsiteX1" fmla="*/ 9226 w 12264"/>
              <a:gd name="connsiteY1" fmla="*/ 446 h 12108"/>
              <a:gd name="connsiteX2" fmla="*/ 12226 w 12264"/>
              <a:gd name="connsiteY2" fmla="*/ 808 h 12108"/>
              <a:gd name="connsiteX3" fmla="*/ 12225 w 12264"/>
              <a:gd name="connsiteY3" fmla="*/ 4856 h 12108"/>
              <a:gd name="connsiteX4" fmla="*/ 12259 w 12264"/>
              <a:gd name="connsiteY4" fmla="*/ 8181 h 12108"/>
              <a:gd name="connsiteX5" fmla="*/ 12253 w 12264"/>
              <a:gd name="connsiteY5" fmla="*/ 11388 h 12108"/>
              <a:gd name="connsiteX6" fmla="*/ 9552 w 12264"/>
              <a:gd name="connsiteY6" fmla="*/ 12108 h 12108"/>
              <a:gd name="connsiteX7" fmla="*/ 6163 w 12264"/>
              <a:gd name="connsiteY7" fmla="*/ 11476 h 12108"/>
              <a:gd name="connsiteX8" fmla="*/ 3416 w 12264"/>
              <a:gd name="connsiteY8" fmla="*/ 9233 h 12108"/>
              <a:gd name="connsiteX9" fmla="*/ 1638 w 12264"/>
              <a:gd name="connsiteY9" fmla="*/ 6760 h 12108"/>
              <a:gd name="connsiteX10" fmla="*/ 452 w 12264"/>
              <a:gd name="connsiteY10" fmla="*/ 4474 h 12108"/>
              <a:gd name="connsiteX11" fmla="*/ 102 w 12264"/>
              <a:gd name="connsiteY11" fmla="*/ 3347 h 12108"/>
              <a:gd name="connsiteX12" fmla="*/ 60 w 12264"/>
              <a:gd name="connsiteY12" fmla="*/ 1948 h 12108"/>
              <a:gd name="connsiteX13" fmla="*/ 757 w 12264"/>
              <a:gd name="connsiteY13" fmla="*/ 827 h 12108"/>
              <a:gd name="connsiteX14" fmla="*/ 2220 w 12264"/>
              <a:gd name="connsiteY14" fmla="*/ 233 h 12108"/>
              <a:gd name="connsiteX15" fmla="*/ 4408 w 12264"/>
              <a:gd name="connsiteY15" fmla="*/ 2 h 12108"/>
              <a:gd name="connsiteX16" fmla="*/ 6577 w 12264"/>
              <a:gd name="connsiteY16" fmla="*/ 114 h 12108"/>
              <a:gd name="connsiteX0" fmla="*/ 6577 w 12264"/>
              <a:gd name="connsiteY0" fmla="*/ 114 h 12128"/>
              <a:gd name="connsiteX1" fmla="*/ 9226 w 12264"/>
              <a:gd name="connsiteY1" fmla="*/ 446 h 12128"/>
              <a:gd name="connsiteX2" fmla="*/ 12226 w 12264"/>
              <a:gd name="connsiteY2" fmla="*/ 808 h 12128"/>
              <a:gd name="connsiteX3" fmla="*/ 12225 w 12264"/>
              <a:gd name="connsiteY3" fmla="*/ 4856 h 12128"/>
              <a:gd name="connsiteX4" fmla="*/ 12259 w 12264"/>
              <a:gd name="connsiteY4" fmla="*/ 8181 h 12128"/>
              <a:gd name="connsiteX5" fmla="*/ 12253 w 12264"/>
              <a:gd name="connsiteY5" fmla="*/ 11388 h 12128"/>
              <a:gd name="connsiteX6" fmla="*/ 9552 w 12264"/>
              <a:gd name="connsiteY6" fmla="*/ 12108 h 12128"/>
              <a:gd name="connsiteX7" fmla="*/ 6163 w 12264"/>
              <a:gd name="connsiteY7" fmla="*/ 11476 h 12128"/>
              <a:gd name="connsiteX8" fmla="*/ 3416 w 12264"/>
              <a:gd name="connsiteY8" fmla="*/ 9233 h 12128"/>
              <a:gd name="connsiteX9" fmla="*/ 1638 w 12264"/>
              <a:gd name="connsiteY9" fmla="*/ 6760 h 12128"/>
              <a:gd name="connsiteX10" fmla="*/ 452 w 12264"/>
              <a:gd name="connsiteY10" fmla="*/ 4474 h 12128"/>
              <a:gd name="connsiteX11" fmla="*/ 102 w 12264"/>
              <a:gd name="connsiteY11" fmla="*/ 3347 h 12128"/>
              <a:gd name="connsiteX12" fmla="*/ 60 w 12264"/>
              <a:gd name="connsiteY12" fmla="*/ 1948 h 12128"/>
              <a:gd name="connsiteX13" fmla="*/ 757 w 12264"/>
              <a:gd name="connsiteY13" fmla="*/ 827 h 12128"/>
              <a:gd name="connsiteX14" fmla="*/ 2220 w 12264"/>
              <a:gd name="connsiteY14" fmla="*/ 233 h 12128"/>
              <a:gd name="connsiteX15" fmla="*/ 4408 w 12264"/>
              <a:gd name="connsiteY15" fmla="*/ 2 h 12128"/>
              <a:gd name="connsiteX16" fmla="*/ 6577 w 12264"/>
              <a:gd name="connsiteY16" fmla="*/ 114 h 12128"/>
              <a:gd name="connsiteX0" fmla="*/ 6577 w 12264"/>
              <a:gd name="connsiteY0" fmla="*/ 114 h 12145"/>
              <a:gd name="connsiteX1" fmla="*/ 9226 w 12264"/>
              <a:gd name="connsiteY1" fmla="*/ 446 h 12145"/>
              <a:gd name="connsiteX2" fmla="*/ 12226 w 12264"/>
              <a:gd name="connsiteY2" fmla="*/ 808 h 12145"/>
              <a:gd name="connsiteX3" fmla="*/ 12225 w 12264"/>
              <a:gd name="connsiteY3" fmla="*/ 4856 h 12145"/>
              <a:gd name="connsiteX4" fmla="*/ 12259 w 12264"/>
              <a:gd name="connsiteY4" fmla="*/ 8181 h 12145"/>
              <a:gd name="connsiteX5" fmla="*/ 12253 w 12264"/>
              <a:gd name="connsiteY5" fmla="*/ 11388 h 12145"/>
              <a:gd name="connsiteX6" fmla="*/ 9552 w 12264"/>
              <a:gd name="connsiteY6" fmla="*/ 12108 h 12145"/>
              <a:gd name="connsiteX7" fmla="*/ 6163 w 12264"/>
              <a:gd name="connsiteY7" fmla="*/ 11476 h 12145"/>
              <a:gd name="connsiteX8" fmla="*/ 3416 w 12264"/>
              <a:gd name="connsiteY8" fmla="*/ 9233 h 12145"/>
              <a:gd name="connsiteX9" fmla="*/ 1638 w 12264"/>
              <a:gd name="connsiteY9" fmla="*/ 6760 h 12145"/>
              <a:gd name="connsiteX10" fmla="*/ 452 w 12264"/>
              <a:gd name="connsiteY10" fmla="*/ 4474 h 12145"/>
              <a:gd name="connsiteX11" fmla="*/ 102 w 12264"/>
              <a:gd name="connsiteY11" fmla="*/ 3347 h 12145"/>
              <a:gd name="connsiteX12" fmla="*/ 60 w 12264"/>
              <a:gd name="connsiteY12" fmla="*/ 1948 h 12145"/>
              <a:gd name="connsiteX13" fmla="*/ 757 w 12264"/>
              <a:gd name="connsiteY13" fmla="*/ 827 h 12145"/>
              <a:gd name="connsiteX14" fmla="*/ 2220 w 12264"/>
              <a:gd name="connsiteY14" fmla="*/ 233 h 12145"/>
              <a:gd name="connsiteX15" fmla="*/ 4408 w 12264"/>
              <a:gd name="connsiteY15" fmla="*/ 2 h 12145"/>
              <a:gd name="connsiteX16" fmla="*/ 6577 w 12264"/>
              <a:gd name="connsiteY16" fmla="*/ 114 h 12145"/>
              <a:gd name="connsiteX0" fmla="*/ 6577 w 12455"/>
              <a:gd name="connsiteY0" fmla="*/ 114 h 12170"/>
              <a:gd name="connsiteX1" fmla="*/ 9226 w 12455"/>
              <a:gd name="connsiteY1" fmla="*/ 446 h 12170"/>
              <a:gd name="connsiteX2" fmla="*/ 12226 w 12455"/>
              <a:gd name="connsiteY2" fmla="*/ 808 h 12170"/>
              <a:gd name="connsiteX3" fmla="*/ 12225 w 12455"/>
              <a:gd name="connsiteY3" fmla="*/ 4856 h 12170"/>
              <a:gd name="connsiteX4" fmla="*/ 12259 w 12455"/>
              <a:gd name="connsiteY4" fmla="*/ 8181 h 12170"/>
              <a:gd name="connsiteX5" fmla="*/ 12253 w 12455"/>
              <a:gd name="connsiteY5" fmla="*/ 11388 h 12170"/>
              <a:gd name="connsiteX6" fmla="*/ 9564 w 12455"/>
              <a:gd name="connsiteY6" fmla="*/ 12134 h 12170"/>
              <a:gd name="connsiteX7" fmla="*/ 6163 w 12455"/>
              <a:gd name="connsiteY7" fmla="*/ 11476 h 12170"/>
              <a:gd name="connsiteX8" fmla="*/ 3416 w 12455"/>
              <a:gd name="connsiteY8" fmla="*/ 9233 h 12170"/>
              <a:gd name="connsiteX9" fmla="*/ 1638 w 12455"/>
              <a:gd name="connsiteY9" fmla="*/ 6760 h 12170"/>
              <a:gd name="connsiteX10" fmla="*/ 452 w 12455"/>
              <a:gd name="connsiteY10" fmla="*/ 4474 h 12170"/>
              <a:gd name="connsiteX11" fmla="*/ 102 w 12455"/>
              <a:gd name="connsiteY11" fmla="*/ 3347 h 12170"/>
              <a:gd name="connsiteX12" fmla="*/ 60 w 12455"/>
              <a:gd name="connsiteY12" fmla="*/ 1948 h 12170"/>
              <a:gd name="connsiteX13" fmla="*/ 757 w 12455"/>
              <a:gd name="connsiteY13" fmla="*/ 827 h 12170"/>
              <a:gd name="connsiteX14" fmla="*/ 2220 w 12455"/>
              <a:gd name="connsiteY14" fmla="*/ 233 h 12170"/>
              <a:gd name="connsiteX15" fmla="*/ 4408 w 12455"/>
              <a:gd name="connsiteY15" fmla="*/ 2 h 12170"/>
              <a:gd name="connsiteX16" fmla="*/ 6577 w 12455"/>
              <a:gd name="connsiteY16" fmla="*/ 114 h 12170"/>
              <a:gd name="connsiteX0" fmla="*/ 6577 w 12455"/>
              <a:gd name="connsiteY0" fmla="*/ 114 h 12170"/>
              <a:gd name="connsiteX1" fmla="*/ 9226 w 12455"/>
              <a:gd name="connsiteY1" fmla="*/ 446 h 12170"/>
              <a:gd name="connsiteX2" fmla="*/ 12226 w 12455"/>
              <a:gd name="connsiteY2" fmla="*/ 808 h 12170"/>
              <a:gd name="connsiteX3" fmla="*/ 12225 w 12455"/>
              <a:gd name="connsiteY3" fmla="*/ 4856 h 12170"/>
              <a:gd name="connsiteX4" fmla="*/ 12259 w 12455"/>
              <a:gd name="connsiteY4" fmla="*/ 8181 h 12170"/>
              <a:gd name="connsiteX5" fmla="*/ 12253 w 12455"/>
              <a:gd name="connsiteY5" fmla="*/ 11388 h 12170"/>
              <a:gd name="connsiteX6" fmla="*/ 9564 w 12455"/>
              <a:gd name="connsiteY6" fmla="*/ 12134 h 12170"/>
              <a:gd name="connsiteX7" fmla="*/ 6163 w 12455"/>
              <a:gd name="connsiteY7" fmla="*/ 11476 h 12170"/>
              <a:gd name="connsiteX8" fmla="*/ 3416 w 12455"/>
              <a:gd name="connsiteY8" fmla="*/ 9233 h 12170"/>
              <a:gd name="connsiteX9" fmla="*/ 1638 w 12455"/>
              <a:gd name="connsiteY9" fmla="*/ 6760 h 12170"/>
              <a:gd name="connsiteX10" fmla="*/ 453 w 12455"/>
              <a:gd name="connsiteY10" fmla="*/ 4554 h 12170"/>
              <a:gd name="connsiteX11" fmla="*/ 102 w 12455"/>
              <a:gd name="connsiteY11" fmla="*/ 3347 h 12170"/>
              <a:gd name="connsiteX12" fmla="*/ 60 w 12455"/>
              <a:gd name="connsiteY12" fmla="*/ 1948 h 12170"/>
              <a:gd name="connsiteX13" fmla="*/ 757 w 12455"/>
              <a:gd name="connsiteY13" fmla="*/ 827 h 12170"/>
              <a:gd name="connsiteX14" fmla="*/ 2220 w 12455"/>
              <a:gd name="connsiteY14" fmla="*/ 233 h 12170"/>
              <a:gd name="connsiteX15" fmla="*/ 4408 w 12455"/>
              <a:gd name="connsiteY15" fmla="*/ 2 h 12170"/>
              <a:gd name="connsiteX16" fmla="*/ 6577 w 12455"/>
              <a:gd name="connsiteY16" fmla="*/ 114 h 12170"/>
              <a:gd name="connsiteX0" fmla="*/ 6577 w 12451"/>
              <a:gd name="connsiteY0" fmla="*/ 114 h 12218"/>
              <a:gd name="connsiteX1" fmla="*/ 9226 w 12451"/>
              <a:gd name="connsiteY1" fmla="*/ 446 h 12218"/>
              <a:gd name="connsiteX2" fmla="*/ 12226 w 12451"/>
              <a:gd name="connsiteY2" fmla="*/ 808 h 12218"/>
              <a:gd name="connsiteX3" fmla="*/ 12225 w 12451"/>
              <a:gd name="connsiteY3" fmla="*/ 4856 h 12218"/>
              <a:gd name="connsiteX4" fmla="*/ 12259 w 12451"/>
              <a:gd name="connsiteY4" fmla="*/ 8181 h 12218"/>
              <a:gd name="connsiteX5" fmla="*/ 12253 w 12451"/>
              <a:gd name="connsiteY5" fmla="*/ 11388 h 12218"/>
              <a:gd name="connsiteX6" fmla="*/ 9611 w 12451"/>
              <a:gd name="connsiteY6" fmla="*/ 12185 h 12218"/>
              <a:gd name="connsiteX7" fmla="*/ 6163 w 12451"/>
              <a:gd name="connsiteY7" fmla="*/ 11476 h 12218"/>
              <a:gd name="connsiteX8" fmla="*/ 3416 w 12451"/>
              <a:gd name="connsiteY8" fmla="*/ 9233 h 12218"/>
              <a:gd name="connsiteX9" fmla="*/ 1638 w 12451"/>
              <a:gd name="connsiteY9" fmla="*/ 6760 h 12218"/>
              <a:gd name="connsiteX10" fmla="*/ 453 w 12451"/>
              <a:gd name="connsiteY10" fmla="*/ 4554 h 12218"/>
              <a:gd name="connsiteX11" fmla="*/ 102 w 12451"/>
              <a:gd name="connsiteY11" fmla="*/ 3347 h 12218"/>
              <a:gd name="connsiteX12" fmla="*/ 60 w 12451"/>
              <a:gd name="connsiteY12" fmla="*/ 1948 h 12218"/>
              <a:gd name="connsiteX13" fmla="*/ 757 w 12451"/>
              <a:gd name="connsiteY13" fmla="*/ 827 h 12218"/>
              <a:gd name="connsiteX14" fmla="*/ 2220 w 12451"/>
              <a:gd name="connsiteY14" fmla="*/ 233 h 12218"/>
              <a:gd name="connsiteX15" fmla="*/ 4408 w 12451"/>
              <a:gd name="connsiteY15" fmla="*/ 2 h 12218"/>
              <a:gd name="connsiteX16" fmla="*/ 6577 w 12451"/>
              <a:gd name="connsiteY16" fmla="*/ 114 h 12218"/>
              <a:gd name="connsiteX0" fmla="*/ 6577 w 12373"/>
              <a:gd name="connsiteY0" fmla="*/ 114 h 12189"/>
              <a:gd name="connsiteX1" fmla="*/ 9226 w 12373"/>
              <a:gd name="connsiteY1" fmla="*/ 446 h 12189"/>
              <a:gd name="connsiteX2" fmla="*/ 12226 w 12373"/>
              <a:gd name="connsiteY2" fmla="*/ 808 h 12189"/>
              <a:gd name="connsiteX3" fmla="*/ 12225 w 12373"/>
              <a:gd name="connsiteY3" fmla="*/ 4856 h 12189"/>
              <a:gd name="connsiteX4" fmla="*/ 12259 w 12373"/>
              <a:gd name="connsiteY4" fmla="*/ 8181 h 12189"/>
              <a:gd name="connsiteX5" fmla="*/ 12147 w 12373"/>
              <a:gd name="connsiteY5" fmla="*/ 11206 h 12189"/>
              <a:gd name="connsiteX6" fmla="*/ 9611 w 12373"/>
              <a:gd name="connsiteY6" fmla="*/ 12185 h 12189"/>
              <a:gd name="connsiteX7" fmla="*/ 6163 w 12373"/>
              <a:gd name="connsiteY7" fmla="*/ 11476 h 12189"/>
              <a:gd name="connsiteX8" fmla="*/ 3416 w 12373"/>
              <a:gd name="connsiteY8" fmla="*/ 9233 h 12189"/>
              <a:gd name="connsiteX9" fmla="*/ 1638 w 12373"/>
              <a:gd name="connsiteY9" fmla="*/ 6760 h 12189"/>
              <a:gd name="connsiteX10" fmla="*/ 453 w 12373"/>
              <a:gd name="connsiteY10" fmla="*/ 4554 h 12189"/>
              <a:gd name="connsiteX11" fmla="*/ 102 w 12373"/>
              <a:gd name="connsiteY11" fmla="*/ 3347 h 12189"/>
              <a:gd name="connsiteX12" fmla="*/ 60 w 12373"/>
              <a:gd name="connsiteY12" fmla="*/ 1948 h 12189"/>
              <a:gd name="connsiteX13" fmla="*/ 757 w 12373"/>
              <a:gd name="connsiteY13" fmla="*/ 827 h 12189"/>
              <a:gd name="connsiteX14" fmla="*/ 2220 w 12373"/>
              <a:gd name="connsiteY14" fmla="*/ 233 h 12189"/>
              <a:gd name="connsiteX15" fmla="*/ 4408 w 12373"/>
              <a:gd name="connsiteY15" fmla="*/ 2 h 12189"/>
              <a:gd name="connsiteX16" fmla="*/ 6577 w 12373"/>
              <a:gd name="connsiteY16" fmla="*/ 114 h 12189"/>
              <a:gd name="connsiteX0" fmla="*/ 6577 w 12450"/>
              <a:gd name="connsiteY0" fmla="*/ 114 h 12187"/>
              <a:gd name="connsiteX1" fmla="*/ 9226 w 12450"/>
              <a:gd name="connsiteY1" fmla="*/ 446 h 12187"/>
              <a:gd name="connsiteX2" fmla="*/ 12226 w 12450"/>
              <a:gd name="connsiteY2" fmla="*/ 808 h 12187"/>
              <a:gd name="connsiteX3" fmla="*/ 12225 w 12450"/>
              <a:gd name="connsiteY3" fmla="*/ 4856 h 12187"/>
              <a:gd name="connsiteX4" fmla="*/ 12259 w 12450"/>
              <a:gd name="connsiteY4" fmla="*/ 8181 h 12187"/>
              <a:gd name="connsiteX5" fmla="*/ 12252 w 12450"/>
              <a:gd name="connsiteY5" fmla="*/ 11308 h 12187"/>
              <a:gd name="connsiteX6" fmla="*/ 9611 w 12450"/>
              <a:gd name="connsiteY6" fmla="*/ 12185 h 12187"/>
              <a:gd name="connsiteX7" fmla="*/ 6163 w 12450"/>
              <a:gd name="connsiteY7" fmla="*/ 11476 h 12187"/>
              <a:gd name="connsiteX8" fmla="*/ 3416 w 12450"/>
              <a:gd name="connsiteY8" fmla="*/ 9233 h 12187"/>
              <a:gd name="connsiteX9" fmla="*/ 1638 w 12450"/>
              <a:gd name="connsiteY9" fmla="*/ 6760 h 12187"/>
              <a:gd name="connsiteX10" fmla="*/ 453 w 12450"/>
              <a:gd name="connsiteY10" fmla="*/ 4554 h 12187"/>
              <a:gd name="connsiteX11" fmla="*/ 102 w 12450"/>
              <a:gd name="connsiteY11" fmla="*/ 3347 h 12187"/>
              <a:gd name="connsiteX12" fmla="*/ 60 w 12450"/>
              <a:gd name="connsiteY12" fmla="*/ 1948 h 12187"/>
              <a:gd name="connsiteX13" fmla="*/ 757 w 12450"/>
              <a:gd name="connsiteY13" fmla="*/ 827 h 12187"/>
              <a:gd name="connsiteX14" fmla="*/ 2220 w 12450"/>
              <a:gd name="connsiteY14" fmla="*/ 233 h 12187"/>
              <a:gd name="connsiteX15" fmla="*/ 4408 w 12450"/>
              <a:gd name="connsiteY15" fmla="*/ 2 h 12187"/>
              <a:gd name="connsiteX16" fmla="*/ 6577 w 12450"/>
              <a:gd name="connsiteY16" fmla="*/ 114 h 12187"/>
              <a:gd name="connsiteX0" fmla="*/ 6577 w 12277"/>
              <a:gd name="connsiteY0" fmla="*/ 114 h 12187"/>
              <a:gd name="connsiteX1" fmla="*/ 9226 w 12277"/>
              <a:gd name="connsiteY1" fmla="*/ 446 h 12187"/>
              <a:gd name="connsiteX2" fmla="*/ 12226 w 12277"/>
              <a:gd name="connsiteY2" fmla="*/ 808 h 12187"/>
              <a:gd name="connsiteX3" fmla="*/ 12225 w 12277"/>
              <a:gd name="connsiteY3" fmla="*/ 4856 h 12187"/>
              <a:gd name="connsiteX4" fmla="*/ 12259 w 12277"/>
              <a:gd name="connsiteY4" fmla="*/ 8181 h 12187"/>
              <a:gd name="connsiteX5" fmla="*/ 12252 w 12277"/>
              <a:gd name="connsiteY5" fmla="*/ 11308 h 12187"/>
              <a:gd name="connsiteX6" fmla="*/ 9611 w 12277"/>
              <a:gd name="connsiteY6" fmla="*/ 12185 h 12187"/>
              <a:gd name="connsiteX7" fmla="*/ 6163 w 12277"/>
              <a:gd name="connsiteY7" fmla="*/ 11476 h 12187"/>
              <a:gd name="connsiteX8" fmla="*/ 3416 w 12277"/>
              <a:gd name="connsiteY8" fmla="*/ 9233 h 12187"/>
              <a:gd name="connsiteX9" fmla="*/ 1638 w 12277"/>
              <a:gd name="connsiteY9" fmla="*/ 6760 h 12187"/>
              <a:gd name="connsiteX10" fmla="*/ 453 w 12277"/>
              <a:gd name="connsiteY10" fmla="*/ 4554 h 12187"/>
              <a:gd name="connsiteX11" fmla="*/ 102 w 12277"/>
              <a:gd name="connsiteY11" fmla="*/ 3347 h 12187"/>
              <a:gd name="connsiteX12" fmla="*/ 60 w 12277"/>
              <a:gd name="connsiteY12" fmla="*/ 1948 h 12187"/>
              <a:gd name="connsiteX13" fmla="*/ 757 w 12277"/>
              <a:gd name="connsiteY13" fmla="*/ 827 h 12187"/>
              <a:gd name="connsiteX14" fmla="*/ 2220 w 12277"/>
              <a:gd name="connsiteY14" fmla="*/ 233 h 12187"/>
              <a:gd name="connsiteX15" fmla="*/ 4408 w 12277"/>
              <a:gd name="connsiteY15" fmla="*/ 2 h 12187"/>
              <a:gd name="connsiteX16" fmla="*/ 6577 w 12277"/>
              <a:gd name="connsiteY16" fmla="*/ 114 h 12187"/>
              <a:gd name="connsiteX0" fmla="*/ 6577 w 12277"/>
              <a:gd name="connsiteY0" fmla="*/ 114 h 12200"/>
              <a:gd name="connsiteX1" fmla="*/ 9226 w 12277"/>
              <a:gd name="connsiteY1" fmla="*/ 446 h 12200"/>
              <a:gd name="connsiteX2" fmla="*/ 12226 w 12277"/>
              <a:gd name="connsiteY2" fmla="*/ 808 h 12200"/>
              <a:gd name="connsiteX3" fmla="*/ 12225 w 12277"/>
              <a:gd name="connsiteY3" fmla="*/ 4856 h 12200"/>
              <a:gd name="connsiteX4" fmla="*/ 12259 w 12277"/>
              <a:gd name="connsiteY4" fmla="*/ 8181 h 12200"/>
              <a:gd name="connsiteX5" fmla="*/ 12252 w 12277"/>
              <a:gd name="connsiteY5" fmla="*/ 11308 h 12200"/>
              <a:gd name="connsiteX6" fmla="*/ 9611 w 12277"/>
              <a:gd name="connsiteY6" fmla="*/ 12185 h 12200"/>
              <a:gd name="connsiteX7" fmla="*/ 6163 w 12277"/>
              <a:gd name="connsiteY7" fmla="*/ 11476 h 12200"/>
              <a:gd name="connsiteX8" fmla="*/ 3416 w 12277"/>
              <a:gd name="connsiteY8" fmla="*/ 9233 h 12200"/>
              <a:gd name="connsiteX9" fmla="*/ 1638 w 12277"/>
              <a:gd name="connsiteY9" fmla="*/ 6760 h 12200"/>
              <a:gd name="connsiteX10" fmla="*/ 453 w 12277"/>
              <a:gd name="connsiteY10" fmla="*/ 4554 h 12200"/>
              <a:gd name="connsiteX11" fmla="*/ 102 w 12277"/>
              <a:gd name="connsiteY11" fmla="*/ 3347 h 12200"/>
              <a:gd name="connsiteX12" fmla="*/ 60 w 12277"/>
              <a:gd name="connsiteY12" fmla="*/ 1948 h 12200"/>
              <a:gd name="connsiteX13" fmla="*/ 757 w 12277"/>
              <a:gd name="connsiteY13" fmla="*/ 827 h 12200"/>
              <a:gd name="connsiteX14" fmla="*/ 2220 w 12277"/>
              <a:gd name="connsiteY14" fmla="*/ 233 h 12200"/>
              <a:gd name="connsiteX15" fmla="*/ 4408 w 12277"/>
              <a:gd name="connsiteY15" fmla="*/ 2 h 12200"/>
              <a:gd name="connsiteX16" fmla="*/ 6577 w 12277"/>
              <a:gd name="connsiteY16" fmla="*/ 114 h 12200"/>
              <a:gd name="connsiteX0" fmla="*/ 6577 w 12277"/>
              <a:gd name="connsiteY0" fmla="*/ 114 h 12192"/>
              <a:gd name="connsiteX1" fmla="*/ 9226 w 12277"/>
              <a:gd name="connsiteY1" fmla="*/ 446 h 12192"/>
              <a:gd name="connsiteX2" fmla="*/ 12226 w 12277"/>
              <a:gd name="connsiteY2" fmla="*/ 808 h 12192"/>
              <a:gd name="connsiteX3" fmla="*/ 12225 w 12277"/>
              <a:gd name="connsiteY3" fmla="*/ 4856 h 12192"/>
              <a:gd name="connsiteX4" fmla="*/ 12259 w 12277"/>
              <a:gd name="connsiteY4" fmla="*/ 8181 h 12192"/>
              <a:gd name="connsiteX5" fmla="*/ 12252 w 12277"/>
              <a:gd name="connsiteY5" fmla="*/ 11308 h 12192"/>
              <a:gd name="connsiteX6" fmla="*/ 9611 w 12277"/>
              <a:gd name="connsiteY6" fmla="*/ 12185 h 12192"/>
              <a:gd name="connsiteX7" fmla="*/ 6163 w 12277"/>
              <a:gd name="connsiteY7" fmla="*/ 11476 h 12192"/>
              <a:gd name="connsiteX8" fmla="*/ 3416 w 12277"/>
              <a:gd name="connsiteY8" fmla="*/ 9233 h 12192"/>
              <a:gd name="connsiteX9" fmla="*/ 1638 w 12277"/>
              <a:gd name="connsiteY9" fmla="*/ 6760 h 12192"/>
              <a:gd name="connsiteX10" fmla="*/ 453 w 12277"/>
              <a:gd name="connsiteY10" fmla="*/ 4554 h 12192"/>
              <a:gd name="connsiteX11" fmla="*/ 102 w 12277"/>
              <a:gd name="connsiteY11" fmla="*/ 3347 h 12192"/>
              <a:gd name="connsiteX12" fmla="*/ 60 w 12277"/>
              <a:gd name="connsiteY12" fmla="*/ 1948 h 12192"/>
              <a:gd name="connsiteX13" fmla="*/ 757 w 12277"/>
              <a:gd name="connsiteY13" fmla="*/ 827 h 12192"/>
              <a:gd name="connsiteX14" fmla="*/ 2220 w 12277"/>
              <a:gd name="connsiteY14" fmla="*/ 233 h 12192"/>
              <a:gd name="connsiteX15" fmla="*/ 4408 w 12277"/>
              <a:gd name="connsiteY15" fmla="*/ 2 h 12192"/>
              <a:gd name="connsiteX16" fmla="*/ 6577 w 12277"/>
              <a:gd name="connsiteY16" fmla="*/ 114 h 12192"/>
              <a:gd name="connsiteX0" fmla="*/ 6577 w 12270"/>
              <a:gd name="connsiteY0" fmla="*/ 114 h 12185"/>
              <a:gd name="connsiteX1" fmla="*/ 9226 w 12270"/>
              <a:gd name="connsiteY1" fmla="*/ 446 h 12185"/>
              <a:gd name="connsiteX2" fmla="*/ 12226 w 12270"/>
              <a:gd name="connsiteY2" fmla="*/ 808 h 12185"/>
              <a:gd name="connsiteX3" fmla="*/ 12225 w 12270"/>
              <a:gd name="connsiteY3" fmla="*/ 4856 h 12185"/>
              <a:gd name="connsiteX4" fmla="*/ 12259 w 12270"/>
              <a:gd name="connsiteY4" fmla="*/ 8181 h 12185"/>
              <a:gd name="connsiteX5" fmla="*/ 12241 w 12270"/>
              <a:gd name="connsiteY5" fmla="*/ 11415 h 12185"/>
              <a:gd name="connsiteX6" fmla="*/ 9611 w 12270"/>
              <a:gd name="connsiteY6" fmla="*/ 12185 h 12185"/>
              <a:gd name="connsiteX7" fmla="*/ 6163 w 12270"/>
              <a:gd name="connsiteY7" fmla="*/ 11476 h 12185"/>
              <a:gd name="connsiteX8" fmla="*/ 3416 w 12270"/>
              <a:gd name="connsiteY8" fmla="*/ 9233 h 12185"/>
              <a:gd name="connsiteX9" fmla="*/ 1638 w 12270"/>
              <a:gd name="connsiteY9" fmla="*/ 6760 h 12185"/>
              <a:gd name="connsiteX10" fmla="*/ 453 w 12270"/>
              <a:gd name="connsiteY10" fmla="*/ 4554 h 12185"/>
              <a:gd name="connsiteX11" fmla="*/ 102 w 12270"/>
              <a:gd name="connsiteY11" fmla="*/ 3347 h 12185"/>
              <a:gd name="connsiteX12" fmla="*/ 60 w 12270"/>
              <a:gd name="connsiteY12" fmla="*/ 1948 h 12185"/>
              <a:gd name="connsiteX13" fmla="*/ 757 w 12270"/>
              <a:gd name="connsiteY13" fmla="*/ 827 h 12185"/>
              <a:gd name="connsiteX14" fmla="*/ 2220 w 12270"/>
              <a:gd name="connsiteY14" fmla="*/ 233 h 12185"/>
              <a:gd name="connsiteX15" fmla="*/ 4408 w 12270"/>
              <a:gd name="connsiteY15" fmla="*/ 2 h 12185"/>
              <a:gd name="connsiteX16" fmla="*/ 6577 w 12270"/>
              <a:gd name="connsiteY16" fmla="*/ 114 h 12185"/>
              <a:gd name="connsiteX0" fmla="*/ 6577 w 12286"/>
              <a:gd name="connsiteY0" fmla="*/ 114 h 12185"/>
              <a:gd name="connsiteX1" fmla="*/ 9226 w 12286"/>
              <a:gd name="connsiteY1" fmla="*/ 446 h 12185"/>
              <a:gd name="connsiteX2" fmla="*/ 12226 w 12286"/>
              <a:gd name="connsiteY2" fmla="*/ 808 h 12185"/>
              <a:gd name="connsiteX3" fmla="*/ 12225 w 12286"/>
              <a:gd name="connsiteY3" fmla="*/ 4856 h 12185"/>
              <a:gd name="connsiteX4" fmla="*/ 12259 w 12286"/>
              <a:gd name="connsiteY4" fmla="*/ 8181 h 12185"/>
              <a:gd name="connsiteX5" fmla="*/ 12264 w 12286"/>
              <a:gd name="connsiteY5" fmla="*/ 11414 h 12185"/>
              <a:gd name="connsiteX6" fmla="*/ 9611 w 12286"/>
              <a:gd name="connsiteY6" fmla="*/ 12185 h 12185"/>
              <a:gd name="connsiteX7" fmla="*/ 6163 w 12286"/>
              <a:gd name="connsiteY7" fmla="*/ 11476 h 12185"/>
              <a:gd name="connsiteX8" fmla="*/ 3416 w 12286"/>
              <a:gd name="connsiteY8" fmla="*/ 9233 h 12185"/>
              <a:gd name="connsiteX9" fmla="*/ 1638 w 12286"/>
              <a:gd name="connsiteY9" fmla="*/ 6760 h 12185"/>
              <a:gd name="connsiteX10" fmla="*/ 453 w 12286"/>
              <a:gd name="connsiteY10" fmla="*/ 4554 h 12185"/>
              <a:gd name="connsiteX11" fmla="*/ 102 w 12286"/>
              <a:gd name="connsiteY11" fmla="*/ 3347 h 12185"/>
              <a:gd name="connsiteX12" fmla="*/ 60 w 12286"/>
              <a:gd name="connsiteY12" fmla="*/ 1948 h 12185"/>
              <a:gd name="connsiteX13" fmla="*/ 757 w 12286"/>
              <a:gd name="connsiteY13" fmla="*/ 827 h 12185"/>
              <a:gd name="connsiteX14" fmla="*/ 2220 w 12286"/>
              <a:gd name="connsiteY14" fmla="*/ 233 h 12185"/>
              <a:gd name="connsiteX15" fmla="*/ 4408 w 12286"/>
              <a:gd name="connsiteY15" fmla="*/ 2 h 12185"/>
              <a:gd name="connsiteX16" fmla="*/ 6577 w 12286"/>
              <a:gd name="connsiteY16" fmla="*/ 114 h 12185"/>
              <a:gd name="connsiteX0" fmla="*/ 6577 w 12286"/>
              <a:gd name="connsiteY0" fmla="*/ 114 h 12196"/>
              <a:gd name="connsiteX1" fmla="*/ 9226 w 12286"/>
              <a:gd name="connsiteY1" fmla="*/ 446 h 12196"/>
              <a:gd name="connsiteX2" fmla="*/ 12226 w 12286"/>
              <a:gd name="connsiteY2" fmla="*/ 808 h 12196"/>
              <a:gd name="connsiteX3" fmla="*/ 12225 w 12286"/>
              <a:gd name="connsiteY3" fmla="*/ 4856 h 12196"/>
              <a:gd name="connsiteX4" fmla="*/ 12259 w 12286"/>
              <a:gd name="connsiteY4" fmla="*/ 8181 h 12196"/>
              <a:gd name="connsiteX5" fmla="*/ 12264 w 12286"/>
              <a:gd name="connsiteY5" fmla="*/ 11414 h 12196"/>
              <a:gd name="connsiteX6" fmla="*/ 9611 w 12286"/>
              <a:gd name="connsiteY6" fmla="*/ 12185 h 12196"/>
              <a:gd name="connsiteX7" fmla="*/ 6163 w 12286"/>
              <a:gd name="connsiteY7" fmla="*/ 11476 h 12196"/>
              <a:gd name="connsiteX8" fmla="*/ 3416 w 12286"/>
              <a:gd name="connsiteY8" fmla="*/ 9233 h 12196"/>
              <a:gd name="connsiteX9" fmla="*/ 1638 w 12286"/>
              <a:gd name="connsiteY9" fmla="*/ 6760 h 12196"/>
              <a:gd name="connsiteX10" fmla="*/ 453 w 12286"/>
              <a:gd name="connsiteY10" fmla="*/ 4554 h 12196"/>
              <a:gd name="connsiteX11" fmla="*/ 102 w 12286"/>
              <a:gd name="connsiteY11" fmla="*/ 3347 h 12196"/>
              <a:gd name="connsiteX12" fmla="*/ 60 w 12286"/>
              <a:gd name="connsiteY12" fmla="*/ 1948 h 12196"/>
              <a:gd name="connsiteX13" fmla="*/ 757 w 12286"/>
              <a:gd name="connsiteY13" fmla="*/ 827 h 12196"/>
              <a:gd name="connsiteX14" fmla="*/ 2220 w 12286"/>
              <a:gd name="connsiteY14" fmla="*/ 233 h 12196"/>
              <a:gd name="connsiteX15" fmla="*/ 4408 w 12286"/>
              <a:gd name="connsiteY15" fmla="*/ 2 h 12196"/>
              <a:gd name="connsiteX16" fmla="*/ 6577 w 12286"/>
              <a:gd name="connsiteY16" fmla="*/ 114 h 12196"/>
              <a:gd name="connsiteX0" fmla="*/ 6577 w 12286"/>
              <a:gd name="connsiteY0" fmla="*/ 114 h 12196"/>
              <a:gd name="connsiteX1" fmla="*/ 9226 w 12286"/>
              <a:gd name="connsiteY1" fmla="*/ 446 h 12196"/>
              <a:gd name="connsiteX2" fmla="*/ 12226 w 12286"/>
              <a:gd name="connsiteY2" fmla="*/ 808 h 12196"/>
              <a:gd name="connsiteX3" fmla="*/ 12225 w 12286"/>
              <a:gd name="connsiteY3" fmla="*/ 4856 h 12196"/>
              <a:gd name="connsiteX4" fmla="*/ 12259 w 12286"/>
              <a:gd name="connsiteY4" fmla="*/ 8181 h 12196"/>
              <a:gd name="connsiteX5" fmla="*/ 12264 w 12286"/>
              <a:gd name="connsiteY5" fmla="*/ 11414 h 12196"/>
              <a:gd name="connsiteX6" fmla="*/ 9611 w 12286"/>
              <a:gd name="connsiteY6" fmla="*/ 12185 h 12196"/>
              <a:gd name="connsiteX7" fmla="*/ 6163 w 12286"/>
              <a:gd name="connsiteY7" fmla="*/ 11476 h 12196"/>
              <a:gd name="connsiteX8" fmla="*/ 3416 w 12286"/>
              <a:gd name="connsiteY8" fmla="*/ 9233 h 12196"/>
              <a:gd name="connsiteX9" fmla="*/ 1638 w 12286"/>
              <a:gd name="connsiteY9" fmla="*/ 6760 h 12196"/>
              <a:gd name="connsiteX10" fmla="*/ 453 w 12286"/>
              <a:gd name="connsiteY10" fmla="*/ 4554 h 12196"/>
              <a:gd name="connsiteX11" fmla="*/ 102 w 12286"/>
              <a:gd name="connsiteY11" fmla="*/ 3347 h 12196"/>
              <a:gd name="connsiteX12" fmla="*/ 60 w 12286"/>
              <a:gd name="connsiteY12" fmla="*/ 1948 h 12196"/>
              <a:gd name="connsiteX13" fmla="*/ 757 w 12286"/>
              <a:gd name="connsiteY13" fmla="*/ 827 h 12196"/>
              <a:gd name="connsiteX14" fmla="*/ 2220 w 12286"/>
              <a:gd name="connsiteY14" fmla="*/ 233 h 12196"/>
              <a:gd name="connsiteX15" fmla="*/ 4408 w 12286"/>
              <a:gd name="connsiteY15" fmla="*/ 2 h 12196"/>
              <a:gd name="connsiteX16" fmla="*/ 6577 w 12286"/>
              <a:gd name="connsiteY16" fmla="*/ 114 h 12196"/>
              <a:gd name="connsiteX0" fmla="*/ 6577 w 12286"/>
              <a:gd name="connsiteY0" fmla="*/ 114 h 12195"/>
              <a:gd name="connsiteX1" fmla="*/ 9226 w 12286"/>
              <a:gd name="connsiteY1" fmla="*/ 446 h 12195"/>
              <a:gd name="connsiteX2" fmla="*/ 12226 w 12286"/>
              <a:gd name="connsiteY2" fmla="*/ 808 h 12195"/>
              <a:gd name="connsiteX3" fmla="*/ 12225 w 12286"/>
              <a:gd name="connsiteY3" fmla="*/ 4856 h 12195"/>
              <a:gd name="connsiteX4" fmla="*/ 12259 w 12286"/>
              <a:gd name="connsiteY4" fmla="*/ 8181 h 12195"/>
              <a:gd name="connsiteX5" fmla="*/ 12264 w 12286"/>
              <a:gd name="connsiteY5" fmla="*/ 11414 h 12195"/>
              <a:gd name="connsiteX6" fmla="*/ 9611 w 12286"/>
              <a:gd name="connsiteY6" fmla="*/ 12185 h 12195"/>
              <a:gd name="connsiteX7" fmla="*/ 6163 w 12286"/>
              <a:gd name="connsiteY7" fmla="*/ 11476 h 12195"/>
              <a:gd name="connsiteX8" fmla="*/ 3440 w 12286"/>
              <a:gd name="connsiteY8" fmla="*/ 9339 h 12195"/>
              <a:gd name="connsiteX9" fmla="*/ 1638 w 12286"/>
              <a:gd name="connsiteY9" fmla="*/ 6760 h 12195"/>
              <a:gd name="connsiteX10" fmla="*/ 453 w 12286"/>
              <a:gd name="connsiteY10" fmla="*/ 4554 h 12195"/>
              <a:gd name="connsiteX11" fmla="*/ 102 w 12286"/>
              <a:gd name="connsiteY11" fmla="*/ 3347 h 12195"/>
              <a:gd name="connsiteX12" fmla="*/ 60 w 12286"/>
              <a:gd name="connsiteY12" fmla="*/ 1948 h 12195"/>
              <a:gd name="connsiteX13" fmla="*/ 757 w 12286"/>
              <a:gd name="connsiteY13" fmla="*/ 827 h 12195"/>
              <a:gd name="connsiteX14" fmla="*/ 2220 w 12286"/>
              <a:gd name="connsiteY14" fmla="*/ 233 h 12195"/>
              <a:gd name="connsiteX15" fmla="*/ 4408 w 12286"/>
              <a:gd name="connsiteY15" fmla="*/ 2 h 12195"/>
              <a:gd name="connsiteX16" fmla="*/ 6577 w 12286"/>
              <a:gd name="connsiteY16" fmla="*/ 114 h 12195"/>
              <a:gd name="connsiteX0" fmla="*/ 6577 w 12296"/>
              <a:gd name="connsiteY0" fmla="*/ 114 h 12185"/>
              <a:gd name="connsiteX1" fmla="*/ 9226 w 12296"/>
              <a:gd name="connsiteY1" fmla="*/ 446 h 12185"/>
              <a:gd name="connsiteX2" fmla="*/ 12226 w 12296"/>
              <a:gd name="connsiteY2" fmla="*/ 808 h 12185"/>
              <a:gd name="connsiteX3" fmla="*/ 12225 w 12296"/>
              <a:gd name="connsiteY3" fmla="*/ 4856 h 12185"/>
              <a:gd name="connsiteX4" fmla="*/ 12259 w 12296"/>
              <a:gd name="connsiteY4" fmla="*/ 8181 h 12185"/>
              <a:gd name="connsiteX5" fmla="*/ 12276 w 12296"/>
              <a:gd name="connsiteY5" fmla="*/ 11414 h 12185"/>
              <a:gd name="connsiteX6" fmla="*/ 9611 w 12296"/>
              <a:gd name="connsiteY6" fmla="*/ 12185 h 12185"/>
              <a:gd name="connsiteX7" fmla="*/ 6163 w 12296"/>
              <a:gd name="connsiteY7" fmla="*/ 11476 h 12185"/>
              <a:gd name="connsiteX8" fmla="*/ 3440 w 12296"/>
              <a:gd name="connsiteY8" fmla="*/ 9339 h 12185"/>
              <a:gd name="connsiteX9" fmla="*/ 1638 w 12296"/>
              <a:gd name="connsiteY9" fmla="*/ 6760 h 12185"/>
              <a:gd name="connsiteX10" fmla="*/ 453 w 12296"/>
              <a:gd name="connsiteY10" fmla="*/ 4554 h 12185"/>
              <a:gd name="connsiteX11" fmla="*/ 102 w 12296"/>
              <a:gd name="connsiteY11" fmla="*/ 3347 h 12185"/>
              <a:gd name="connsiteX12" fmla="*/ 60 w 12296"/>
              <a:gd name="connsiteY12" fmla="*/ 1948 h 12185"/>
              <a:gd name="connsiteX13" fmla="*/ 757 w 12296"/>
              <a:gd name="connsiteY13" fmla="*/ 827 h 12185"/>
              <a:gd name="connsiteX14" fmla="*/ 2220 w 12296"/>
              <a:gd name="connsiteY14" fmla="*/ 233 h 12185"/>
              <a:gd name="connsiteX15" fmla="*/ 4408 w 12296"/>
              <a:gd name="connsiteY15" fmla="*/ 2 h 12185"/>
              <a:gd name="connsiteX16" fmla="*/ 6577 w 12296"/>
              <a:gd name="connsiteY16" fmla="*/ 114 h 12185"/>
              <a:gd name="connsiteX0" fmla="*/ 6577 w 12296"/>
              <a:gd name="connsiteY0" fmla="*/ 114 h 12185"/>
              <a:gd name="connsiteX1" fmla="*/ 9226 w 12296"/>
              <a:gd name="connsiteY1" fmla="*/ 446 h 12185"/>
              <a:gd name="connsiteX2" fmla="*/ 12203 w 12296"/>
              <a:gd name="connsiteY2" fmla="*/ 782 h 12185"/>
              <a:gd name="connsiteX3" fmla="*/ 12225 w 12296"/>
              <a:gd name="connsiteY3" fmla="*/ 4856 h 12185"/>
              <a:gd name="connsiteX4" fmla="*/ 12259 w 12296"/>
              <a:gd name="connsiteY4" fmla="*/ 8181 h 12185"/>
              <a:gd name="connsiteX5" fmla="*/ 12276 w 12296"/>
              <a:gd name="connsiteY5" fmla="*/ 11414 h 12185"/>
              <a:gd name="connsiteX6" fmla="*/ 9611 w 12296"/>
              <a:gd name="connsiteY6" fmla="*/ 12185 h 12185"/>
              <a:gd name="connsiteX7" fmla="*/ 6163 w 12296"/>
              <a:gd name="connsiteY7" fmla="*/ 11476 h 12185"/>
              <a:gd name="connsiteX8" fmla="*/ 3440 w 12296"/>
              <a:gd name="connsiteY8" fmla="*/ 9339 h 12185"/>
              <a:gd name="connsiteX9" fmla="*/ 1638 w 12296"/>
              <a:gd name="connsiteY9" fmla="*/ 6760 h 12185"/>
              <a:gd name="connsiteX10" fmla="*/ 453 w 12296"/>
              <a:gd name="connsiteY10" fmla="*/ 4554 h 12185"/>
              <a:gd name="connsiteX11" fmla="*/ 102 w 12296"/>
              <a:gd name="connsiteY11" fmla="*/ 3347 h 12185"/>
              <a:gd name="connsiteX12" fmla="*/ 60 w 12296"/>
              <a:gd name="connsiteY12" fmla="*/ 1948 h 12185"/>
              <a:gd name="connsiteX13" fmla="*/ 757 w 12296"/>
              <a:gd name="connsiteY13" fmla="*/ 827 h 12185"/>
              <a:gd name="connsiteX14" fmla="*/ 2220 w 12296"/>
              <a:gd name="connsiteY14" fmla="*/ 233 h 12185"/>
              <a:gd name="connsiteX15" fmla="*/ 4408 w 12296"/>
              <a:gd name="connsiteY15" fmla="*/ 2 h 12185"/>
              <a:gd name="connsiteX16" fmla="*/ 6577 w 12296"/>
              <a:gd name="connsiteY16" fmla="*/ 114 h 12185"/>
              <a:gd name="connsiteX0" fmla="*/ 6577 w 12296"/>
              <a:gd name="connsiteY0" fmla="*/ 114 h 12185"/>
              <a:gd name="connsiteX1" fmla="*/ 9226 w 12296"/>
              <a:gd name="connsiteY1" fmla="*/ 446 h 12185"/>
              <a:gd name="connsiteX2" fmla="*/ 12203 w 12296"/>
              <a:gd name="connsiteY2" fmla="*/ 782 h 12185"/>
              <a:gd name="connsiteX3" fmla="*/ 12225 w 12296"/>
              <a:gd name="connsiteY3" fmla="*/ 4856 h 12185"/>
              <a:gd name="connsiteX4" fmla="*/ 12259 w 12296"/>
              <a:gd name="connsiteY4" fmla="*/ 8181 h 12185"/>
              <a:gd name="connsiteX5" fmla="*/ 12276 w 12296"/>
              <a:gd name="connsiteY5" fmla="*/ 11414 h 12185"/>
              <a:gd name="connsiteX6" fmla="*/ 9611 w 12296"/>
              <a:gd name="connsiteY6" fmla="*/ 12185 h 12185"/>
              <a:gd name="connsiteX7" fmla="*/ 6163 w 12296"/>
              <a:gd name="connsiteY7" fmla="*/ 11476 h 12185"/>
              <a:gd name="connsiteX8" fmla="*/ 3440 w 12296"/>
              <a:gd name="connsiteY8" fmla="*/ 9339 h 12185"/>
              <a:gd name="connsiteX9" fmla="*/ 1638 w 12296"/>
              <a:gd name="connsiteY9" fmla="*/ 6760 h 12185"/>
              <a:gd name="connsiteX10" fmla="*/ 453 w 12296"/>
              <a:gd name="connsiteY10" fmla="*/ 4554 h 12185"/>
              <a:gd name="connsiteX11" fmla="*/ 102 w 12296"/>
              <a:gd name="connsiteY11" fmla="*/ 3347 h 12185"/>
              <a:gd name="connsiteX12" fmla="*/ 60 w 12296"/>
              <a:gd name="connsiteY12" fmla="*/ 1948 h 12185"/>
              <a:gd name="connsiteX13" fmla="*/ 757 w 12296"/>
              <a:gd name="connsiteY13" fmla="*/ 827 h 12185"/>
              <a:gd name="connsiteX14" fmla="*/ 2220 w 12296"/>
              <a:gd name="connsiteY14" fmla="*/ 233 h 12185"/>
              <a:gd name="connsiteX15" fmla="*/ 4408 w 12296"/>
              <a:gd name="connsiteY15" fmla="*/ 2 h 12185"/>
              <a:gd name="connsiteX16" fmla="*/ 6577 w 12296"/>
              <a:gd name="connsiteY16" fmla="*/ 114 h 12185"/>
              <a:gd name="connsiteX0" fmla="*/ 6567 w 12286"/>
              <a:gd name="connsiteY0" fmla="*/ 114 h 12185"/>
              <a:gd name="connsiteX1" fmla="*/ 9216 w 12286"/>
              <a:gd name="connsiteY1" fmla="*/ 446 h 12185"/>
              <a:gd name="connsiteX2" fmla="*/ 12193 w 12286"/>
              <a:gd name="connsiteY2" fmla="*/ 782 h 12185"/>
              <a:gd name="connsiteX3" fmla="*/ 12215 w 12286"/>
              <a:gd name="connsiteY3" fmla="*/ 4856 h 12185"/>
              <a:gd name="connsiteX4" fmla="*/ 12249 w 12286"/>
              <a:gd name="connsiteY4" fmla="*/ 8181 h 12185"/>
              <a:gd name="connsiteX5" fmla="*/ 12266 w 12286"/>
              <a:gd name="connsiteY5" fmla="*/ 11414 h 12185"/>
              <a:gd name="connsiteX6" fmla="*/ 9601 w 12286"/>
              <a:gd name="connsiteY6" fmla="*/ 12185 h 12185"/>
              <a:gd name="connsiteX7" fmla="*/ 6153 w 12286"/>
              <a:gd name="connsiteY7" fmla="*/ 11476 h 12185"/>
              <a:gd name="connsiteX8" fmla="*/ 3430 w 12286"/>
              <a:gd name="connsiteY8" fmla="*/ 9339 h 12185"/>
              <a:gd name="connsiteX9" fmla="*/ 1628 w 12286"/>
              <a:gd name="connsiteY9" fmla="*/ 6760 h 12185"/>
              <a:gd name="connsiteX10" fmla="*/ 443 w 12286"/>
              <a:gd name="connsiteY10" fmla="*/ 4554 h 12185"/>
              <a:gd name="connsiteX11" fmla="*/ 92 w 12286"/>
              <a:gd name="connsiteY11" fmla="*/ 3347 h 12185"/>
              <a:gd name="connsiteX12" fmla="*/ 50 w 12286"/>
              <a:gd name="connsiteY12" fmla="*/ 1948 h 12185"/>
              <a:gd name="connsiteX13" fmla="*/ 747 w 12286"/>
              <a:gd name="connsiteY13" fmla="*/ 827 h 12185"/>
              <a:gd name="connsiteX14" fmla="*/ 2210 w 12286"/>
              <a:gd name="connsiteY14" fmla="*/ 233 h 12185"/>
              <a:gd name="connsiteX15" fmla="*/ 4398 w 12286"/>
              <a:gd name="connsiteY15" fmla="*/ 2 h 12185"/>
              <a:gd name="connsiteX16" fmla="*/ 6567 w 12286"/>
              <a:gd name="connsiteY16" fmla="*/ 114 h 12185"/>
              <a:gd name="connsiteX0" fmla="*/ 6567 w 12267"/>
              <a:gd name="connsiteY0" fmla="*/ 114 h 12185"/>
              <a:gd name="connsiteX1" fmla="*/ 9216 w 12267"/>
              <a:gd name="connsiteY1" fmla="*/ 446 h 12185"/>
              <a:gd name="connsiteX2" fmla="*/ 12193 w 12267"/>
              <a:gd name="connsiteY2" fmla="*/ 782 h 12185"/>
              <a:gd name="connsiteX3" fmla="*/ 12215 w 12267"/>
              <a:gd name="connsiteY3" fmla="*/ 4856 h 12185"/>
              <a:gd name="connsiteX4" fmla="*/ 12249 w 12267"/>
              <a:gd name="connsiteY4" fmla="*/ 8181 h 12185"/>
              <a:gd name="connsiteX5" fmla="*/ 12266 w 12267"/>
              <a:gd name="connsiteY5" fmla="*/ 11414 h 12185"/>
              <a:gd name="connsiteX6" fmla="*/ 9601 w 12267"/>
              <a:gd name="connsiteY6" fmla="*/ 12185 h 12185"/>
              <a:gd name="connsiteX7" fmla="*/ 6153 w 12267"/>
              <a:gd name="connsiteY7" fmla="*/ 11476 h 12185"/>
              <a:gd name="connsiteX8" fmla="*/ 3430 w 12267"/>
              <a:gd name="connsiteY8" fmla="*/ 9339 h 12185"/>
              <a:gd name="connsiteX9" fmla="*/ 1628 w 12267"/>
              <a:gd name="connsiteY9" fmla="*/ 6760 h 12185"/>
              <a:gd name="connsiteX10" fmla="*/ 443 w 12267"/>
              <a:gd name="connsiteY10" fmla="*/ 4554 h 12185"/>
              <a:gd name="connsiteX11" fmla="*/ 92 w 12267"/>
              <a:gd name="connsiteY11" fmla="*/ 3347 h 12185"/>
              <a:gd name="connsiteX12" fmla="*/ 50 w 12267"/>
              <a:gd name="connsiteY12" fmla="*/ 1948 h 12185"/>
              <a:gd name="connsiteX13" fmla="*/ 747 w 12267"/>
              <a:gd name="connsiteY13" fmla="*/ 827 h 12185"/>
              <a:gd name="connsiteX14" fmla="*/ 2210 w 12267"/>
              <a:gd name="connsiteY14" fmla="*/ 233 h 12185"/>
              <a:gd name="connsiteX15" fmla="*/ 4398 w 12267"/>
              <a:gd name="connsiteY15" fmla="*/ 2 h 12185"/>
              <a:gd name="connsiteX16" fmla="*/ 6567 w 12267"/>
              <a:gd name="connsiteY16" fmla="*/ 114 h 12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2267" h="12185" extrusionOk="0">
                <a:moveTo>
                  <a:pt x="6567" y="114"/>
                </a:moveTo>
                <a:lnTo>
                  <a:pt x="9216" y="446"/>
                </a:lnTo>
                <a:lnTo>
                  <a:pt x="12193" y="782"/>
                </a:lnTo>
                <a:cubicBezTo>
                  <a:pt x="12180" y="782"/>
                  <a:pt x="12206" y="3623"/>
                  <a:pt x="12215" y="4856"/>
                </a:cubicBezTo>
                <a:cubicBezTo>
                  <a:pt x="12224" y="6089"/>
                  <a:pt x="12241" y="7088"/>
                  <a:pt x="12249" y="8181"/>
                </a:cubicBezTo>
                <a:cubicBezTo>
                  <a:pt x="12258" y="9274"/>
                  <a:pt x="12271" y="11403"/>
                  <a:pt x="12266" y="11414"/>
                </a:cubicBezTo>
                <a:cubicBezTo>
                  <a:pt x="12261" y="11425"/>
                  <a:pt x="10620" y="12175"/>
                  <a:pt x="9601" y="12185"/>
                </a:cubicBezTo>
                <a:cubicBezTo>
                  <a:pt x="8582" y="12195"/>
                  <a:pt x="7403" y="12101"/>
                  <a:pt x="6153" y="11476"/>
                </a:cubicBezTo>
                <a:cubicBezTo>
                  <a:pt x="5140" y="10970"/>
                  <a:pt x="4065" y="9998"/>
                  <a:pt x="3430" y="9339"/>
                </a:cubicBezTo>
                <a:cubicBezTo>
                  <a:pt x="2578" y="8454"/>
                  <a:pt x="2126" y="7558"/>
                  <a:pt x="1628" y="6760"/>
                </a:cubicBezTo>
                <a:cubicBezTo>
                  <a:pt x="1130" y="5963"/>
                  <a:pt x="792" y="5437"/>
                  <a:pt x="443" y="4554"/>
                </a:cubicBezTo>
                <a:cubicBezTo>
                  <a:pt x="307" y="4211"/>
                  <a:pt x="180" y="3764"/>
                  <a:pt x="92" y="3347"/>
                </a:cubicBezTo>
                <a:cubicBezTo>
                  <a:pt x="-2" y="2906"/>
                  <a:pt x="-37" y="2373"/>
                  <a:pt x="50" y="1948"/>
                </a:cubicBezTo>
                <a:cubicBezTo>
                  <a:pt x="169" y="1368"/>
                  <a:pt x="387" y="1113"/>
                  <a:pt x="747" y="827"/>
                </a:cubicBezTo>
                <a:cubicBezTo>
                  <a:pt x="1107" y="541"/>
                  <a:pt x="1716" y="349"/>
                  <a:pt x="2210" y="233"/>
                </a:cubicBezTo>
                <a:cubicBezTo>
                  <a:pt x="2937" y="63"/>
                  <a:pt x="3668" y="-10"/>
                  <a:pt x="4398" y="2"/>
                </a:cubicBezTo>
                <a:cubicBezTo>
                  <a:pt x="5121" y="13"/>
                  <a:pt x="5844" y="50"/>
                  <a:pt x="6567" y="114"/>
                </a:cubicBezTo>
                <a:close/>
              </a:path>
            </a:pathLst>
          </a:cu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25400">
            <a:noFill/>
            <a:miter lim="400000"/>
          </a:ln>
        </p:spPr>
        <p:txBody>
          <a:bodyPr lIns="25400" tIns="25400" rIns="25400" bIns="25400" anchor="ctr"/>
          <a:lstStyle/>
          <a:p>
            <a:endParaRPr sz="6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CC3F644-3852-AE1F-2C14-4B814C016D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7798" t="16131" r="31092" b="23427"/>
          <a:stretch/>
        </p:blipFill>
        <p:spPr>
          <a:xfrm>
            <a:off x="4884516" y="-50337"/>
            <a:ext cx="7319059" cy="6929396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16B3D84-9E87-63D9-ABC0-06C62F80F60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5A18A9-FB90-4F92-9633-9A2FCB4DF4A0}" type="slidenum">
              <a:rPr lang="pt-PT" smtClean="0"/>
              <a:pPr/>
              <a:t>‹nº›</a:t>
            </a:fld>
            <a:endParaRPr lang="pt-PT" dirty="0"/>
          </a:p>
        </p:txBody>
      </p:sp>
      <p:pic>
        <p:nvPicPr>
          <p:cNvPr id="6" name="Image" descr="Image">
            <a:extLst>
              <a:ext uri="{FF2B5EF4-FFF2-40B4-BE49-F238E27FC236}">
                <a16:creationId xmlns:a16="http://schemas.microsoft.com/office/drawing/2014/main" id="{3BE7E261-535B-3167-77C0-DED5382DD91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5637" y="409975"/>
            <a:ext cx="1157293" cy="190501"/>
          </a:xfrm>
          <a:prstGeom prst="rect">
            <a:avLst/>
          </a:prstGeom>
          <a:ln w="12700">
            <a:miter lim="400000"/>
          </a:ln>
        </p:spPr>
      </p:pic>
      <p:sp>
        <p:nvSpPr>
          <p:cNvPr id="9" name="Marcador de Posição do Texto 2">
            <a:extLst>
              <a:ext uri="{FF2B5EF4-FFF2-40B4-BE49-F238E27FC236}">
                <a16:creationId xmlns:a16="http://schemas.microsoft.com/office/drawing/2014/main" id="{8B1DCFE6-9A94-789A-E4DC-51494F92E36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4317" y="2281107"/>
            <a:ext cx="4153056" cy="2445035"/>
          </a:xfrm>
          <a:prstGeom prst="rect">
            <a:avLst/>
          </a:prstGeom>
        </p:spPr>
        <p:txBody>
          <a:bodyPr vert="horz" wrap="none" lIns="0" tIns="45720" rIns="0" bIns="45720" rtlCol="0" anchor="t" anchorCtr="0">
            <a:noAutofit/>
          </a:bodyPr>
          <a:lstStyle>
            <a:lvl1pPr marL="0" indent="0">
              <a:lnSpc>
                <a:spcPts val="3860"/>
              </a:lnSpc>
              <a:buNone/>
              <a:defRPr lang="pt-PT" sz="3200" b="1" baseline="0" dirty="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166682" lvl="0" indent="-342891">
              <a:spcBef>
                <a:spcPct val="0"/>
              </a:spcBef>
            </a:pPr>
            <a:r>
              <a:rPr lang="pt-PT" dirty="0"/>
              <a:t>Título do Separador</a:t>
            </a:r>
          </a:p>
        </p:txBody>
      </p:sp>
      <p:sp useBgFill="1">
        <p:nvSpPr>
          <p:cNvPr id="12" name="Marcador de Posição do Texto 2">
            <a:extLst>
              <a:ext uri="{FF2B5EF4-FFF2-40B4-BE49-F238E27FC236}">
                <a16:creationId xmlns:a16="http://schemas.microsoft.com/office/drawing/2014/main" id="{76232CD6-C395-F87E-2079-8C82E68B65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6835" y="253243"/>
            <a:ext cx="1771431" cy="1876776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pt-PT" sz="15000" b="1" i="0" baseline="0" dirty="0">
                <a:ln w="22225">
                  <a:solidFill>
                    <a:srgbClr val="1B93BE"/>
                  </a:solidFill>
                </a:ln>
                <a:noFill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pt-PT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29823041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9DE74D5-06AE-AF5C-41A1-3A34876AD5A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5A18A9-FB90-4F92-9633-9A2FCB4DF4A0}" type="slidenum">
              <a:rPr lang="pt-PT" smtClean="0"/>
              <a:pPr/>
              <a:t>‹nº›</a:t>
            </a:fld>
            <a:endParaRPr lang="pt-PT" dirty="0"/>
          </a:p>
        </p:txBody>
      </p:sp>
      <p:sp>
        <p:nvSpPr>
          <p:cNvPr id="5" name="Título 3">
            <a:extLst>
              <a:ext uri="{FF2B5EF4-FFF2-40B4-BE49-F238E27FC236}">
                <a16:creationId xmlns:a16="http://schemas.microsoft.com/office/drawing/2014/main" id="{936FA0CF-2CF2-FE36-8044-966587E0A5D6}"/>
              </a:ext>
            </a:extLst>
          </p:cNvPr>
          <p:cNvSpPr txBox="1">
            <a:spLocks/>
          </p:cNvSpPr>
          <p:nvPr userDrawn="1"/>
        </p:nvSpPr>
        <p:spPr>
          <a:xfrm>
            <a:off x="468461" y="570892"/>
            <a:ext cx="1368547" cy="604800"/>
          </a:xfrm>
          <a:prstGeom prst="rect">
            <a:avLst/>
          </a:prstGeom>
        </p:spPr>
        <p:txBody>
          <a:bodyPr vert="horz" wrap="none" lIns="36000" tIns="45720" rIns="0" bIns="4572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 cap="all" spc="15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pt-PT" sz="3200" b="1" i="0" cap="none" spc="0" baseline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genda</a:t>
            </a:r>
            <a:endParaRPr lang="en-GB" sz="3200" b="1" i="0" cap="none" spc="0" baseline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76D4FC1-E5E2-D9E9-AE7C-3E1901A180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4222" t="13656" r="41792" b="13414"/>
          <a:stretch/>
        </p:blipFill>
        <p:spPr>
          <a:xfrm>
            <a:off x="8624329" y="-10758"/>
            <a:ext cx="3567671" cy="6876000"/>
          </a:xfrm>
          <a:prstGeom prst="rect">
            <a:avLst/>
          </a:prstGeom>
        </p:spPr>
      </p:pic>
      <p:sp>
        <p:nvSpPr>
          <p:cNvPr id="9" name="Marcador de Posição de Conteúdo 3">
            <a:extLst>
              <a:ext uri="{FF2B5EF4-FFF2-40B4-BE49-F238E27FC236}">
                <a16:creationId xmlns:a16="http://schemas.microsoft.com/office/drawing/2014/main" id="{F924C1F8-7426-BD45-EA20-5F1AA768DBA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68461" y="1624329"/>
            <a:ext cx="7739295" cy="4278757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defRPr sz="2400" b="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06388" indent="0">
              <a:lnSpc>
                <a:spcPct val="100000"/>
              </a:lnSpc>
              <a:spcBef>
                <a:spcPts val="600"/>
              </a:spcBef>
              <a:buNone/>
              <a:defRPr sz="2200" b="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354012" indent="0">
              <a:buNone/>
              <a:defRPr sz="1800" b="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936625" indent="0">
              <a:buNone/>
              <a:defRPr sz="1600" b="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382713" indent="0">
              <a:buNone/>
              <a:defRPr sz="1400" b="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pt-PT" dirty="0"/>
              <a:t>1. Clique para editar os estilos do texto de Modelo Global</a:t>
            </a:r>
          </a:p>
          <a:p>
            <a:pPr lvl="1"/>
            <a:r>
              <a:rPr lang="pt-PT" dirty="0"/>
              <a:t>  Segundo nível</a:t>
            </a:r>
          </a:p>
          <a:p>
            <a:pPr lvl="2"/>
            <a:r>
              <a:rPr lang="pt-PT" dirty="0"/>
              <a:t>     Terceiro nível</a:t>
            </a:r>
          </a:p>
          <a:p>
            <a:pPr lvl="3"/>
            <a:r>
              <a:rPr lang="pt-PT" dirty="0"/>
              <a:t>Quarto nível</a:t>
            </a:r>
          </a:p>
          <a:p>
            <a:pPr lvl="4"/>
            <a:r>
              <a:rPr lang="pt-PT" dirty="0"/>
              <a:t>Quinto ní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6510313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dor 4_preto_sem imagem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16B3D84-9E87-63D9-ABC0-06C62F80F60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5A18A9-FB90-4F92-9633-9A2FCB4DF4A0}" type="slidenum">
              <a:rPr lang="pt-PT" smtClean="0"/>
              <a:pPr/>
              <a:t>‹nº›</a:t>
            </a:fld>
            <a:endParaRPr lang="pt-PT" dirty="0"/>
          </a:p>
        </p:txBody>
      </p:sp>
      <p:pic>
        <p:nvPicPr>
          <p:cNvPr id="6" name="Image" descr="Image">
            <a:extLst>
              <a:ext uri="{FF2B5EF4-FFF2-40B4-BE49-F238E27FC236}">
                <a16:creationId xmlns:a16="http://schemas.microsoft.com/office/drawing/2014/main" id="{3BE7E261-535B-3167-77C0-DED5382DD9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5637" y="409975"/>
            <a:ext cx="1157293" cy="190501"/>
          </a:xfrm>
          <a:prstGeom prst="rect">
            <a:avLst/>
          </a:prstGeom>
          <a:ln w="12700">
            <a:miter lim="400000"/>
          </a:ln>
        </p:spPr>
      </p:pic>
      <p:sp>
        <p:nvSpPr>
          <p:cNvPr id="9" name="Marcador de Posição do Texto 2">
            <a:extLst>
              <a:ext uri="{FF2B5EF4-FFF2-40B4-BE49-F238E27FC236}">
                <a16:creationId xmlns:a16="http://schemas.microsoft.com/office/drawing/2014/main" id="{8B1DCFE6-9A94-789A-E4DC-51494F92E36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4317" y="2281107"/>
            <a:ext cx="4153056" cy="2445035"/>
          </a:xfrm>
          <a:prstGeom prst="rect">
            <a:avLst/>
          </a:prstGeom>
        </p:spPr>
        <p:txBody>
          <a:bodyPr vert="horz" wrap="none" lIns="0" tIns="45720" rIns="0" bIns="45720" rtlCol="0" anchor="t" anchorCtr="0">
            <a:noAutofit/>
          </a:bodyPr>
          <a:lstStyle>
            <a:lvl1pPr marL="0" indent="0">
              <a:lnSpc>
                <a:spcPts val="3860"/>
              </a:lnSpc>
              <a:buNone/>
              <a:defRPr lang="pt-PT" sz="3200" b="1" baseline="0" dirty="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166682" lvl="0" indent="-342891">
              <a:spcBef>
                <a:spcPct val="0"/>
              </a:spcBef>
            </a:pPr>
            <a:r>
              <a:rPr lang="pt-PT" dirty="0"/>
              <a:t>Título do Separador</a:t>
            </a:r>
          </a:p>
        </p:txBody>
      </p:sp>
      <p:sp useBgFill="1">
        <p:nvSpPr>
          <p:cNvPr id="12" name="Marcador de Posição do Texto 2">
            <a:extLst>
              <a:ext uri="{FF2B5EF4-FFF2-40B4-BE49-F238E27FC236}">
                <a16:creationId xmlns:a16="http://schemas.microsoft.com/office/drawing/2014/main" id="{76232CD6-C395-F87E-2079-8C82E68B65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6835" y="253243"/>
            <a:ext cx="1771431" cy="1876776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pt-PT" sz="15000" b="1" i="0" baseline="0" dirty="0">
                <a:ln w="22225">
                  <a:solidFill>
                    <a:srgbClr val="1B93BE"/>
                  </a:solidFill>
                </a:ln>
                <a:noFill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pt-PT" dirty="0"/>
              <a:t>4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CC3F644-3852-AE1F-2C14-4B814C016D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7798" t="16131" r="31092" b="23427"/>
          <a:stretch/>
        </p:blipFill>
        <p:spPr>
          <a:xfrm>
            <a:off x="4884516" y="-50337"/>
            <a:ext cx="7319059" cy="69293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792798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dor 4_branco_com imag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">
            <a:extLst>
              <a:ext uri="{FF2B5EF4-FFF2-40B4-BE49-F238E27FC236}">
                <a16:creationId xmlns:a16="http://schemas.microsoft.com/office/drawing/2014/main" id="{62029B4C-D116-A635-C2F0-89C383AFC9D9}"/>
              </a:ext>
            </a:extLst>
          </p:cNvPr>
          <p:cNvSpPr/>
          <p:nvPr userDrawn="1"/>
        </p:nvSpPr>
        <p:spPr>
          <a:xfrm rot="60000">
            <a:off x="5115912" y="2004488"/>
            <a:ext cx="7102504" cy="3075450"/>
          </a:xfrm>
          <a:custGeom>
            <a:avLst/>
            <a:gdLst>
              <a:gd name="connsiteX0" fmla="*/ 6577 w 21563"/>
              <a:gd name="connsiteY0" fmla="*/ 9447 h 21493"/>
              <a:gd name="connsiteX1" fmla="*/ 9226 w 21563"/>
              <a:gd name="connsiteY1" fmla="*/ 9779 h 21493"/>
              <a:gd name="connsiteX2" fmla="*/ 11875 w 21563"/>
              <a:gd name="connsiteY2" fmla="*/ 10142 h 21493"/>
              <a:gd name="connsiteX3" fmla="*/ 13609 w 21563"/>
              <a:gd name="connsiteY3" fmla="*/ 10201 h 21493"/>
              <a:gd name="connsiteX4" fmla="*/ 15316 w 21563"/>
              <a:gd name="connsiteY4" fmla="*/ 9511 h 21493"/>
              <a:gd name="connsiteX5" fmla="*/ 18353 w 21563"/>
              <a:gd name="connsiteY5" fmla="*/ 6271 h 21493"/>
              <a:gd name="connsiteX6" fmla="*/ 21454 w 21563"/>
              <a:gd name="connsiteY6" fmla="*/ 77 h 21493"/>
              <a:gd name="connsiteX7" fmla="*/ 21535 w 21563"/>
              <a:gd name="connsiteY7" fmla="*/ 10 h 21493"/>
              <a:gd name="connsiteX8" fmla="*/ 21563 w 21563"/>
              <a:gd name="connsiteY8" fmla="*/ 148 h 21493"/>
              <a:gd name="connsiteX9" fmla="*/ 21543 w 21563"/>
              <a:gd name="connsiteY9" fmla="*/ 421 h 21493"/>
              <a:gd name="connsiteX10" fmla="*/ 21509 w 21563"/>
              <a:gd name="connsiteY10" fmla="*/ 680 h 21493"/>
              <a:gd name="connsiteX11" fmla="*/ 20566 w 21563"/>
              <a:gd name="connsiteY11" fmla="*/ 5807 h 21493"/>
              <a:gd name="connsiteX12" fmla="*/ 19382 w 21563"/>
              <a:gd name="connsiteY12" fmla="*/ 10091 h 21493"/>
              <a:gd name="connsiteX13" fmla="*/ 14104 w 21563"/>
              <a:gd name="connsiteY13" fmla="*/ 19276 h 21493"/>
              <a:gd name="connsiteX14" fmla="*/ 9656 w 21563"/>
              <a:gd name="connsiteY14" fmla="*/ 21467 h 21493"/>
              <a:gd name="connsiteX15" fmla="*/ 6215 w 21563"/>
              <a:gd name="connsiteY15" fmla="*/ 20777 h 21493"/>
              <a:gd name="connsiteX16" fmla="*/ 2971 w 21563"/>
              <a:gd name="connsiteY16" fmla="*/ 18024 h 21493"/>
              <a:gd name="connsiteX17" fmla="*/ 1638 w 21563"/>
              <a:gd name="connsiteY17" fmla="*/ 16093 h 21493"/>
              <a:gd name="connsiteX18" fmla="*/ 452 w 21563"/>
              <a:gd name="connsiteY18" fmla="*/ 13807 h 21493"/>
              <a:gd name="connsiteX19" fmla="*/ 102 w 21563"/>
              <a:gd name="connsiteY19" fmla="*/ 12680 h 21493"/>
              <a:gd name="connsiteX20" fmla="*/ 34 w 21563"/>
              <a:gd name="connsiteY20" fmla="*/ 11312 h 21493"/>
              <a:gd name="connsiteX21" fmla="*/ 757 w 21563"/>
              <a:gd name="connsiteY21" fmla="*/ 10130 h 21493"/>
              <a:gd name="connsiteX22" fmla="*/ 2220 w 21563"/>
              <a:gd name="connsiteY22" fmla="*/ 9507 h 21493"/>
              <a:gd name="connsiteX23" fmla="*/ 4408 w 21563"/>
              <a:gd name="connsiteY23" fmla="*/ 9335 h 21493"/>
              <a:gd name="connsiteX24" fmla="*/ 6577 w 21563"/>
              <a:gd name="connsiteY24" fmla="*/ 9447 h 21493"/>
              <a:gd name="connsiteX0" fmla="*/ 6577 w 21563"/>
              <a:gd name="connsiteY0" fmla="*/ 9447 h 21493"/>
              <a:gd name="connsiteX1" fmla="*/ 9226 w 21563"/>
              <a:gd name="connsiteY1" fmla="*/ 9779 h 21493"/>
              <a:gd name="connsiteX2" fmla="*/ 11875 w 21563"/>
              <a:gd name="connsiteY2" fmla="*/ 10142 h 21493"/>
              <a:gd name="connsiteX3" fmla="*/ 13609 w 21563"/>
              <a:gd name="connsiteY3" fmla="*/ 10201 h 21493"/>
              <a:gd name="connsiteX4" fmla="*/ 15316 w 21563"/>
              <a:gd name="connsiteY4" fmla="*/ 9511 h 21493"/>
              <a:gd name="connsiteX5" fmla="*/ 18353 w 21563"/>
              <a:gd name="connsiteY5" fmla="*/ 6271 h 21493"/>
              <a:gd name="connsiteX6" fmla="*/ 21454 w 21563"/>
              <a:gd name="connsiteY6" fmla="*/ 77 h 21493"/>
              <a:gd name="connsiteX7" fmla="*/ 21535 w 21563"/>
              <a:gd name="connsiteY7" fmla="*/ 10 h 21493"/>
              <a:gd name="connsiteX8" fmla="*/ 21563 w 21563"/>
              <a:gd name="connsiteY8" fmla="*/ 148 h 21493"/>
              <a:gd name="connsiteX9" fmla="*/ 21543 w 21563"/>
              <a:gd name="connsiteY9" fmla="*/ 421 h 21493"/>
              <a:gd name="connsiteX10" fmla="*/ 20566 w 21563"/>
              <a:gd name="connsiteY10" fmla="*/ 5807 h 21493"/>
              <a:gd name="connsiteX11" fmla="*/ 19382 w 21563"/>
              <a:gd name="connsiteY11" fmla="*/ 10091 h 21493"/>
              <a:gd name="connsiteX12" fmla="*/ 14104 w 21563"/>
              <a:gd name="connsiteY12" fmla="*/ 19276 h 21493"/>
              <a:gd name="connsiteX13" fmla="*/ 9656 w 21563"/>
              <a:gd name="connsiteY13" fmla="*/ 21467 h 21493"/>
              <a:gd name="connsiteX14" fmla="*/ 6215 w 21563"/>
              <a:gd name="connsiteY14" fmla="*/ 20777 h 21493"/>
              <a:gd name="connsiteX15" fmla="*/ 2971 w 21563"/>
              <a:gd name="connsiteY15" fmla="*/ 18024 h 21493"/>
              <a:gd name="connsiteX16" fmla="*/ 1638 w 21563"/>
              <a:gd name="connsiteY16" fmla="*/ 16093 h 21493"/>
              <a:gd name="connsiteX17" fmla="*/ 452 w 21563"/>
              <a:gd name="connsiteY17" fmla="*/ 13807 h 21493"/>
              <a:gd name="connsiteX18" fmla="*/ 102 w 21563"/>
              <a:gd name="connsiteY18" fmla="*/ 12680 h 21493"/>
              <a:gd name="connsiteX19" fmla="*/ 34 w 21563"/>
              <a:gd name="connsiteY19" fmla="*/ 11312 h 21493"/>
              <a:gd name="connsiteX20" fmla="*/ 757 w 21563"/>
              <a:gd name="connsiteY20" fmla="*/ 10130 h 21493"/>
              <a:gd name="connsiteX21" fmla="*/ 2220 w 21563"/>
              <a:gd name="connsiteY21" fmla="*/ 9507 h 21493"/>
              <a:gd name="connsiteX22" fmla="*/ 4408 w 21563"/>
              <a:gd name="connsiteY22" fmla="*/ 9335 h 21493"/>
              <a:gd name="connsiteX23" fmla="*/ 6577 w 21563"/>
              <a:gd name="connsiteY23" fmla="*/ 9447 h 21493"/>
              <a:gd name="connsiteX0" fmla="*/ 6577 w 21563"/>
              <a:gd name="connsiteY0" fmla="*/ 9447 h 21493"/>
              <a:gd name="connsiteX1" fmla="*/ 9226 w 21563"/>
              <a:gd name="connsiteY1" fmla="*/ 9779 h 21493"/>
              <a:gd name="connsiteX2" fmla="*/ 11875 w 21563"/>
              <a:gd name="connsiteY2" fmla="*/ 10142 h 21493"/>
              <a:gd name="connsiteX3" fmla="*/ 13609 w 21563"/>
              <a:gd name="connsiteY3" fmla="*/ 10201 h 21493"/>
              <a:gd name="connsiteX4" fmla="*/ 15316 w 21563"/>
              <a:gd name="connsiteY4" fmla="*/ 9511 h 21493"/>
              <a:gd name="connsiteX5" fmla="*/ 18353 w 21563"/>
              <a:gd name="connsiteY5" fmla="*/ 6271 h 21493"/>
              <a:gd name="connsiteX6" fmla="*/ 21454 w 21563"/>
              <a:gd name="connsiteY6" fmla="*/ 77 h 21493"/>
              <a:gd name="connsiteX7" fmla="*/ 21535 w 21563"/>
              <a:gd name="connsiteY7" fmla="*/ 10 h 21493"/>
              <a:gd name="connsiteX8" fmla="*/ 21563 w 21563"/>
              <a:gd name="connsiteY8" fmla="*/ 148 h 21493"/>
              <a:gd name="connsiteX9" fmla="*/ 21543 w 21563"/>
              <a:gd name="connsiteY9" fmla="*/ 421 h 21493"/>
              <a:gd name="connsiteX10" fmla="*/ 19382 w 21563"/>
              <a:gd name="connsiteY10" fmla="*/ 10091 h 21493"/>
              <a:gd name="connsiteX11" fmla="*/ 14104 w 21563"/>
              <a:gd name="connsiteY11" fmla="*/ 19276 h 21493"/>
              <a:gd name="connsiteX12" fmla="*/ 9656 w 21563"/>
              <a:gd name="connsiteY12" fmla="*/ 21467 h 21493"/>
              <a:gd name="connsiteX13" fmla="*/ 6215 w 21563"/>
              <a:gd name="connsiteY13" fmla="*/ 20777 h 21493"/>
              <a:gd name="connsiteX14" fmla="*/ 2971 w 21563"/>
              <a:gd name="connsiteY14" fmla="*/ 18024 h 21493"/>
              <a:gd name="connsiteX15" fmla="*/ 1638 w 21563"/>
              <a:gd name="connsiteY15" fmla="*/ 16093 h 21493"/>
              <a:gd name="connsiteX16" fmla="*/ 452 w 21563"/>
              <a:gd name="connsiteY16" fmla="*/ 13807 h 21493"/>
              <a:gd name="connsiteX17" fmla="*/ 102 w 21563"/>
              <a:gd name="connsiteY17" fmla="*/ 12680 h 21493"/>
              <a:gd name="connsiteX18" fmla="*/ 34 w 21563"/>
              <a:gd name="connsiteY18" fmla="*/ 11312 h 21493"/>
              <a:gd name="connsiteX19" fmla="*/ 757 w 21563"/>
              <a:gd name="connsiteY19" fmla="*/ 10130 h 21493"/>
              <a:gd name="connsiteX20" fmla="*/ 2220 w 21563"/>
              <a:gd name="connsiteY20" fmla="*/ 9507 h 21493"/>
              <a:gd name="connsiteX21" fmla="*/ 4408 w 21563"/>
              <a:gd name="connsiteY21" fmla="*/ 9335 h 21493"/>
              <a:gd name="connsiteX22" fmla="*/ 6577 w 21563"/>
              <a:gd name="connsiteY22" fmla="*/ 9447 h 21493"/>
              <a:gd name="connsiteX0" fmla="*/ 6577 w 21563"/>
              <a:gd name="connsiteY0" fmla="*/ 9447 h 21493"/>
              <a:gd name="connsiteX1" fmla="*/ 9226 w 21563"/>
              <a:gd name="connsiteY1" fmla="*/ 9779 h 21493"/>
              <a:gd name="connsiteX2" fmla="*/ 11875 w 21563"/>
              <a:gd name="connsiteY2" fmla="*/ 10142 h 21493"/>
              <a:gd name="connsiteX3" fmla="*/ 13609 w 21563"/>
              <a:gd name="connsiteY3" fmla="*/ 10201 h 21493"/>
              <a:gd name="connsiteX4" fmla="*/ 15316 w 21563"/>
              <a:gd name="connsiteY4" fmla="*/ 9511 h 21493"/>
              <a:gd name="connsiteX5" fmla="*/ 18353 w 21563"/>
              <a:gd name="connsiteY5" fmla="*/ 6271 h 21493"/>
              <a:gd name="connsiteX6" fmla="*/ 21454 w 21563"/>
              <a:gd name="connsiteY6" fmla="*/ 77 h 21493"/>
              <a:gd name="connsiteX7" fmla="*/ 21535 w 21563"/>
              <a:gd name="connsiteY7" fmla="*/ 10 h 21493"/>
              <a:gd name="connsiteX8" fmla="*/ 21563 w 21563"/>
              <a:gd name="connsiteY8" fmla="*/ 148 h 21493"/>
              <a:gd name="connsiteX9" fmla="*/ 19382 w 21563"/>
              <a:gd name="connsiteY9" fmla="*/ 10091 h 21493"/>
              <a:gd name="connsiteX10" fmla="*/ 14104 w 21563"/>
              <a:gd name="connsiteY10" fmla="*/ 19276 h 21493"/>
              <a:gd name="connsiteX11" fmla="*/ 9656 w 21563"/>
              <a:gd name="connsiteY11" fmla="*/ 21467 h 21493"/>
              <a:gd name="connsiteX12" fmla="*/ 6215 w 21563"/>
              <a:gd name="connsiteY12" fmla="*/ 20777 h 21493"/>
              <a:gd name="connsiteX13" fmla="*/ 2971 w 21563"/>
              <a:gd name="connsiteY13" fmla="*/ 18024 h 21493"/>
              <a:gd name="connsiteX14" fmla="*/ 1638 w 21563"/>
              <a:gd name="connsiteY14" fmla="*/ 16093 h 21493"/>
              <a:gd name="connsiteX15" fmla="*/ 452 w 21563"/>
              <a:gd name="connsiteY15" fmla="*/ 13807 h 21493"/>
              <a:gd name="connsiteX16" fmla="*/ 102 w 21563"/>
              <a:gd name="connsiteY16" fmla="*/ 12680 h 21493"/>
              <a:gd name="connsiteX17" fmla="*/ 34 w 21563"/>
              <a:gd name="connsiteY17" fmla="*/ 11312 h 21493"/>
              <a:gd name="connsiteX18" fmla="*/ 757 w 21563"/>
              <a:gd name="connsiteY18" fmla="*/ 10130 h 21493"/>
              <a:gd name="connsiteX19" fmla="*/ 2220 w 21563"/>
              <a:gd name="connsiteY19" fmla="*/ 9507 h 21493"/>
              <a:gd name="connsiteX20" fmla="*/ 4408 w 21563"/>
              <a:gd name="connsiteY20" fmla="*/ 9335 h 21493"/>
              <a:gd name="connsiteX21" fmla="*/ 6577 w 21563"/>
              <a:gd name="connsiteY21" fmla="*/ 9447 h 21493"/>
              <a:gd name="connsiteX0" fmla="*/ 6577 w 21535"/>
              <a:gd name="connsiteY0" fmla="*/ 9447 h 21493"/>
              <a:gd name="connsiteX1" fmla="*/ 9226 w 21535"/>
              <a:gd name="connsiteY1" fmla="*/ 9779 h 21493"/>
              <a:gd name="connsiteX2" fmla="*/ 11875 w 21535"/>
              <a:gd name="connsiteY2" fmla="*/ 10142 h 21493"/>
              <a:gd name="connsiteX3" fmla="*/ 13609 w 21535"/>
              <a:gd name="connsiteY3" fmla="*/ 10201 h 21493"/>
              <a:gd name="connsiteX4" fmla="*/ 15316 w 21535"/>
              <a:gd name="connsiteY4" fmla="*/ 9511 h 21493"/>
              <a:gd name="connsiteX5" fmla="*/ 18353 w 21535"/>
              <a:gd name="connsiteY5" fmla="*/ 6271 h 21493"/>
              <a:gd name="connsiteX6" fmla="*/ 21454 w 21535"/>
              <a:gd name="connsiteY6" fmla="*/ 77 h 21493"/>
              <a:gd name="connsiteX7" fmla="*/ 21535 w 21535"/>
              <a:gd name="connsiteY7" fmla="*/ 10 h 21493"/>
              <a:gd name="connsiteX8" fmla="*/ 19382 w 21535"/>
              <a:gd name="connsiteY8" fmla="*/ 10091 h 21493"/>
              <a:gd name="connsiteX9" fmla="*/ 14104 w 21535"/>
              <a:gd name="connsiteY9" fmla="*/ 19276 h 21493"/>
              <a:gd name="connsiteX10" fmla="*/ 9656 w 21535"/>
              <a:gd name="connsiteY10" fmla="*/ 21467 h 21493"/>
              <a:gd name="connsiteX11" fmla="*/ 6215 w 21535"/>
              <a:gd name="connsiteY11" fmla="*/ 20777 h 21493"/>
              <a:gd name="connsiteX12" fmla="*/ 2971 w 21535"/>
              <a:gd name="connsiteY12" fmla="*/ 18024 h 21493"/>
              <a:gd name="connsiteX13" fmla="*/ 1638 w 21535"/>
              <a:gd name="connsiteY13" fmla="*/ 16093 h 21493"/>
              <a:gd name="connsiteX14" fmla="*/ 452 w 21535"/>
              <a:gd name="connsiteY14" fmla="*/ 13807 h 21493"/>
              <a:gd name="connsiteX15" fmla="*/ 102 w 21535"/>
              <a:gd name="connsiteY15" fmla="*/ 12680 h 21493"/>
              <a:gd name="connsiteX16" fmla="*/ 34 w 21535"/>
              <a:gd name="connsiteY16" fmla="*/ 11312 h 21493"/>
              <a:gd name="connsiteX17" fmla="*/ 757 w 21535"/>
              <a:gd name="connsiteY17" fmla="*/ 10130 h 21493"/>
              <a:gd name="connsiteX18" fmla="*/ 2220 w 21535"/>
              <a:gd name="connsiteY18" fmla="*/ 9507 h 21493"/>
              <a:gd name="connsiteX19" fmla="*/ 4408 w 21535"/>
              <a:gd name="connsiteY19" fmla="*/ 9335 h 21493"/>
              <a:gd name="connsiteX20" fmla="*/ 6577 w 21535"/>
              <a:gd name="connsiteY20" fmla="*/ 9447 h 21493"/>
              <a:gd name="connsiteX0" fmla="*/ 6577 w 21473"/>
              <a:gd name="connsiteY0" fmla="*/ 9370 h 21416"/>
              <a:gd name="connsiteX1" fmla="*/ 9226 w 21473"/>
              <a:gd name="connsiteY1" fmla="*/ 9702 h 21416"/>
              <a:gd name="connsiteX2" fmla="*/ 11875 w 21473"/>
              <a:gd name="connsiteY2" fmla="*/ 10065 h 21416"/>
              <a:gd name="connsiteX3" fmla="*/ 13609 w 21473"/>
              <a:gd name="connsiteY3" fmla="*/ 10124 h 21416"/>
              <a:gd name="connsiteX4" fmla="*/ 15316 w 21473"/>
              <a:gd name="connsiteY4" fmla="*/ 9434 h 21416"/>
              <a:gd name="connsiteX5" fmla="*/ 18353 w 21473"/>
              <a:gd name="connsiteY5" fmla="*/ 6194 h 21416"/>
              <a:gd name="connsiteX6" fmla="*/ 21454 w 21473"/>
              <a:gd name="connsiteY6" fmla="*/ 0 h 21416"/>
              <a:gd name="connsiteX7" fmla="*/ 19382 w 21473"/>
              <a:gd name="connsiteY7" fmla="*/ 10014 h 21416"/>
              <a:gd name="connsiteX8" fmla="*/ 14104 w 21473"/>
              <a:gd name="connsiteY8" fmla="*/ 19199 h 21416"/>
              <a:gd name="connsiteX9" fmla="*/ 9656 w 21473"/>
              <a:gd name="connsiteY9" fmla="*/ 21390 h 21416"/>
              <a:gd name="connsiteX10" fmla="*/ 6215 w 21473"/>
              <a:gd name="connsiteY10" fmla="*/ 20700 h 21416"/>
              <a:gd name="connsiteX11" fmla="*/ 2971 w 21473"/>
              <a:gd name="connsiteY11" fmla="*/ 17947 h 21416"/>
              <a:gd name="connsiteX12" fmla="*/ 1638 w 21473"/>
              <a:gd name="connsiteY12" fmla="*/ 16016 h 21416"/>
              <a:gd name="connsiteX13" fmla="*/ 452 w 21473"/>
              <a:gd name="connsiteY13" fmla="*/ 13730 h 21416"/>
              <a:gd name="connsiteX14" fmla="*/ 102 w 21473"/>
              <a:gd name="connsiteY14" fmla="*/ 12603 h 21416"/>
              <a:gd name="connsiteX15" fmla="*/ 34 w 21473"/>
              <a:gd name="connsiteY15" fmla="*/ 11235 h 21416"/>
              <a:gd name="connsiteX16" fmla="*/ 757 w 21473"/>
              <a:gd name="connsiteY16" fmla="*/ 10053 h 21416"/>
              <a:gd name="connsiteX17" fmla="*/ 2220 w 21473"/>
              <a:gd name="connsiteY17" fmla="*/ 9430 h 21416"/>
              <a:gd name="connsiteX18" fmla="*/ 4408 w 21473"/>
              <a:gd name="connsiteY18" fmla="*/ 9258 h 21416"/>
              <a:gd name="connsiteX19" fmla="*/ 6577 w 21473"/>
              <a:gd name="connsiteY19" fmla="*/ 9370 h 21416"/>
              <a:gd name="connsiteX0" fmla="*/ 6577 w 20198"/>
              <a:gd name="connsiteY0" fmla="*/ 4562 h 16608"/>
              <a:gd name="connsiteX1" fmla="*/ 9226 w 20198"/>
              <a:gd name="connsiteY1" fmla="*/ 4894 h 16608"/>
              <a:gd name="connsiteX2" fmla="*/ 11875 w 20198"/>
              <a:gd name="connsiteY2" fmla="*/ 5257 h 16608"/>
              <a:gd name="connsiteX3" fmla="*/ 13609 w 20198"/>
              <a:gd name="connsiteY3" fmla="*/ 5316 h 16608"/>
              <a:gd name="connsiteX4" fmla="*/ 15316 w 20198"/>
              <a:gd name="connsiteY4" fmla="*/ 4626 h 16608"/>
              <a:gd name="connsiteX5" fmla="*/ 18353 w 20198"/>
              <a:gd name="connsiteY5" fmla="*/ 1386 h 16608"/>
              <a:gd name="connsiteX6" fmla="*/ 20081 w 20198"/>
              <a:gd name="connsiteY6" fmla="*/ 0 h 16608"/>
              <a:gd name="connsiteX7" fmla="*/ 19382 w 20198"/>
              <a:gd name="connsiteY7" fmla="*/ 5206 h 16608"/>
              <a:gd name="connsiteX8" fmla="*/ 14104 w 20198"/>
              <a:gd name="connsiteY8" fmla="*/ 14391 h 16608"/>
              <a:gd name="connsiteX9" fmla="*/ 9656 w 20198"/>
              <a:gd name="connsiteY9" fmla="*/ 16582 h 16608"/>
              <a:gd name="connsiteX10" fmla="*/ 6215 w 20198"/>
              <a:gd name="connsiteY10" fmla="*/ 15892 h 16608"/>
              <a:gd name="connsiteX11" fmla="*/ 2971 w 20198"/>
              <a:gd name="connsiteY11" fmla="*/ 13139 h 16608"/>
              <a:gd name="connsiteX12" fmla="*/ 1638 w 20198"/>
              <a:gd name="connsiteY12" fmla="*/ 11208 h 16608"/>
              <a:gd name="connsiteX13" fmla="*/ 452 w 20198"/>
              <a:gd name="connsiteY13" fmla="*/ 8922 h 16608"/>
              <a:gd name="connsiteX14" fmla="*/ 102 w 20198"/>
              <a:gd name="connsiteY14" fmla="*/ 7795 h 16608"/>
              <a:gd name="connsiteX15" fmla="*/ 34 w 20198"/>
              <a:gd name="connsiteY15" fmla="*/ 6427 h 16608"/>
              <a:gd name="connsiteX16" fmla="*/ 757 w 20198"/>
              <a:gd name="connsiteY16" fmla="*/ 5245 h 16608"/>
              <a:gd name="connsiteX17" fmla="*/ 2220 w 20198"/>
              <a:gd name="connsiteY17" fmla="*/ 4622 h 16608"/>
              <a:gd name="connsiteX18" fmla="*/ 4408 w 20198"/>
              <a:gd name="connsiteY18" fmla="*/ 4450 h 16608"/>
              <a:gd name="connsiteX19" fmla="*/ 6577 w 20198"/>
              <a:gd name="connsiteY19" fmla="*/ 4562 h 16608"/>
              <a:gd name="connsiteX0" fmla="*/ 6577 w 19616"/>
              <a:gd name="connsiteY0" fmla="*/ 3179 h 15225"/>
              <a:gd name="connsiteX1" fmla="*/ 9226 w 19616"/>
              <a:gd name="connsiteY1" fmla="*/ 3511 h 15225"/>
              <a:gd name="connsiteX2" fmla="*/ 11875 w 19616"/>
              <a:gd name="connsiteY2" fmla="*/ 3874 h 15225"/>
              <a:gd name="connsiteX3" fmla="*/ 13609 w 19616"/>
              <a:gd name="connsiteY3" fmla="*/ 3933 h 15225"/>
              <a:gd name="connsiteX4" fmla="*/ 15316 w 19616"/>
              <a:gd name="connsiteY4" fmla="*/ 3243 h 15225"/>
              <a:gd name="connsiteX5" fmla="*/ 18353 w 19616"/>
              <a:gd name="connsiteY5" fmla="*/ 3 h 15225"/>
              <a:gd name="connsiteX6" fmla="*/ 19382 w 19616"/>
              <a:gd name="connsiteY6" fmla="*/ 3823 h 15225"/>
              <a:gd name="connsiteX7" fmla="*/ 14104 w 19616"/>
              <a:gd name="connsiteY7" fmla="*/ 13008 h 15225"/>
              <a:gd name="connsiteX8" fmla="*/ 9656 w 19616"/>
              <a:gd name="connsiteY8" fmla="*/ 15199 h 15225"/>
              <a:gd name="connsiteX9" fmla="*/ 6215 w 19616"/>
              <a:gd name="connsiteY9" fmla="*/ 14509 h 15225"/>
              <a:gd name="connsiteX10" fmla="*/ 2971 w 19616"/>
              <a:gd name="connsiteY10" fmla="*/ 11756 h 15225"/>
              <a:gd name="connsiteX11" fmla="*/ 1638 w 19616"/>
              <a:gd name="connsiteY11" fmla="*/ 9825 h 15225"/>
              <a:gd name="connsiteX12" fmla="*/ 452 w 19616"/>
              <a:gd name="connsiteY12" fmla="*/ 7539 h 15225"/>
              <a:gd name="connsiteX13" fmla="*/ 102 w 19616"/>
              <a:gd name="connsiteY13" fmla="*/ 6412 h 15225"/>
              <a:gd name="connsiteX14" fmla="*/ 34 w 19616"/>
              <a:gd name="connsiteY14" fmla="*/ 5044 h 15225"/>
              <a:gd name="connsiteX15" fmla="*/ 757 w 19616"/>
              <a:gd name="connsiteY15" fmla="*/ 3862 h 15225"/>
              <a:gd name="connsiteX16" fmla="*/ 2220 w 19616"/>
              <a:gd name="connsiteY16" fmla="*/ 3239 h 15225"/>
              <a:gd name="connsiteX17" fmla="*/ 4408 w 19616"/>
              <a:gd name="connsiteY17" fmla="*/ 3067 h 15225"/>
              <a:gd name="connsiteX18" fmla="*/ 6577 w 19616"/>
              <a:gd name="connsiteY18" fmla="*/ 3179 h 15225"/>
              <a:gd name="connsiteX0" fmla="*/ 6577 w 18366"/>
              <a:gd name="connsiteY0" fmla="*/ 3322 h 15368"/>
              <a:gd name="connsiteX1" fmla="*/ 9226 w 18366"/>
              <a:gd name="connsiteY1" fmla="*/ 3654 h 15368"/>
              <a:gd name="connsiteX2" fmla="*/ 11875 w 18366"/>
              <a:gd name="connsiteY2" fmla="*/ 4017 h 15368"/>
              <a:gd name="connsiteX3" fmla="*/ 13609 w 18366"/>
              <a:gd name="connsiteY3" fmla="*/ 4076 h 15368"/>
              <a:gd name="connsiteX4" fmla="*/ 15316 w 18366"/>
              <a:gd name="connsiteY4" fmla="*/ 3386 h 15368"/>
              <a:gd name="connsiteX5" fmla="*/ 18353 w 18366"/>
              <a:gd name="connsiteY5" fmla="*/ 146 h 15368"/>
              <a:gd name="connsiteX6" fmla="*/ 16344 w 18366"/>
              <a:gd name="connsiteY6" fmla="*/ 8724 h 15368"/>
              <a:gd name="connsiteX7" fmla="*/ 14104 w 18366"/>
              <a:gd name="connsiteY7" fmla="*/ 13151 h 15368"/>
              <a:gd name="connsiteX8" fmla="*/ 9656 w 18366"/>
              <a:gd name="connsiteY8" fmla="*/ 15342 h 15368"/>
              <a:gd name="connsiteX9" fmla="*/ 6215 w 18366"/>
              <a:gd name="connsiteY9" fmla="*/ 14652 h 15368"/>
              <a:gd name="connsiteX10" fmla="*/ 2971 w 18366"/>
              <a:gd name="connsiteY10" fmla="*/ 11899 h 15368"/>
              <a:gd name="connsiteX11" fmla="*/ 1638 w 18366"/>
              <a:gd name="connsiteY11" fmla="*/ 9968 h 15368"/>
              <a:gd name="connsiteX12" fmla="*/ 452 w 18366"/>
              <a:gd name="connsiteY12" fmla="*/ 7682 h 15368"/>
              <a:gd name="connsiteX13" fmla="*/ 102 w 18366"/>
              <a:gd name="connsiteY13" fmla="*/ 6555 h 15368"/>
              <a:gd name="connsiteX14" fmla="*/ 34 w 18366"/>
              <a:gd name="connsiteY14" fmla="*/ 5187 h 15368"/>
              <a:gd name="connsiteX15" fmla="*/ 757 w 18366"/>
              <a:gd name="connsiteY15" fmla="*/ 4005 h 15368"/>
              <a:gd name="connsiteX16" fmla="*/ 2220 w 18366"/>
              <a:gd name="connsiteY16" fmla="*/ 3382 h 15368"/>
              <a:gd name="connsiteX17" fmla="*/ 4408 w 18366"/>
              <a:gd name="connsiteY17" fmla="*/ 3210 h 15368"/>
              <a:gd name="connsiteX18" fmla="*/ 6577 w 18366"/>
              <a:gd name="connsiteY18" fmla="*/ 3322 h 15368"/>
              <a:gd name="connsiteX0" fmla="*/ 6577 w 16536"/>
              <a:gd name="connsiteY0" fmla="*/ 116 h 12162"/>
              <a:gd name="connsiteX1" fmla="*/ 9226 w 16536"/>
              <a:gd name="connsiteY1" fmla="*/ 448 h 12162"/>
              <a:gd name="connsiteX2" fmla="*/ 11875 w 16536"/>
              <a:gd name="connsiteY2" fmla="*/ 811 h 12162"/>
              <a:gd name="connsiteX3" fmla="*/ 13609 w 16536"/>
              <a:gd name="connsiteY3" fmla="*/ 870 h 12162"/>
              <a:gd name="connsiteX4" fmla="*/ 15316 w 16536"/>
              <a:gd name="connsiteY4" fmla="*/ 180 h 12162"/>
              <a:gd name="connsiteX5" fmla="*/ 16300 w 16536"/>
              <a:gd name="connsiteY5" fmla="*/ 1698 h 12162"/>
              <a:gd name="connsiteX6" fmla="*/ 16344 w 16536"/>
              <a:gd name="connsiteY6" fmla="*/ 5518 h 12162"/>
              <a:gd name="connsiteX7" fmla="*/ 14104 w 16536"/>
              <a:gd name="connsiteY7" fmla="*/ 9945 h 12162"/>
              <a:gd name="connsiteX8" fmla="*/ 9656 w 16536"/>
              <a:gd name="connsiteY8" fmla="*/ 12136 h 12162"/>
              <a:gd name="connsiteX9" fmla="*/ 6215 w 16536"/>
              <a:gd name="connsiteY9" fmla="*/ 11446 h 12162"/>
              <a:gd name="connsiteX10" fmla="*/ 2971 w 16536"/>
              <a:gd name="connsiteY10" fmla="*/ 8693 h 12162"/>
              <a:gd name="connsiteX11" fmla="*/ 1638 w 16536"/>
              <a:gd name="connsiteY11" fmla="*/ 6762 h 12162"/>
              <a:gd name="connsiteX12" fmla="*/ 452 w 16536"/>
              <a:gd name="connsiteY12" fmla="*/ 4476 h 12162"/>
              <a:gd name="connsiteX13" fmla="*/ 102 w 16536"/>
              <a:gd name="connsiteY13" fmla="*/ 3349 h 12162"/>
              <a:gd name="connsiteX14" fmla="*/ 34 w 16536"/>
              <a:gd name="connsiteY14" fmla="*/ 1981 h 12162"/>
              <a:gd name="connsiteX15" fmla="*/ 757 w 16536"/>
              <a:gd name="connsiteY15" fmla="*/ 799 h 12162"/>
              <a:gd name="connsiteX16" fmla="*/ 2220 w 16536"/>
              <a:gd name="connsiteY16" fmla="*/ 176 h 12162"/>
              <a:gd name="connsiteX17" fmla="*/ 4408 w 16536"/>
              <a:gd name="connsiteY17" fmla="*/ 4 h 12162"/>
              <a:gd name="connsiteX18" fmla="*/ 6577 w 16536"/>
              <a:gd name="connsiteY18" fmla="*/ 116 h 12162"/>
              <a:gd name="connsiteX0" fmla="*/ 6577 w 16376"/>
              <a:gd name="connsiteY0" fmla="*/ 171 h 12217"/>
              <a:gd name="connsiteX1" fmla="*/ 9226 w 16376"/>
              <a:gd name="connsiteY1" fmla="*/ 503 h 12217"/>
              <a:gd name="connsiteX2" fmla="*/ 11875 w 16376"/>
              <a:gd name="connsiteY2" fmla="*/ 866 h 12217"/>
              <a:gd name="connsiteX3" fmla="*/ 13609 w 16376"/>
              <a:gd name="connsiteY3" fmla="*/ 925 h 12217"/>
              <a:gd name="connsiteX4" fmla="*/ 15316 w 16376"/>
              <a:gd name="connsiteY4" fmla="*/ 235 h 12217"/>
              <a:gd name="connsiteX5" fmla="*/ 16344 w 16376"/>
              <a:gd name="connsiteY5" fmla="*/ 5573 h 12217"/>
              <a:gd name="connsiteX6" fmla="*/ 14104 w 16376"/>
              <a:gd name="connsiteY6" fmla="*/ 10000 h 12217"/>
              <a:gd name="connsiteX7" fmla="*/ 9656 w 16376"/>
              <a:gd name="connsiteY7" fmla="*/ 12191 h 12217"/>
              <a:gd name="connsiteX8" fmla="*/ 6215 w 16376"/>
              <a:gd name="connsiteY8" fmla="*/ 11501 h 12217"/>
              <a:gd name="connsiteX9" fmla="*/ 2971 w 16376"/>
              <a:gd name="connsiteY9" fmla="*/ 8748 h 12217"/>
              <a:gd name="connsiteX10" fmla="*/ 1638 w 16376"/>
              <a:gd name="connsiteY10" fmla="*/ 6817 h 12217"/>
              <a:gd name="connsiteX11" fmla="*/ 452 w 16376"/>
              <a:gd name="connsiteY11" fmla="*/ 4531 h 12217"/>
              <a:gd name="connsiteX12" fmla="*/ 102 w 16376"/>
              <a:gd name="connsiteY12" fmla="*/ 3404 h 12217"/>
              <a:gd name="connsiteX13" fmla="*/ 34 w 16376"/>
              <a:gd name="connsiteY13" fmla="*/ 2036 h 12217"/>
              <a:gd name="connsiteX14" fmla="*/ 757 w 16376"/>
              <a:gd name="connsiteY14" fmla="*/ 854 h 12217"/>
              <a:gd name="connsiteX15" fmla="*/ 2220 w 16376"/>
              <a:gd name="connsiteY15" fmla="*/ 231 h 12217"/>
              <a:gd name="connsiteX16" fmla="*/ 4408 w 16376"/>
              <a:gd name="connsiteY16" fmla="*/ 59 h 12217"/>
              <a:gd name="connsiteX17" fmla="*/ 6577 w 16376"/>
              <a:gd name="connsiteY17" fmla="*/ 171 h 12217"/>
              <a:gd name="connsiteX0" fmla="*/ 6577 w 16347"/>
              <a:gd name="connsiteY0" fmla="*/ 116 h 12162"/>
              <a:gd name="connsiteX1" fmla="*/ 9226 w 16347"/>
              <a:gd name="connsiteY1" fmla="*/ 448 h 12162"/>
              <a:gd name="connsiteX2" fmla="*/ 11875 w 16347"/>
              <a:gd name="connsiteY2" fmla="*/ 811 h 12162"/>
              <a:gd name="connsiteX3" fmla="*/ 13609 w 16347"/>
              <a:gd name="connsiteY3" fmla="*/ 870 h 12162"/>
              <a:gd name="connsiteX4" fmla="*/ 16344 w 16347"/>
              <a:gd name="connsiteY4" fmla="*/ 5518 h 12162"/>
              <a:gd name="connsiteX5" fmla="*/ 14104 w 16347"/>
              <a:gd name="connsiteY5" fmla="*/ 9945 h 12162"/>
              <a:gd name="connsiteX6" fmla="*/ 9656 w 16347"/>
              <a:gd name="connsiteY6" fmla="*/ 12136 h 12162"/>
              <a:gd name="connsiteX7" fmla="*/ 6215 w 16347"/>
              <a:gd name="connsiteY7" fmla="*/ 11446 h 12162"/>
              <a:gd name="connsiteX8" fmla="*/ 2971 w 16347"/>
              <a:gd name="connsiteY8" fmla="*/ 8693 h 12162"/>
              <a:gd name="connsiteX9" fmla="*/ 1638 w 16347"/>
              <a:gd name="connsiteY9" fmla="*/ 6762 h 12162"/>
              <a:gd name="connsiteX10" fmla="*/ 452 w 16347"/>
              <a:gd name="connsiteY10" fmla="*/ 4476 h 12162"/>
              <a:gd name="connsiteX11" fmla="*/ 102 w 16347"/>
              <a:gd name="connsiteY11" fmla="*/ 3349 h 12162"/>
              <a:gd name="connsiteX12" fmla="*/ 34 w 16347"/>
              <a:gd name="connsiteY12" fmla="*/ 1981 h 12162"/>
              <a:gd name="connsiteX13" fmla="*/ 757 w 16347"/>
              <a:gd name="connsiteY13" fmla="*/ 799 h 12162"/>
              <a:gd name="connsiteX14" fmla="*/ 2220 w 16347"/>
              <a:gd name="connsiteY14" fmla="*/ 176 h 12162"/>
              <a:gd name="connsiteX15" fmla="*/ 4408 w 16347"/>
              <a:gd name="connsiteY15" fmla="*/ 4 h 12162"/>
              <a:gd name="connsiteX16" fmla="*/ 6577 w 16347"/>
              <a:gd name="connsiteY16" fmla="*/ 116 h 12162"/>
              <a:gd name="connsiteX0" fmla="*/ 6577 w 16361"/>
              <a:gd name="connsiteY0" fmla="*/ 116 h 12162"/>
              <a:gd name="connsiteX1" fmla="*/ 9226 w 16361"/>
              <a:gd name="connsiteY1" fmla="*/ 448 h 12162"/>
              <a:gd name="connsiteX2" fmla="*/ 11875 w 16361"/>
              <a:gd name="connsiteY2" fmla="*/ 811 h 12162"/>
              <a:gd name="connsiteX3" fmla="*/ 13010 w 16361"/>
              <a:gd name="connsiteY3" fmla="*/ 4712 h 12162"/>
              <a:gd name="connsiteX4" fmla="*/ 16344 w 16361"/>
              <a:gd name="connsiteY4" fmla="*/ 5518 h 12162"/>
              <a:gd name="connsiteX5" fmla="*/ 14104 w 16361"/>
              <a:gd name="connsiteY5" fmla="*/ 9945 h 12162"/>
              <a:gd name="connsiteX6" fmla="*/ 9656 w 16361"/>
              <a:gd name="connsiteY6" fmla="*/ 12136 h 12162"/>
              <a:gd name="connsiteX7" fmla="*/ 6215 w 16361"/>
              <a:gd name="connsiteY7" fmla="*/ 11446 h 12162"/>
              <a:gd name="connsiteX8" fmla="*/ 2971 w 16361"/>
              <a:gd name="connsiteY8" fmla="*/ 8693 h 12162"/>
              <a:gd name="connsiteX9" fmla="*/ 1638 w 16361"/>
              <a:gd name="connsiteY9" fmla="*/ 6762 h 12162"/>
              <a:gd name="connsiteX10" fmla="*/ 452 w 16361"/>
              <a:gd name="connsiteY10" fmla="*/ 4476 h 12162"/>
              <a:gd name="connsiteX11" fmla="*/ 102 w 16361"/>
              <a:gd name="connsiteY11" fmla="*/ 3349 h 12162"/>
              <a:gd name="connsiteX12" fmla="*/ 34 w 16361"/>
              <a:gd name="connsiteY12" fmla="*/ 1981 h 12162"/>
              <a:gd name="connsiteX13" fmla="*/ 757 w 16361"/>
              <a:gd name="connsiteY13" fmla="*/ 799 h 12162"/>
              <a:gd name="connsiteX14" fmla="*/ 2220 w 16361"/>
              <a:gd name="connsiteY14" fmla="*/ 176 h 12162"/>
              <a:gd name="connsiteX15" fmla="*/ 4408 w 16361"/>
              <a:gd name="connsiteY15" fmla="*/ 4 h 12162"/>
              <a:gd name="connsiteX16" fmla="*/ 6577 w 16361"/>
              <a:gd name="connsiteY16" fmla="*/ 116 h 12162"/>
              <a:gd name="connsiteX0" fmla="*/ 6577 w 14262"/>
              <a:gd name="connsiteY0" fmla="*/ 116 h 12162"/>
              <a:gd name="connsiteX1" fmla="*/ 9226 w 14262"/>
              <a:gd name="connsiteY1" fmla="*/ 448 h 12162"/>
              <a:gd name="connsiteX2" fmla="*/ 11875 w 14262"/>
              <a:gd name="connsiteY2" fmla="*/ 811 h 12162"/>
              <a:gd name="connsiteX3" fmla="*/ 13010 w 14262"/>
              <a:gd name="connsiteY3" fmla="*/ 4712 h 12162"/>
              <a:gd name="connsiteX4" fmla="*/ 13247 w 14262"/>
              <a:gd name="connsiteY4" fmla="*/ 7045 h 12162"/>
              <a:gd name="connsiteX5" fmla="*/ 14104 w 14262"/>
              <a:gd name="connsiteY5" fmla="*/ 9945 h 12162"/>
              <a:gd name="connsiteX6" fmla="*/ 9656 w 14262"/>
              <a:gd name="connsiteY6" fmla="*/ 12136 h 12162"/>
              <a:gd name="connsiteX7" fmla="*/ 6215 w 14262"/>
              <a:gd name="connsiteY7" fmla="*/ 11446 h 12162"/>
              <a:gd name="connsiteX8" fmla="*/ 2971 w 14262"/>
              <a:gd name="connsiteY8" fmla="*/ 8693 h 12162"/>
              <a:gd name="connsiteX9" fmla="*/ 1638 w 14262"/>
              <a:gd name="connsiteY9" fmla="*/ 6762 h 12162"/>
              <a:gd name="connsiteX10" fmla="*/ 452 w 14262"/>
              <a:gd name="connsiteY10" fmla="*/ 4476 h 12162"/>
              <a:gd name="connsiteX11" fmla="*/ 102 w 14262"/>
              <a:gd name="connsiteY11" fmla="*/ 3349 h 12162"/>
              <a:gd name="connsiteX12" fmla="*/ 34 w 14262"/>
              <a:gd name="connsiteY12" fmla="*/ 1981 h 12162"/>
              <a:gd name="connsiteX13" fmla="*/ 757 w 14262"/>
              <a:gd name="connsiteY13" fmla="*/ 799 h 12162"/>
              <a:gd name="connsiteX14" fmla="*/ 2220 w 14262"/>
              <a:gd name="connsiteY14" fmla="*/ 176 h 12162"/>
              <a:gd name="connsiteX15" fmla="*/ 4408 w 14262"/>
              <a:gd name="connsiteY15" fmla="*/ 4 h 12162"/>
              <a:gd name="connsiteX16" fmla="*/ 6577 w 14262"/>
              <a:gd name="connsiteY16" fmla="*/ 116 h 12162"/>
              <a:gd name="connsiteX0" fmla="*/ 6577 w 13267"/>
              <a:gd name="connsiteY0" fmla="*/ 116 h 12156"/>
              <a:gd name="connsiteX1" fmla="*/ 9226 w 13267"/>
              <a:gd name="connsiteY1" fmla="*/ 448 h 12156"/>
              <a:gd name="connsiteX2" fmla="*/ 11875 w 13267"/>
              <a:gd name="connsiteY2" fmla="*/ 811 h 12156"/>
              <a:gd name="connsiteX3" fmla="*/ 13010 w 13267"/>
              <a:gd name="connsiteY3" fmla="*/ 4712 h 12156"/>
              <a:gd name="connsiteX4" fmla="*/ 13247 w 13267"/>
              <a:gd name="connsiteY4" fmla="*/ 7045 h 12156"/>
              <a:gd name="connsiteX5" fmla="*/ 12651 w 13267"/>
              <a:gd name="connsiteY5" fmla="*/ 10899 h 12156"/>
              <a:gd name="connsiteX6" fmla="*/ 9656 w 13267"/>
              <a:gd name="connsiteY6" fmla="*/ 12136 h 12156"/>
              <a:gd name="connsiteX7" fmla="*/ 6215 w 13267"/>
              <a:gd name="connsiteY7" fmla="*/ 11446 h 12156"/>
              <a:gd name="connsiteX8" fmla="*/ 2971 w 13267"/>
              <a:gd name="connsiteY8" fmla="*/ 8693 h 12156"/>
              <a:gd name="connsiteX9" fmla="*/ 1638 w 13267"/>
              <a:gd name="connsiteY9" fmla="*/ 6762 h 12156"/>
              <a:gd name="connsiteX10" fmla="*/ 452 w 13267"/>
              <a:gd name="connsiteY10" fmla="*/ 4476 h 12156"/>
              <a:gd name="connsiteX11" fmla="*/ 102 w 13267"/>
              <a:gd name="connsiteY11" fmla="*/ 3349 h 12156"/>
              <a:gd name="connsiteX12" fmla="*/ 34 w 13267"/>
              <a:gd name="connsiteY12" fmla="*/ 1981 h 12156"/>
              <a:gd name="connsiteX13" fmla="*/ 757 w 13267"/>
              <a:gd name="connsiteY13" fmla="*/ 799 h 12156"/>
              <a:gd name="connsiteX14" fmla="*/ 2220 w 13267"/>
              <a:gd name="connsiteY14" fmla="*/ 176 h 12156"/>
              <a:gd name="connsiteX15" fmla="*/ 4408 w 13267"/>
              <a:gd name="connsiteY15" fmla="*/ 4 h 12156"/>
              <a:gd name="connsiteX16" fmla="*/ 6577 w 13267"/>
              <a:gd name="connsiteY16" fmla="*/ 116 h 12156"/>
              <a:gd name="connsiteX0" fmla="*/ 6577 w 13260"/>
              <a:gd name="connsiteY0" fmla="*/ 116 h 12156"/>
              <a:gd name="connsiteX1" fmla="*/ 9226 w 13260"/>
              <a:gd name="connsiteY1" fmla="*/ 448 h 12156"/>
              <a:gd name="connsiteX2" fmla="*/ 12340 w 13260"/>
              <a:gd name="connsiteY2" fmla="*/ 1650 h 12156"/>
              <a:gd name="connsiteX3" fmla="*/ 13010 w 13260"/>
              <a:gd name="connsiteY3" fmla="*/ 4712 h 12156"/>
              <a:gd name="connsiteX4" fmla="*/ 13247 w 13260"/>
              <a:gd name="connsiteY4" fmla="*/ 7045 h 12156"/>
              <a:gd name="connsiteX5" fmla="*/ 12651 w 13260"/>
              <a:gd name="connsiteY5" fmla="*/ 10899 h 12156"/>
              <a:gd name="connsiteX6" fmla="*/ 9656 w 13260"/>
              <a:gd name="connsiteY6" fmla="*/ 12136 h 12156"/>
              <a:gd name="connsiteX7" fmla="*/ 6215 w 13260"/>
              <a:gd name="connsiteY7" fmla="*/ 11446 h 12156"/>
              <a:gd name="connsiteX8" fmla="*/ 2971 w 13260"/>
              <a:gd name="connsiteY8" fmla="*/ 8693 h 12156"/>
              <a:gd name="connsiteX9" fmla="*/ 1638 w 13260"/>
              <a:gd name="connsiteY9" fmla="*/ 6762 h 12156"/>
              <a:gd name="connsiteX10" fmla="*/ 452 w 13260"/>
              <a:gd name="connsiteY10" fmla="*/ 4476 h 12156"/>
              <a:gd name="connsiteX11" fmla="*/ 102 w 13260"/>
              <a:gd name="connsiteY11" fmla="*/ 3349 h 12156"/>
              <a:gd name="connsiteX12" fmla="*/ 34 w 13260"/>
              <a:gd name="connsiteY12" fmla="*/ 1981 h 12156"/>
              <a:gd name="connsiteX13" fmla="*/ 757 w 13260"/>
              <a:gd name="connsiteY13" fmla="*/ 799 h 12156"/>
              <a:gd name="connsiteX14" fmla="*/ 2220 w 13260"/>
              <a:gd name="connsiteY14" fmla="*/ 176 h 12156"/>
              <a:gd name="connsiteX15" fmla="*/ 4408 w 13260"/>
              <a:gd name="connsiteY15" fmla="*/ 4 h 12156"/>
              <a:gd name="connsiteX16" fmla="*/ 6577 w 13260"/>
              <a:gd name="connsiteY16" fmla="*/ 116 h 12156"/>
              <a:gd name="connsiteX0" fmla="*/ 6577 w 13314"/>
              <a:gd name="connsiteY0" fmla="*/ 116 h 12156"/>
              <a:gd name="connsiteX1" fmla="*/ 9226 w 13314"/>
              <a:gd name="connsiteY1" fmla="*/ 448 h 12156"/>
              <a:gd name="connsiteX2" fmla="*/ 13051 w 13314"/>
              <a:gd name="connsiteY2" fmla="*/ 1349 h 12156"/>
              <a:gd name="connsiteX3" fmla="*/ 13010 w 13314"/>
              <a:gd name="connsiteY3" fmla="*/ 4712 h 12156"/>
              <a:gd name="connsiteX4" fmla="*/ 13247 w 13314"/>
              <a:gd name="connsiteY4" fmla="*/ 7045 h 12156"/>
              <a:gd name="connsiteX5" fmla="*/ 12651 w 13314"/>
              <a:gd name="connsiteY5" fmla="*/ 10899 h 12156"/>
              <a:gd name="connsiteX6" fmla="*/ 9656 w 13314"/>
              <a:gd name="connsiteY6" fmla="*/ 12136 h 12156"/>
              <a:gd name="connsiteX7" fmla="*/ 6215 w 13314"/>
              <a:gd name="connsiteY7" fmla="*/ 11446 h 12156"/>
              <a:gd name="connsiteX8" fmla="*/ 2971 w 13314"/>
              <a:gd name="connsiteY8" fmla="*/ 8693 h 12156"/>
              <a:gd name="connsiteX9" fmla="*/ 1638 w 13314"/>
              <a:gd name="connsiteY9" fmla="*/ 6762 h 12156"/>
              <a:gd name="connsiteX10" fmla="*/ 452 w 13314"/>
              <a:gd name="connsiteY10" fmla="*/ 4476 h 12156"/>
              <a:gd name="connsiteX11" fmla="*/ 102 w 13314"/>
              <a:gd name="connsiteY11" fmla="*/ 3349 h 12156"/>
              <a:gd name="connsiteX12" fmla="*/ 34 w 13314"/>
              <a:gd name="connsiteY12" fmla="*/ 1981 h 12156"/>
              <a:gd name="connsiteX13" fmla="*/ 757 w 13314"/>
              <a:gd name="connsiteY13" fmla="*/ 799 h 12156"/>
              <a:gd name="connsiteX14" fmla="*/ 2220 w 13314"/>
              <a:gd name="connsiteY14" fmla="*/ 176 h 12156"/>
              <a:gd name="connsiteX15" fmla="*/ 4408 w 13314"/>
              <a:gd name="connsiteY15" fmla="*/ 4 h 12156"/>
              <a:gd name="connsiteX16" fmla="*/ 6577 w 13314"/>
              <a:gd name="connsiteY16" fmla="*/ 116 h 12156"/>
              <a:gd name="connsiteX0" fmla="*/ 6577 w 13255"/>
              <a:gd name="connsiteY0" fmla="*/ 116 h 12156"/>
              <a:gd name="connsiteX1" fmla="*/ 9226 w 13255"/>
              <a:gd name="connsiteY1" fmla="*/ 448 h 12156"/>
              <a:gd name="connsiteX2" fmla="*/ 13051 w 13255"/>
              <a:gd name="connsiteY2" fmla="*/ 1349 h 12156"/>
              <a:gd name="connsiteX3" fmla="*/ 13010 w 13255"/>
              <a:gd name="connsiteY3" fmla="*/ 4712 h 12156"/>
              <a:gd name="connsiteX4" fmla="*/ 13247 w 13255"/>
              <a:gd name="connsiteY4" fmla="*/ 7045 h 12156"/>
              <a:gd name="connsiteX5" fmla="*/ 12651 w 13255"/>
              <a:gd name="connsiteY5" fmla="*/ 10899 h 12156"/>
              <a:gd name="connsiteX6" fmla="*/ 9656 w 13255"/>
              <a:gd name="connsiteY6" fmla="*/ 12136 h 12156"/>
              <a:gd name="connsiteX7" fmla="*/ 6215 w 13255"/>
              <a:gd name="connsiteY7" fmla="*/ 11446 h 12156"/>
              <a:gd name="connsiteX8" fmla="*/ 2971 w 13255"/>
              <a:gd name="connsiteY8" fmla="*/ 8693 h 12156"/>
              <a:gd name="connsiteX9" fmla="*/ 1638 w 13255"/>
              <a:gd name="connsiteY9" fmla="*/ 6762 h 12156"/>
              <a:gd name="connsiteX10" fmla="*/ 452 w 13255"/>
              <a:gd name="connsiteY10" fmla="*/ 4476 h 12156"/>
              <a:gd name="connsiteX11" fmla="*/ 102 w 13255"/>
              <a:gd name="connsiteY11" fmla="*/ 3349 h 12156"/>
              <a:gd name="connsiteX12" fmla="*/ 34 w 13255"/>
              <a:gd name="connsiteY12" fmla="*/ 1981 h 12156"/>
              <a:gd name="connsiteX13" fmla="*/ 757 w 13255"/>
              <a:gd name="connsiteY13" fmla="*/ 799 h 12156"/>
              <a:gd name="connsiteX14" fmla="*/ 2220 w 13255"/>
              <a:gd name="connsiteY14" fmla="*/ 176 h 12156"/>
              <a:gd name="connsiteX15" fmla="*/ 4408 w 13255"/>
              <a:gd name="connsiteY15" fmla="*/ 4 h 12156"/>
              <a:gd name="connsiteX16" fmla="*/ 6577 w 13255"/>
              <a:gd name="connsiteY16" fmla="*/ 116 h 12156"/>
              <a:gd name="connsiteX0" fmla="*/ 6577 w 13255"/>
              <a:gd name="connsiteY0" fmla="*/ 116 h 12156"/>
              <a:gd name="connsiteX1" fmla="*/ 9226 w 13255"/>
              <a:gd name="connsiteY1" fmla="*/ 448 h 12156"/>
              <a:gd name="connsiteX2" fmla="*/ 13051 w 13255"/>
              <a:gd name="connsiteY2" fmla="*/ 1349 h 12156"/>
              <a:gd name="connsiteX3" fmla="*/ 13010 w 13255"/>
              <a:gd name="connsiteY3" fmla="*/ 4712 h 12156"/>
              <a:gd name="connsiteX4" fmla="*/ 13247 w 13255"/>
              <a:gd name="connsiteY4" fmla="*/ 7045 h 12156"/>
              <a:gd name="connsiteX5" fmla="*/ 12651 w 13255"/>
              <a:gd name="connsiteY5" fmla="*/ 10899 h 12156"/>
              <a:gd name="connsiteX6" fmla="*/ 9656 w 13255"/>
              <a:gd name="connsiteY6" fmla="*/ 12136 h 12156"/>
              <a:gd name="connsiteX7" fmla="*/ 6215 w 13255"/>
              <a:gd name="connsiteY7" fmla="*/ 11446 h 12156"/>
              <a:gd name="connsiteX8" fmla="*/ 2971 w 13255"/>
              <a:gd name="connsiteY8" fmla="*/ 8693 h 12156"/>
              <a:gd name="connsiteX9" fmla="*/ 1638 w 13255"/>
              <a:gd name="connsiteY9" fmla="*/ 6762 h 12156"/>
              <a:gd name="connsiteX10" fmla="*/ 452 w 13255"/>
              <a:gd name="connsiteY10" fmla="*/ 4476 h 12156"/>
              <a:gd name="connsiteX11" fmla="*/ 102 w 13255"/>
              <a:gd name="connsiteY11" fmla="*/ 3349 h 12156"/>
              <a:gd name="connsiteX12" fmla="*/ 34 w 13255"/>
              <a:gd name="connsiteY12" fmla="*/ 1981 h 12156"/>
              <a:gd name="connsiteX13" fmla="*/ 757 w 13255"/>
              <a:gd name="connsiteY13" fmla="*/ 799 h 12156"/>
              <a:gd name="connsiteX14" fmla="*/ 2220 w 13255"/>
              <a:gd name="connsiteY14" fmla="*/ 176 h 12156"/>
              <a:gd name="connsiteX15" fmla="*/ 4408 w 13255"/>
              <a:gd name="connsiteY15" fmla="*/ 4 h 12156"/>
              <a:gd name="connsiteX16" fmla="*/ 6577 w 13255"/>
              <a:gd name="connsiteY16" fmla="*/ 116 h 12156"/>
              <a:gd name="connsiteX0" fmla="*/ 6577 w 13262"/>
              <a:gd name="connsiteY0" fmla="*/ 116 h 12156"/>
              <a:gd name="connsiteX1" fmla="*/ 9226 w 13262"/>
              <a:gd name="connsiteY1" fmla="*/ 448 h 12156"/>
              <a:gd name="connsiteX2" fmla="*/ 12216 w 13262"/>
              <a:gd name="connsiteY2" fmla="*/ 954 h 12156"/>
              <a:gd name="connsiteX3" fmla="*/ 13010 w 13262"/>
              <a:gd name="connsiteY3" fmla="*/ 4712 h 12156"/>
              <a:gd name="connsiteX4" fmla="*/ 13247 w 13262"/>
              <a:gd name="connsiteY4" fmla="*/ 7045 h 12156"/>
              <a:gd name="connsiteX5" fmla="*/ 12651 w 13262"/>
              <a:gd name="connsiteY5" fmla="*/ 10899 h 12156"/>
              <a:gd name="connsiteX6" fmla="*/ 9656 w 13262"/>
              <a:gd name="connsiteY6" fmla="*/ 12136 h 12156"/>
              <a:gd name="connsiteX7" fmla="*/ 6215 w 13262"/>
              <a:gd name="connsiteY7" fmla="*/ 11446 h 12156"/>
              <a:gd name="connsiteX8" fmla="*/ 2971 w 13262"/>
              <a:gd name="connsiteY8" fmla="*/ 8693 h 12156"/>
              <a:gd name="connsiteX9" fmla="*/ 1638 w 13262"/>
              <a:gd name="connsiteY9" fmla="*/ 6762 h 12156"/>
              <a:gd name="connsiteX10" fmla="*/ 452 w 13262"/>
              <a:gd name="connsiteY10" fmla="*/ 4476 h 12156"/>
              <a:gd name="connsiteX11" fmla="*/ 102 w 13262"/>
              <a:gd name="connsiteY11" fmla="*/ 3349 h 12156"/>
              <a:gd name="connsiteX12" fmla="*/ 34 w 13262"/>
              <a:gd name="connsiteY12" fmla="*/ 1981 h 12156"/>
              <a:gd name="connsiteX13" fmla="*/ 757 w 13262"/>
              <a:gd name="connsiteY13" fmla="*/ 799 h 12156"/>
              <a:gd name="connsiteX14" fmla="*/ 2220 w 13262"/>
              <a:gd name="connsiteY14" fmla="*/ 176 h 12156"/>
              <a:gd name="connsiteX15" fmla="*/ 4408 w 13262"/>
              <a:gd name="connsiteY15" fmla="*/ 4 h 12156"/>
              <a:gd name="connsiteX16" fmla="*/ 6577 w 13262"/>
              <a:gd name="connsiteY16" fmla="*/ 116 h 12156"/>
              <a:gd name="connsiteX0" fmla="*/ 6577 w 13262"/>
              <a:gd name="connsiteY0" fmla="*/ 116 h 12156"/>
              <a:gd name="connsiteX1" fmla="*/ 9226 w 13262"/>
              <a:gd name="connsiteY1" fmla="*/ 448 h 12156"/>
              <a:gd name="connsiteX2" fmla="*/ 12216 w 13262"/>
              <a:gd name="connsiteY2" fmla="*/ 954 h 12156"/>
              <a:gd name="connsiteX3" fmla="*/ 13010 w 13262"/>
              <a:gd name="connsiteY3" fmla="*/ 4712 h 12156"/>
              <a:gd name="connsiteX4" fmla="*/ 13247 w 13262"/>
              <a:gd name="connsiteY4" fmla="*/ 7045 h 12156"/>
              <a:gd name="connsiteX5" fmla="*/ 12651 w 13262"/>
              <a:gd name="connsiteY5" fmla="*/ 10899 h 12156"/>
              <a:gd name="connsiteX6" fmla="*/ 9656 w 13262"/>
              <a:gd name="connsiteY6" fmla="*/ 12136 h 12156"/>
              <a:gd name="connsiteX7" fmla="*/ 6215 w 13262"/>
              <a:gd name="connsiteY7" fmla="*/ 11446 h 12156"/>
              <a:gd name="connsiteX8" fmla="*/ 2971 w 13262"/>
              <a:gd name="connsiteY8" fmla="*/ 8693 h 12156"/>
              <a:gd name="connsiteX9" fmla="*/ 1638 w 13262"/>
              <a:gd name="connsiteY9" fmla="*/ 6762 h 12156"/>
              <a:gd name="connsiteX10" fmla="*/ 452 w 13262"/>
              <a:gd name="connsiteY10" fmla="*/ 4476 h 12156"/>
              <a:gd name="connsiteX11" fmla="*/ 102 w 13262"/>
              <a:gd name="connsiteY11" fmla="*/ 3349 h 12156"/>
              <a:gd name="connsiteX12" fmla="*/ 34 w 13262"/>
              <a:gd name="connsiteY12" fmla="*/ 1981 h 12156"/>
              <a:gd name="connsiteX13" fmla="*/ 757 w 13262"/>
              <a:gd name="connsiteY13" fmla="*/ 799 h 12156"/>
              <a:gd name="connsiteX14" fmla="*/ 2220 w 13262"/>
              <a:gd name="connsiteY14" fmla="*/ 176 h 12156"/>
              <a:gd name="connsiteX15" fmla="*/ 4408 w 13262"/>
              <a:gd name="connsiteY15" fmla="*/ 4 h 12156"/>
              <a:gd name="connsiteX16" fmla="*/ 6577 w 13262"/>
              <a:gd name="connsiteY16" fmla="*/ 116 h 12156"/>
              <a:gd name="connsiteX0" fmla="*/ 6577 w 13016"/>
              <a:gd name="connsiteY0" fmla="*/ 116 h 12156"/>
              <a:gd name="connsiteX1" fmla="*/ 9226 w 13016"/>
              <a:gd name="connsiteY1" fmla="*/ 448 h 12156"/>
              <a:gd name="connsiteX2" fmla="*/ 12216 w 13016"/>
              <a:gd name="connsiteY2" fmla="*/ 954 h 12156"/>
              <a:gd name="connsiteX3" fmla="*/ 13010 w 13016"/>
              <a:gd name="connsiteY3" fmla="*/ 4712 h 12156"/>
              <a:gd name="connsiteX4" fmla="*/ 12598 w 13016"/>
              <a:gd name="connsiteY4" fmla="*/ 6774 h 12156"/>
              <a:gd name="connsiteX5" fmla="*/ 12651 w 13016"/>
              <a:gd name="connsiteY5" fmla="*/ 10899 h 12156"/>
              <a:gd name="connsiteX6" fmla="*/ 9656 w 13016"/>
              <a:gd name="connsiteY6" fmla="*/ 12136 h 12156"/>
              <a:gd name="connsiteX7" fmla="*/ 6215 w 13016"/>
              <a:gd name="connsiteY7" fmla="*/ 11446 h 12156"/>
              <a:gd name="connsiteX8" fmla="*/ 2971 w 13016"/>
              <a:gd name="connsiteY8" fmla="*/ 8693 h 12156"/>
              <a:gd name="connsiteX9" fmla="*/ 1638 w 13016"/>
              <a:gd name="connsiteY9" fmla="*/ 6762 h 12156"/>
              <a:gd name="connsiteX10" fmla="*/ 452 w 13016"/>
              <a:gd name="connsiteY10" fmla="*/ 4476 h 12156"/>
              <a:gd name="connsiteX11" fmla="*/ 102 w 13016"/>
              <a:gd name="connsiteY11" fmla="*/ 3349 h 12156"/>
              <a:gd name="connsiteX12" fmla="*/ 34 w 13016"/>
              <a:gd name="connsiteY12" fmla="*/ 1981 h 12156"/>
              <a:gd name="connsiteX13" fmla="*/ 757 w 13016"/>
              <a:gd name="connsiteY13" fmla="*/ 799 h 12156"/>
              <a:gd name="connsiteX14" fmla="*/ 2220 w 13016"/>
              <a:gd name="connsiteY14" fmla="*/ 176 h 12156"/>
              <a:gd name="connsiteX15" fmla="*/ 4408 w 13016"/>
              <a:gd name="connsiteY15" fmla="*/ 4 h 12156"/>
              <a:gd name="connsiteX16" fmla="*/ 6577 w 13016"/>
              <a:gd name="connsiteY16" fmla="*/ 116 h 12156"/>
              <a:gd name="connsiteX0" fmla="*/ 6577 w 13018"/>
              <a:gd name="connsiteY0" fmla="*/ 116 h 12144"/>
              <a:gd name="connsiteX1" fmla="*/ 9226 w 13018"/>
              <a:gd name="connsiteY1" fmla="*/ 448 h 12144"/>
              <a:gd name="connsiteX2" fmla="*/ 12216 w 13018"/>
              <a:gd name="connsiteY2" fmla="*/ 954 h 12144"/>
              <a:gd name="connsiteX3" fmla="*/ 13010 w 13018"/>
              <a:gd name="connsiteY3" fmla="*/ 4712 h 12144"/>
              <a:gd name="connsiteX4" fmla="*/ 12598 w 13018"/>
              <a:gd name="connsiteY4" fmla="*/ 6774 h 12144"/>
              <a:gd name="connsiteX5" fmla="*/ 12148 w 13018"/>
              <a:gd name="connsiteY5" fmla="*/ 11127 h 12144"/>
              <a:gd name="connsiteX6" fmla="*/ 9656 w 13018"/>
              <a:gd name="connsiteY6" fmla="*/ 12136 h 12144"/>
              <a:gd name="connsiteX7" fmla="*/ 6215 w 13018"/>
              <a:gd name="connsiteY7" fmla="*/ 11446 h 12144"/>
              <a:gd name="connsiteX8" fmla="*/ 2971 w 13018"/>
              <a:gd name="connsiteY8" fmla="*/ 8693 h 12144"/>
              <a:gd name="connsiteX9" fmla="*/ 1638 w 13018"/>
              <a:gd name="connsiteY9" fmla="*/ 6762 h 12144"/>
              <a:gd name="connsiteX10" fmla="*/ 452 w 13018"/>
              <a:gd name="connsiteY10" fmla="*/ 4476 h 12144"/>
              <a:gd name="connsiteX11" fmla="*/ 102 w 13018"/>
              <a:gd name="connsiteY11" fmla="*/ 3349 h 12144"/>
              <a:gd name="connsiteX12" fmla="*/ 34 w 13018"/>
              <a:gd name="connsiteY12" fmla="*/ 1981 h 12144"/>
              <a:gd name="connsiteX13" fmla="*/ 757 w 13018"/>
              <a:gd name="connsiteY13" fmla="*/ 799 h 12144"/>
              <a:gd name="connsiteX14" fmla="*/ 2220 w 13018"/>
              <a:gd name="connsiteY14" fmla="*/ 176 h 12144"/>
              <a:gd name="connsiteX15" fmla="*/ 4408 w 13018"/>
              <a:gd name="connsiteY15" fmla="*/ 4 h 12144"/>
              <a:gd name="connsiteX16" fmla="*/ 6577 w 13018"/>
              <a:gd name="connsiteY16" fmla="*/ 116 h 12144"/>
              <a:gd name="connsiteX0" fmla="*/ 6577 w 13018"/>
              <a:gd name="connsiteY0" fmla="*/ 116 h 12144"/>
              <a:gd name="connsiteX1" fmla="*/ 9226 w 13018"/>
              <a:gd name="connsiteY1" fmla="*/ 448 h 12144"/>
              <a:gd name="connsiteX2" fmla="*/ 12216 w 13018"/>
              <a:gd name="connsiteY2" fmla="*/ 954 h 12144"/>
              <a:gd name="connsiteX3" fmla="*/ 13010 w 13018"/>
              <a:gd name="connsiteY3" fmla="*/ 4712 h 12144"/>
              <a:gd name="connsiteX4" fmla="*/ 12598 w 13018"/>
              <a:gd name="connsiteY4" fmla="*/ 6774 h 12144"/>
              <a:gd name="connsiteX5" fmla="*/ 12148 w 13018"/>
              <a:gd name="connsiteY5" fmla="*/ 11127 h 12144"/>
              <a:gd name="connsiteX6" fmla="*/ 9656 w 13018"/>
              <a:gd name="connsiteY6" fmla="*/ 12136 h 12144"/>
              <a:gd name="connsiteX7" fmla="*/ 6215 w 13018"/>
              <a:gd name="connsiteY7" fmla="*/ 11446 h 12144"/>
              <a:gd name="connsiteX8" fmla="*/ 2971 w 13018"/>
              <a:gd name="connsiteY8" fmla="*/ 8693 h 12144"/>
              <a:gd name="connsiteX9" fmla="*/ 1638 w 13018"/>
              <a:gd name="connsiteY9" fmla="*/ 6762 h 12144"/>
              <a:gd name="connsiteX10" fmla="*/ 452 w 13018"/>
              <a:gd name="connsiteY10" fmla="*/ 4476 h 12144"/>
              <a:gd name="connsiteX11" fmla="*/ 102 w 13018"/>
              <a:gd name="connsiteY11" fmla="*/ 3349 h 12144"/>
              <a:gd name="connsiteX12" fmla="*/ 34 w 13018"/>
              <a:gd name="connsiteY12" fmla="*/ 1981 h 12144"/>
              <a:gd name="connsiteX13" fmla="*/ 757 w 13018"/>
              <a:gd name="connsiteY13" fmla="*/ 799 h 12144"/>
              <a:gd name="connsiteX14" fmla="*/ 2220 w 13018"/>
              <a:gd name="connsiteY14" fmla="*/ 176 h 12144"/>
              <a:gd name="connsiteX15" fmla="*/ 4408 w 13018"/>
              <a:gd name="connsiteY15" fmla="*/ 4 h 12144"/>
              <a:gd name="connsiteX16" fmla="*/ 6577 w 13018"/>
              <a:gd name="connsiteY16" fmla="*/ 116 h 12144"/>
              <a:gd name="connsiteX0" fmla="*/ 6577 w 13017"/>
              <a:gd name="connsiteY0" fmla="*/ 116 h 12137"/>
              <a:gd name="connsiteX1" fmla="*/ 9226 w 13017"/>
              <a:gd name="connsiteY1" fmla="*/ 448 h 12137"/>
              <a:gd name="connsiteX2" fmla="*/ 12216 w 13017"/>
              <a:gd name="connsiteY2" fmla="*/ 954 h 12137"/>
              <a:gd name="connsiteX3" fmla="*/ 13010 w 13017"/>
              <a:gd name="connsiteY3" fmla="*/ 4712 h 12137"/>
              <a:gd name="connsiteX4" fmla="*/ 12598 w 13017"/>
              <a:gd name="connsiteY4" fmla="*/ 6774 h 12137"/>
              <a:gd name="connsiteX5" fmla="*/ 12266 w 13017"/>
              <a:gd name="connsiteY5" fmla="*/ 11330 h 12137"/>
              <a:gd name="connsiteX6" fmla="*/ 9656 w 13017"/>
              <a:gd name="connsiteY6" fmla="*/ 12136 h 12137"/>
              <a:gd name="connsiteX7" fmla="*/ 6215 w 13017"/>
              <a:gd name="connsiteY7" fmla="*/ 11446 h 12137"/>
              <a:gd name="connsiteX8" fmla="*/ 2971 w 13017"/>
              <a:gd name="connsiteY8" fmla="*/ 8693 h 12137"/>
              <a:gd name="connsiteX9" fmla="*/ 1638 w 13017"/>
              <a:gd name="connsiteY9" fmla="*/ 6762 h 12137"/>
              <a:gd name="connsiteX10" fmla="*/ 452 w 13017"/>
              <a:gd name="connsiteY10" fmla="*/ 4476 h 12137"/>
              <a:gd name="connsiteX11" fmla="*/ 102 w 13017"/>
              <a:gd name="connsiteY11" fmla="*/ 3349 h 12137"/>
              <a:gd name="connsiteX12" fmla="*/ 34 w 13017"/>
              <a:gd name="connsiteY12" fmla="*/ 1981 h 12137"/>
              <a:gd name="connsiteX13" fmla="*/ 757 w 13017"/>
              <a:gd name="connsiteY13" fmla="*/ 799 h 12137"/>
              <a:gd name="connsiteX14" fmla="*/ 2220 w 13017"/>
              <a:gd name="connsiteY14" fmla="*/ 176 h 12137"/>
              <a:gd name="connsiteX15" fmla="*/ 4408 w 13017"/>
              <a:gd name="connsiteY15" fmla="*/ 4 h 12137"/>
              <a:gd name="connsiteX16" fmla="*/ 6577 w 13017"/>
              <a:gd name="connsiteY16" fmla="*/ 116 h 12137"/>
              <a:gd name="connsiteX0" fmla="*/ 6577 w 13017"/>
              <a:gd name="connsiteY0" fmla="*/ 116 h 12137"/>
              <a:gd name="connsiteX1" fmla="*/ 9226 w 13017"/>
              <a:gd name="connsiteY1" fmla="*/ 448 h 12137"/>
              <a:gd name="connsiteX2" fmla="*/ 12216 w 13017"/>
              <a:gd name="connsiteY2" fmla="*/ 954 h 12137"/>
              <a:gd name="connsiteX3" fmla="*/ 13010 w 13017"/>
              <a:gd name="connsiteY3" fmla="*/ 4712 h 12137"/>
              <a:gd name="connsiteX4" fmla="*/ 12598 w 13017"/>
              <a:gd name="connsiteY4" fmla="*/ 6774 h 12137"/>
              <a:gd name="connsiteX5" fmla="*/ 12266 w 13017"/>
              <a:gd name="connsiteY5" fmla="*/ 11330 h 12137"/>
              <a:gd name="connsiteX6" fmla="*/ 9656 w 13017"/>
              <a:gd name="connsiteY6" fmla="*/ 12136 h 12137"/>
              <a:gd name="connsiteX7" fmla="*/ 6215 w 13017"/>
              <a:gd name="connsiteY7" fmla="*/ 11446 h 12137"/>
              <a:gd name="connsiteX8" fmla="*/ 2971 w 13017"/>
              <a:gd name="connsiteY8" fmla="*/ 8693 h 12137"/>
              <a:gd name="connsiteX9" fmla="*/ 1638 w 13017"/>
              <a:gd name="connsiteY9" fmla="*/ 6762 h 12137"/>
              <a:gd name="connsiteX10" fmla="*/ 452 w 13017"/>
              <a:gd name="connsiteY10" fmla="*/ 4476 h 12137"/>
              <a:gd name="connsiteX11" fmla="*/ 102 w 13017"/>
              <a:gd name="connsiteY11" fmla="*/ 3349 h 12137"/>
              <a:gd name="connsiteX12" fmla="*/ 34 w 13017"/>
              <a:gd name="connsiteY12" fmla="*/ 1981 h 12137"/>
              <a:gd name="connsiteX13" fmla="*/ 757 w 13017"/>
              <a:gd name="connsiteY13" fmla="*/ 799 h 12137"/>
              <a:gd name="connsiteX14" fmla="*/ 2220 w 13017"/>
              <a:gd name="connsiteY14" fmla="*/ 176 h 12137"/>
              <a:gd name="connsiteX15" fmla="*/ 4408 w 13017"/>
              <a:gd name="connsiteY15" fmla="*/ 4 h 12137"/>
              <a:gd name="connsiteX16" fmla="*/ 6577 w 13017"/>
              <a:gd name="connsiteY16" fmla="*/ 116 h 12137"/>
              <a:gd name="connsiteX0" fmla="*/ 6577 w 12599"/>
              <a:gd name="connsiteY0" fmla="*/ 116 h 12137"/>
              <a:gd name="connsiteX1" fmla="*/ 9226 w 12599"/>
              <a:gd name="connsiteY1" fmla="*/ 448 h 12137"/>
              <a:gd name="connsiteX2" fmla="*/ 12216 w 12599"/>
              <a:gd name="connsiteY2" fmla="*/ 954 h 12137"/>
              <a:gd name="connsiteX3" fmla="*/ 12387 w 12599"/>
              <a:gd name="connsiteY3" fmla="*/ 4529 h 12137"/>
              <a:gd name="connsiteX4" fmla="*/ 12598 w 12599"/>
              <a:gd name="connsiteY4" fmla="*/ 6774 h 12137"/>
              <a:gd name="connsiteX5" fmla="*/ 12266 w 12599"/>
              <a:gd name="connsiteY5" fmla="*/ 11330 h 12137"/>
              <a:gd name="connsiteX6" fmla="*/ 9656 w 12599"/>
              <a:gd name="connsiteY6" fmla="*/ 12136 h 12137"/>
              <a:gd name="connsiteX7" fmla="*/ 6215 w 12599"/>
              <a:gd name="connsiteY7" fmla="*/ 11446 h 12137"/>
              <a:gd name="connsiteX8" fmla="*/ 2971 w 12599"/>
              <a:gd name="connsiteY8" fmla="*/ 8693 h 12137"/>
              <a:gd name="connsiteX9" fmla="*/ 1638 w 12599"/>
              <a:gd name="connsiteY9" fmla="*/ 6762 h 12137"/>
              <a:gd name="connsiteX10" fmla="*/ 452 w 12599"/>
              <a:gd name="connsiteY10" fmla="*/ 4476 h 12137"/>
              <a:gd name="connsiteX11" fmla="*/ 102 w 12599"/>
              <a:gd name="connsiteY11" fmla="*/ 3349 h 12137"/>
              <a:gd name="connsiteX12" fmla="*/ 34 w 12599"/>
              <a:gd name="connsiteY12" fmla="*/ 1981 h 12137"/>
              <a:gd name="connsiteX13" fmla="*/ 757 w 12599"/>
              <a:gd name="connsiteY13" fmla="*/ 799 h 12137"/>
              <a:gd name="connsiteX14" fmla="*/ 2220 w 12599"/>
              <a:gd name="connsiteY14" fmla="*/ 176 h 12137"/>
              <a:gd name="connsiteX15" fmla="*/ 4408 w 12599"/>
              <a:gd name="connsiteY15" fmla="*/ 4 h 12137"/>
              <a:gd name="connsiteX16" fmla="*/ 6577 w 12599"/>
              <a:gd name="connsiteY16" fmla="*/ 116 h 12137"/>
              <a:gd name="connsiteX0" fmla="*/ 6577 w 12599"/>
              <a:gd name="connsiteY0" fmla="*/ 116 h 12137"/>
              <a:gd name="connsiteX1" fmla="*/ 9226 w 12599"/>
              <a:gd name="connsiteY1" fmla="*/ 448 h 12137"/>
              <a:gd name="connsiteX2" fmla="*/ 12216 w 12599"/>
              <a:gd name="connsiteY2" fmla="*/ 954 h 12137"/>
              <a:gd name="connsiteX3" fmla="*/ 12387 w 12599"/>
              <a:gd name="connsiteY3" fmla="*/ 4529 h 12137"/>
              <a:gd name="connsiteX4" fmla="*/ 12598 w 12599"/>
              <a:gd name="connsiteY4" fmla="*/ 6774 h 12137"/>
              <a:gd name="connsiteX5" fmla="*/ 12266 w 12599"/>
              <a:gd name="connsiteY5" fmla="*/ 11330 h 12137"/>
              <a:gd name="connsiteX6" fmla="*/ 9656 w 12599"/>
              <a:gd name="connsiteY6" fmla="*/ 12136 h 12137"/>
              <a:gd name="connsiteX7" fmla="*/ 6215 w 12599"/>
              <a:gd name="connsiteY7" fmla="*/ 11446 h 12137"/>
              <a:gd name="connsiteX8" fmla="*/ 2971 w 12599"/>
              <a:gd name="connsiteY8" fmla="*/ 8693 h 12137"/>
              <a:gd name="connsiteX9" fmla="*/ 1638 w 12599"/>
              <a:gd name="connsiteY9" fmla="*/ 6762 h 12137"/>
              <a:gd name="connsiteX10" fmla="*/ 452 w 12599"/>
              <a:gd name="connsiteY10" fmla="*/ 4476 h 12137"/>
              <a:gd name="connsiteX11" fmla="*/ 102 w 12599"/>
              <a:gd name="connsiteY11" fmla="*/ 3349 h 12137"/>
              <a:gd name="connsiteX12" fmla="*/ 34 w 12599"/>
              <a:gd name="connsiteY12" fmla="*/ 1981 h 12137"/>
              <a:gd name="connsiteX13" fmla="*/ 757 w 12599"/>
              <a:gd name="connsiteY13" fmla="*/ 799 h 12137"/>
              <a:gd name="connsiteX14" fmla="*/ 2220 w 12599"/>
              <a:gd name="connsiteY14" fmla="*/ 176 h 12137"/>
              <a:gd name="connsiteX15" fmla="*/ 4408 w 12599"/>
              <a:gd name="connsiteY15" fmla="*/ 4 h 12137"/>
              <a:gd name="connsiteX16" fmla="*/ 6577 w 12599"/>
              <a:gd name="connsiteY16" fmla="*/ 116 h 12137"/>
              <a:gd name="connsiteX0" fmla="*/ 6577 w 12599"/>
              <a:gd name="connsiteY0" fmla="*/ 116 h 12137"/>
              <a:gd name="connsiteX1" fmla="*/ 9226 w 12599"/>
              <a:gd name="connsiteY1" fmla="*/ 448 h 12137"/>
              <a:gd name="connsiteX2" fmla="*/ 12216 w 12599"/>
              <a:gd name="connsiteY2" fmla="*/ 954 h 12137"/>
              <a:gd name="connsiteX3" fmla="*/ 12387 w 12599"/>
              <a:gd name="connsiteY3" fmla="*/ 4529 h 12137"/>
              <a:gd name="connsiteX4" fmla="*/ 12598 w 12599"/>
              <a:gd name="connsiteY4" fmla="*/ 6774 h 12137"/>
              <a:gd name="connsiteX5" fmla="*/ 12266 w 12599"/>
              <a:gd name="connsiteY5" fmla="*/ 11330 h 12137"/>
              <a:gd name="connsiteX6" fmla="*/ 9656 w 12599"/>
              <a:gd name="connsiteY6" fmla="*/ 12136 h 12137"/>
              <a:gd name="connsiteX7" fmla="*/ 6215 w 12599"/>
              <a:gd name="connsiteY7" fmla="*/ 11446 h 12137"/>
              <a:gd name="connsiteX8" fmla="*/ 2971 w 12599"/>
              <a:gd name="connsiteY8" fmla="*/ 8693 h 12137"/>
              <a:gd name="connsiteX9" fmla="*/ 1638 w 12599"/>
              <a:gd name="connsiteY9" fmla="*/ 6762 h 12137"/>
              <a:gd name="connsiteX10" fmla="*/ 452 w 12599"/>
              <a:gd name="connsiteY10" fmla="*/ 4476 h 12137"/>
              <a:gd name="connsiteX11" fmla="*/ 102 w 12599"/>
              <a:gd name="connsiteY11" fmla="*/ 3349 h 12137"/>
              <a:gd name="connsiteX12" fmla="*/ 34 w 12599"/>
              <a:gd name="connsiteY12" fmla="*/ 1981 h 12137"/>
              <a:gd name="connsiteX13" fmla="*/ 757 w 12599"/>
              <a:gd name="connsiteY13" fmla="*/ 799 h 12137"/>
              <a:gd name="connsiteX14" fmla="*/ 2220 w 12599"/>
              <a:gd name="connsiteY14" fmla="*/ 176 h 12137"/>
              <a:gd name="connsiteX15" fmla="*/ 4408 w 12599"/>
              <a:gd name="connsiteY15" fmla="*/ 4 h 12137"/>
              <a:gd name="connsiteX16" fmla="*/ 6577 w 12599"/>
              <a:gd name="connsiteY16" fmla="*/ 116 h 12137"/>
              <a:gd name="connsiteX0" fmla="*/ 6577 w 12691"/>
              <a:gd name="connsiteY0" fmla="*/ 116 h 12137"/>
              <a:gd name="connsiteX1" fmla="*/ 9226 w 12691"/>
              <a:gd name="connsiteY1" fmla="*/ 448 h 12137"/>
              <a:gd name="connsiteX2" fmla="*/ 12216 w 12691"/>
              <a:gd name="connsiteY2" fmla="*/ 954 h 12137"/>
              <a:gd name="connsiteX3" fmla="*/ 12387 w 12691"/>
              <a:gd name="connsiteY3" fmla="*/ 4529 h 12137"/>
              <a:gd name="connsiteX4" fmla="*/ 12598 w 12691"/>
              <a:gd name="connsiteY4" fmla="*/ 6774 h 12137"/>
              <a:gd name="connsiteX5" fmla="*/ 12266 w 12691"/>
              <a:gd name="connsiteY5" fmla="*/ 11330 h 12137"/>
              <a:gd name="connsiteX6" fmla="*/ 9656 w 12691"/>
              <a:gd name="connsiteY6" fmla="*/ 12136 h 12137"/>
              <a:gd name="connsiteX7" fmla="*/ 6215 w 12691"/>
              <a:gd name="connsiteY7" fmla="*/ 11446 h 12137"/>
              <a:gd name="connsiteX8" fmla="*/ 2971 w 12691"/>
              <a:gd name="connsiteY8" fmla="*/ 8693 h 12137"/>
              <a:gd name="connsiteX9" fmla="*/ 1638 w 12691"/>
              <a:gd name="connsiteY9" fmla="*/ 6762 h 12137"/>
              <a:gd name="connsiteX10" fmla="*/ 452 w 12691"/>
              <a:gd name="connsiteY10" fmla="*/ 4476 h 12137"/>
              <a:gd name="connsiteX11" fmla="*/ 102 w 12691"/>
              <a:gd name="connsiteY11" fmla="*/ 3349 h 12137"/>
              <a:gd name="connsiteX12" fmla="*/ 34 w 12691"/>
              <a:gd name="connsiteY12" fmla="*/ 1981 h 12137"/>
              <a:gd name="connsiteX13" fmla="*/ 757 w 12691"/>
              <a:gd name="connsiteY13" fmla="*/ 799 h 12137"/>
              <a:gd name="connsiteX14" fmla="*/ 2220 w 12691"/>
              <a:gd name="connsiteY14" fmla="*/ 176 h 12137"/>
              <a:gd name="connsiteX15" fmla="*/ 4408 w 12691"/>
              <a:gd name="connsiteY15" fmla="*/ 4 h 12137"/>
              <a:gd name="connsiteX16" fmla="*/ 6577 w 12691"/>
              <a:gd name="connsiteY16" fmla="*/ 116 h 12137"/>
              <a:gd name="connsiteX0" fmla="*/ 6577 w 12598"/>
              <a:gd name="connsiteY0" fmla="*/ 116 h 12137"/>
              <a:gd name="connsiteX1" fmla="*/ 9226 w 12598"/>
              <a:gd name="connsiteY1" fmla="*/ 448 h 12137"/>
              <a:gd name="connsiteX2" fmla="*/ 12216 w 12598"/>
              <a:gd name="connsiteY2" fmla="*/ 954 h 12137"/>
              <a:gd name="connsiteX3" fmla="*/ 12387 w 12598"/>
              <a:gd name="connsiteY3" fmla="*/ 4529 h 12137"/>
              <a:gd name="connsiteX4" fmla="*/ 12598 w 12598"/>
              <a:gd name="connsiteY4" fmla="*/ 6774 h 12137"/>
              <a:gd name="connsiteX5" fmla="*/ 12266 w 12598"/>
              <a:gd name="connsiteY5" fmla="*/ 11330 h 12137"/>
              <a:gd name="connsiteX6" fmla="*/ 9656 w 12598"/>
              <a:gd name="connsiteY6" fmla="*/ 12136 h 12137"/>
              <a:gd name="connsiteX7" fmla="*/ 6215 w 12598"/>
              <a:gd name="connsiteY7" fmla="*/ 11446 h 12137"/>
              <a:gd name="connsiteX8" fmla="*/ 2971 w 12598"/>
              <a:gd name="connsiteY8" fmla="*/ 8693 h 12137"/>
              <a:gd name="connsiteX9" fmla="*/ 1638 w 12598"/>
              <a:gd name="connsiteY9" fmla="*/ 6762 h 12137"/>
              <a:gd name="connsiteX10" fmla="*/ 452 w 12598"/>
              <a:gd name="connsiteY10" fmla="*/ 4476 h 12137"/>
              <a:gd name="connsiteX11" fmla="*/ 102 w 12598"/>
              <a:gd name="connsiteY11" fmla="*/ 3349 h 12137"/>
              <a:gd name="connsiteX12" fmla="*/ 34 w 12598"/>
              <a:gd name="connsiteY12" fmla="*/ 1981 h 12137"/>
              <a:gd name="connsiteX13" fmla="*/ 757 w 12598"/>
              <a:gd name="connsiteY13" fmla="*/ 799 h 12137"/>
              <a:gd name="connsiteX14" fmla="*/ 2220 w 12598"/>
              <a:gd name="connsiteY14" fmla="*/ 176 h 12137"/>
              <a:gd name="connsiteX15" fmla="*/ 4408 w 12598"/>
              <a:gd name="connsiteY15" fmla="*/ 4 h 12137"/>
              <a:gd name="connsiteX16" fmla="*/ 6577 w 12598"/>
              <a:gd name="connsiteY16" fmla="*/ 116 h 12137"/>
              <a:gd name="connsiteX0" fmla="*/ 6577 w 12505"/>
              <a:gd name="connsiteY0" fmla="*/ 116 h 12137"/>
              <a:gd name="connsiteX1" fmla="*/ 9226 w 12505"/>
              <a:gd name="connsiteY1" fmla="*/ 448 h 12137"/>
              <a:gd name="connsiteX2" fmla="*/ 12216 w 12505"/>
              <a:gd name="connsiteY2" fmla="*/ 954 h 12137"/>
              <a:gd name="connsiteX3" fmla="*/ 12387 w 12505"/>
              <a:gd name="connsiteY3" fmla="*/ 4529 h 12137"/>
              <a:gd name="connsiteX4" fmla="*/ 12379 w 12505"/>
              <a:gd name="connsiteY4" fmla="*/ 6902 h 12137"/>
              <a:gd name="connsiteX5" fmla="*/ 12266 w 12505"/>
              <a:gd name="connsiteY5" fmla="*/ 11330 h 12137"/>
              <a:gd name="connsiteX6" fmla="*/ 9656 w 12505"/>
              <a:gd name="connsiteY6" fmla="*/ 12136 h 12137"/>
              <a:gd name="connsiteX7" fmla="*/ 6215 w 12505"/>
              <a:gd name="connsiteY7" fmla="*/ 11446 h 12137"/>
              <a:gd name="connsiteX8" fmla="*/ 2971 w 12505"/>
              <a:gd name="connsiteY8" fmla="*/ 8693 h 12137"/>
              <a:gd name="connsiteX9" fmla="*/ 1638 w 12505"/>
              <a:gd name="connsiteY9" fmla="*/ 6762 h 12137"/>
              <a:gd name="connsiteX10" fmla="*/ 452 w 12505"/>
              <a:gd name="connsiteY10" fmla="*/ 4476 h 12137"/>
              <a:gd name="connsiteX11" fmla="*/ 102 w 12505"/>
              <a:gd name="connsiteY11" fmla="*/ 3349 h 12137"/>
              <a:gd name="connsiteX12" fmla="*/ 34 w 12505"/>
              <a:gd name="connsiteY12" fmla="*/ 1981 h 12137"/>
              <a:gd name="connsiteX13" fmla="*/ 757 w 12505"/>
              <a:gd name="connsiteY13" fmla="*/ 799 h 12137"/>
              <a:gd name="connsiteX14" fmla="*/ 2220 w 12505"/>
              <a:gd name="connsiteY14" fmla="*/ 176 h 12137"/>
              <a:gd name="connsiteX15" fmla="*/ 4408 w 12505"/>
              <a:gd name="connsiteY15" fmla="*/ 4 h 12137"/>
              <a:gd name="connsiteX16" fmla="*/ 6577 w 12505"/>
              <a:gd name="connsiteY16" fmla="*/ 116 h 12137"/>
              <a:gd name="connsiteX0" fmla="*/ 6577 w 12541"/>
              <a:gd name="connsiteY0" fmla="*/ 116 h 12152"/>
              <a:gd name="connsiteX1" fmla="*/ 9226 w 12541"/>
              <a:gd name="connsiteY1" fmla="*/ 448 h 12152"/>
              <a:gd name="connsiteX2" fmla="*/ 12216 w 12541"/>
              <a:gd name="connsiteY2" fmla="*/ 954 h 12152"/>
              <a:gd name="connsiteX3" fmla="*/ 12387 w 12541"/>
              <a:gd name="connsiteY3" fmla="*/ 4529 h 12152"/>
              <a:gd name="connsiteX4" fmla="*/ 12379 w 12541"/>
              <a:gd name="connsiteY4" fmla="*/ 6902 h 12152"/>
              <a:gd name="connsiteX5" fmla="*/ 12328 w 12541"/>
              <a:gd name="connsiteY5" fmla="*/ 10971 h 12152"/>
              <a:gd name="connsiteX6" fmla="*/ 9656 w 12541"/>
              <a:gd name="connsiteY6" fmla="*/ 12136 h 12152"/>
              <a:gd name="connsiteX7" fmla="*/ 6215 w 12541"/>
              <a:gd name="connsiteY7" fmla="*/ 11446 h 12152"/>
              <a:gd name="connsiteX8" fmla="*/ 2971 w 12541"/>
              <a:gd name="connsiteY8" fmla="*/ 8693 h 12152"/>
              <a:gd name="connsiteX9" fmla="*/ 1638 w 12541"/>
              <a:gd name="connsiteY9" fmla="*/ 6762 h 12152"/>
              <a:gd name="connsiteX10" fmla="*/ 452 w 12541"/>
              <a:gd name="connsiteY10" fmla="*/ 4476 h 12152"/>
              <a:gd name="connsiteX11" fmla="*/ 102 w 12541"/>
              <a:gd name="connsiteY11" fmla="*/ 3349 h 12152"/>
              <a:gd name="connsiteX12" fmla="*/ 34 w 12541"/>
              <a:gd name="connsiteY12" fmla="*/ 1981 h 12152"/>
              <a:gd name="connsiteX13" fmla="*/ 757 w 12541"/>
              <a:gd name="connsiteY13" fmla="*/ 799 h 12152"/>
              <a:gd name="connsiteX14" fmla="*/ 2220 w 12541"/>
              <a:gd name="connsiteY14" fmla="*/ 176 h 12152"/>
              <a:gd name="connsiteX15" fmla="*/ 4408 w 12541"/>
              <a:gd name="connsiteY15" fmla="*/ 4 h 12152"/>
              <a:gd name="connsiteX16" fmla="*/ 6577 w 12541"/>
              <a:gd name="connsiteY16" fmla="*/ 116 h 12152"/>
              <a:gd name="connsiteX0" fmla="*/ 6577 w 12523"/>
              <a:gd name="connsiteY0" fmla="*/ 116 h 12140"/>
              <a:gd name="connsiteX1" fmla="*/ 9226 w 12523"/>
              <a:gd name="connsiteY1" fmla="*/ 448 h 12140"/>
              <a:gd name="connsiteX2" fmla="*/ 12216 w 12523"/>
              <a:gd name="connsiteY2" fmla="*/ 954 h 12140"/>
              <a:gd name="connsiteX3" fmla="*/ 12387 w 12523"/>
              <a:gd name="connsiteY3" fmla="*/ 4529 h 12140"/>
              <a:gd name="connsiteX4" fmla="*/ 12379 w 12523"/>
              <a:gd name="connsiteY4" fmla="*/ 6902 h 12140"/>
              <a:gd name="connsiteX5" fmla="*/ 12304 w 12523"/>
              <a:gd name="connsiteY5" fmla="*/ 11239 h 12140"/>
              <a:gd name="connsiteX6" fmla="*/ 9656 w 12523"/>
              <a:gd name="connsiteY6" fmla="*/ 12136 h 12140"/>
              <a:gd name="connsiteX7" fmla="*/ 6215 w 12523"/>
              <a:gd name="connsiteY7" fmla="*/ 11446 h 12140"/>
              <a:gd name="connsiteX8" fmla="*/ 2971 w 12523"/>
              <a:gd name="connsiteY8" fmla="*/ 8693 h 12140"/>
              <a:gd name="connsiteX9" fmla="*/ 1638 w 12523"/>
              <a:gd name="connsiteY9" fmla="*/ 6762 h 12140"/>
              <a:gd name="connsiteX10" fmla="*/ 452 w 12523"/>
              <a:gd name="connsiteY10" fmla="*/ 4476 h 12140"/>
              <a:gd name="connsiteX11" fmla="*/ 102 w 12523"/>
              <a:gd name="connsiteY11" fmla="*/ 3349 h 12140"/>
              <a:gd name="connsiteX12" fmla="*/ 34 w 12523"/>
              <a:gd name="connsiteY12" fmla="*/ 1981 h 12140"/>
              <a:gd name="connsiteX13" fmla="*/ 757 w 12523"/>
              <a:gd name="connsiteY13" fmla="*/ 799 h 12140"/>
              <a:gd name="connsiteX14" fmla="*/ 2220 w 12523"/>
              <a:gd name="connsiteY14" fmla="*/ 176 h 12140"/>
              <a:gd name="connsiteX15" fmla="*/ 4408 w 12523"/>
              <a:gd name="connsiteY15" fmla="*/ 4 h 12140"/>
              <a:gd name="connsiteX16" fmla="*/ 6577 w 12523"/>
              <a:gd name="connsiteY16" fmla="*/ 116 h 12140"/>
              <a:gd name="connsiteX0" fmla="*/ 6577 w 12453"/>
              <a:gd name="connsiteY0" fmla="*/ 116 h 12140"/>
              <a:gd name="connsiteX1" fmla="*/ 9226 w 12453"/>
              <a:gd name="connsiteY1" fmla="*/ 448 h 12140"/>
              <a:gd name="connsiteX2" fmla="*/ 12216 w 12453"/>
              <a:gd name="connsiteY2" fmla="*/ 954 h 12140"/>
              <a:gd name="connsiteX3" fmla="*/ 12387 w 12453"/>
              <a:gd name="connsiteY3" fmla="*/ 4529 h 12140"/>
              <a:gd name="connsiteX4" fmla="*/ 12379 w 12453"/>
              <a:gd name="connsiteY4" fmla="*/ 6902 h 12140"/>
              <a:gd name="connsiteX5" fmla="*/ 12304 w 12453"/>
              <a:gd name="connsiteY5" fmla="*/ 11239 h 12140"/>
              <a:gd name="connsiteX6" fmla="*/ 9656 w 12453"/>
              <a:gd name="connsiteY6" fmla="*/ 12136 h 12140"/>
              <a:gd name="connsiteX7" fmla="*/ 6215 w 12453"/>
              <a:gd name="connsiteY7" fmla="*/ 11446 h 12140"/>
              <a:gd name="connsiteX8" fmla="*/ 2971 w 12453"/>
              <a:gd name="connsiteY8" fmla="*/ 8693 h 12140"/>
              <a:gd name="connsiteX9" fmla="*/ 1638 w 12453"/>
              <a:gd name="connsiteY9" fmla="*/ 6762 h 12140"/>
              <a:gd name="connsiteX10" fmla="*/ 452 w 12453"/>
              <a:gd name="connsiteY10" fmla="*/ 4476 h 12140"/>
              <a:gd name="connsiteX11" fmla="*/ 102 w 12453"/>
              <a:gd name="connsiteY11" fmla="*/ 3349 h 12140"/>
              <a:gd name="connsiteX12" fmla="*/ 34 w 12453"/>
              <a:gd name="connsiteY12" fmla="*/ 1981 h 12140"/>
              <a:gd name="connsiteX13" fmla="*/ 757 w 12453"/>
              <a:gd name="connsiteY13" fmla="*/ 799 h 12140"/>
              <a:gd name="connsiteX14" fmla="*/ 2220 w 12453"/>
              <a:gd name="connsiteY14" fmla="*/ 176 h 12140"/>
              <a:gd name="connsiteX15" fmla="*/ 4408 w 12453"/>
              <a:gd name="connsiteY15" fmla="*/ 4 h 12140"/>
              <a:gd name="connsiteX16" fmla="*/ 6577 w 12453"/>
              <a:gd name="connsiteY16" fmla="*/ 116 h 12140"/>
              <a:gd name="connsiteX0" fmla="*/ 6577 w 12436"/>
              <a:gd name="connsiteY0" fmla="*/ 116 h 12137"/>
              <a:gd name="connsiteX1" fmla="*/ 9226 w 12436"/>
              <a:gd name="connsiteY1" fmla="*/ 448 h 12137"/>
              <a:gd name="connsiteX2" fmla="*/ 12216 w 12436"/>
              <a:gd name="connsiteY2" fmla="*/ 954 h 12137"/>
              <a:gd name="connsiteX3" fmla="*/ 12387 w 12436"/>
              <a:gd name="connsiteY3" fmla="*/ 4529 h 12137"/>
              <a:gd name="connsiteX4" fmla="*/ 12379 w 12436"/>
              <a:gd name="connsiteY4" fmla="*/ 6902 h 12137"/>
              <a:gd name="connsiteX5" fmla="*/ 12279 w 12436"/>
              <a:gd name="connsiteY5" fmla="*/ 11359 h 12137"/>
              <a:gd name="connsiteX6" fmla="*/ 9656 w 12436"/>
              <a:gd name="connsiteY6" fmla="*/ 12136 h 12137"/>
              <a:gd name="connsiteX7" fmla="*/ 6215 w 12436"/>
              <a:gd name="connsiteY7" fmla="*/ 11446 h 12137"/>
              <a:gd name="connsiteX8" fmla="*/ 2971 w 12436"/>
              <a:gd name="connsiteY8" fmla="*/ 8693 h 12137"/>
              <a:gd name="connsiteX9" fmla="*/ 1638 w 12436"/>
              <a:gd name="connsiteY9" fmla="*/ 6762 h 12137"/>
              <a:gd name="connsiteX10" fmla="*/ 452 w 12436"/>
              <a:gd name="connsiteY10" fmla="*/ 4476 h 12137"/>
              <a:gd name="connsiteX11" fmla="*/ 102 w 12436"/>
              <a:gd name="connsiteY11" fmla="*/ 3349 h 12137"/>
              <a:gd name="connsiteX12" fmla="*/ 34 w 12436"/>
              <a:gd name="connsiteY12" fmla="*/ 1981 h 12137"/>
              <a:gd name="connsiteX13" fmla="*/ 757 w 12436"/>
              <a:gd name="connsiteY13" fmla="*/ 799 h 12137"/>
              <a:gd name="connsiteX14" fmla="*/ 2220 w 12436"/>
              <a:gd name="connsiteY14" fmla="*/ 176 h 12137"/>
              <a:gd name="connsiteX15" fmla="*/ 4408 w 12436"/>
              <a:gd name="connsiteY15" fmla="*/ 4 h 12137"/>
              <a:gd name="connsiteX16" fmla="*/ 6577 w 12436"/>
              <a:gd name="connsiteY16" fmla="*/ 116 h 12137"/>
              <a:gd name="connsiteX0" fmla="*/ 6577 w 12401"/>
              <a:gd name="connsiteY0" fmla="*/ 116 h 12137"/>
              <a:gd name="connsiteX1" fmla="*/ 9226 w 12401"/>
              <a:gd name="connsiteY1" fmla="*/ 448 h 12137"/>
              <a:gd name="connsiteX2" fmla="*/ 12216 w 12401"/>
              <a:gd name="connsiteY2" fmla="*/ 954 h 12137"/>
              <a:gd name="connsiteX3" fmla="*/ 12387 w 12401"/>
              <a:gd name="connsiteY3" fmla="*/ 4529 h 12137"/>
              <a:gd name="connsiteX4" fmla="*/ 12379 w 12401"/>
              <a:gd name="connsiteY4" fmla="*/ 6902 h 12137"/>
              <a:gd name="connsiteX5" fmla="*/ 12279 w 12401"/>
              <a:gd name="connsiteY5" fmla="*/ 11359 h 12137"/>
              <a:gd name="connsiteX6" fmla="*/ 9656 w 12401"/>
              <a:gd name="connsiteY6" fmla="*/ 12136 h 12137"/>
              <a:gd name="connsiteX7" fmla="*/ 6215 w 12401"/>
              <a:gd name="connsiteY7" fmla="*/ 11446 h 12137"/>
              <a:gd name="connsiteX8" fmla="*/ 2971 w 12401"/>
              <a:gd name="connsiteY8" fmla="*/ 8693 h 12137"/>
              <a:gd name="connsiteX9" fmla="*/ 1638 w 12401"/>
              <a:gd name="connsiteY9" fmla="*/ 6762 h 12137"/>
              <a:gd name="connsiteX10" fmla="*/ 452 w 12401"/>
              <a:gd name="connsiteY10" fmla="*/ 4476 h 12137"/>
              <a:gd name="connsiteX11" fmla="*/ 102 w 12401"/>
              <a:gd name="connsiteY11" fmla="*/ 3349 h 12137"/>
              <a:gd name="connsiteX12" fmla="*/ 34 w 12401"/>
              <a:gd name="connsiteY12" fmla="*/ 1981 h 12137"/>
              <a:gd name="connsiteX13" fmla="*/ 757 w 12401"/>
              <a:gd name="connsiteY13" fmla="*/ 799 h 12137"/>
              <a:gd name="connsiteX14" fmla="*/ 2220 w 12401"/>
              <a:gd name="connsiteY14" fmla="*/ 176 h 12137"/>
              <a:gd name="connsiteX15" fmla="*/ 4408 w 12401"/>
              <a:gd name="connsiteY15" fmla="*/ 4 h 12137"/>
              <a:gd name="connsiteX16" fmla="*/ 6577 w 12401"/>
              <a:gd name="connsiteY16" fmla="*/ 116 h 12137"/>
              <a:gd name="connsiteX0" fmla="*/ 6577 w 12401"/>
              <a:gd name="connsiteY0" fmla="*/ 116 h 12137"/>
              <a:gd name="connsiteX1" fmla="*/ 9226 w 12401"/>
              <a:gd name="connsiteY1" fmla="*/ 448 h 12137"/>
              <a:gd name="connsiteX2" fmla="*/ 12216 w 12401"/>
              <a:gd name="connsiteY2" fmla="*/ 954 h 12137"/>
              <a:gd name="connsiteX3" fmla="*/ 12387 w 12401"/>
              <a:gd name="connsiteY3" fmla="*/ 4529 h 12137"/>
              <a:gd name="connsiteX4" fmla="*/ 12379 w 12401"/>
              <a:gd name="connsiteY4" fmla="*/ 6902 h 12137"/>
              <a:gd name="connsiteX5" fmla="*/ 12279 w 12401"/>
              <a:gd name="connsiteY5" fmla="*/ 11359 h 12137"/>
              <a:gd name="connsiteX6" fmla="*/ 9656 w 12401"/>
              <a:gd name="connsiteY6" fmla="*/ 12136 h 12137"/>
              <a:gd name="connsiteX7" fmla="*/ 6215 w 12401"/>
              <a:gd name="connsiteY7" fmla="*/ 11446 h 12137"/>
              <a:gd name="connsiteX8" fmla="*/ 2971 w 12401"/>
              <a:gd name="connsiteY8" fmla="*/ 8693 h 12137"/>
              <a:gd name="connsiteX9" fmla="*/ 1638 w 12401"/>
              <a:gd name="connsiteY9" fmla="*/ 6762 h 12137"/>
              <a:gd name="connsiteX10" fmla="*/ 452 w 12401"/>
              <a:gd name="connsiteY10" fmla="*/ 4476 h 12137"/>
              <a:gd name="connsiteX11" fmla="*/ 102 w 12401"/>
              <a:gd name="connsiteY11" fmla="*/ 3349 h 12137"/>
              <a:gd name="connsiteX12" fmla="*/ 34 w 12401"/>
              <a:gd name="connsiteY12" fmla="*/ 1981 h 12137"/>
              <a:gd name="connsiteX13" fmla="*/ 757 w 12401"/>
              <a:gd name="connsiteY13" fmla="*/ 799 h 12137"/>
              <a:gd name="connsiteX14" fmla="*/ 2220 w 12401"/>
              <a:gd name="connsiteY14" fmla="*/ 176 h 12137"/>
              <a:gd name="connsiteX15" fmla="*/ 4408 w 12401"/>
              <a:gd name="connsiteY15" fmla="*/ 4 h 12137"/>
              <a:gd name="connsiteX16" fmla="*/ 6577 w 12401"/>
              <a:gd name="connsiteY16" fmla="*/ 116 h 12137"/>
              <a:gd name="connsiteX0" fmla="*/ 6577 w 12441"/>
              <a:gd name="connsiteY0" fmla="*/ 116 h 12137"/>
              <a:gd name="connsiteX1" fmla="*/ 9226 w 12441"/>
              <a:gd name="connsiteY1" fmla="*/ 448 h 12137"/>
              <a:gd name="connsiteX2" fmla="*/ 12216 w 12441"/>
              <a:gd name="connsiteY2" fmla="*/ 954 h 12137"/>
              <a:gd name="connsiteX3" fmla="*/ 12247 w 12441"/>
              <a:gd name="connsiteY3" fmla="*/ 4832 h 12137"/>
              <a:gd name="connsiteX4" fmla="*/ 12379 w 12441"/>
              <a:gd name="connsiteY4" fmla="*/ 6902 h 12137"/>
              <a:gd name="connsiteX5" fmla="*/ 12279 w 12441"/>
              <a:gd name="connsiteY5" fmla="*/ 11359 h 12137"/>
              <a:gd name="connsiteX6" fmla="*/ 9656 w 12441"/>
              <a:gd name="connsiteY6" fmla="*/ 12136 h 12137"/>
              <a:gd name="connsiteX7" fmla="*/ 6215 w 12441"/>
              <a:gd name="connsiteY7" fmla="*/ 11446 h 12137"/>
              <a:gd name="connsiteX8" fmla="*/ 2971 w 12441"/>
              <a:gd name="connsiteY8" fmla="*/ 8693 h 12137"/>
              <a:gd name="connsiteX9" fmla="*/ 1638 w 12441"/>
              <a:gd name="connsiteY9" fmla="*/ 6762 h 12137"/>
              <a:gd name="connsiteX10" fmla="*/ 452 w 12441"/>
              <a:gd name="connsiteY10" fmla="*/ 4476 h 12137"/>
              <a:gd name="connsiteX11" fmla="*/ 102 w 12441"/>
              <a:gd name="connsiteY11" fmla="*/ 3349 h 12137"/>
              <a:gd name="connsiteX12" fmla="*/ 34 w 12441"/>
              <a:gd name="connsiteY12" fmla="*/ 1981 h 12137"/>
              <a:gd name="connsiteX13" fmla="*/ 757 w 12441"/>
              <a:gd name="connsiteY13" fmla="*/ 799 h 12137"/>
              <a:gd name="connsiteX14" fmla="*/ 2220 w 12441"/>
              <a:gd name="connsiteY14" fmla="*/ 176 h 12137"/>
              <a:gd name="connsiteX15" fmla="*/ 4408 w 12441"/>
              <a:gd name="connsiteY15" fmla="*/ 4 h 12137"/>
              <a:gd name="connsiteX16" fmla="*/ 6577 w 12441"/>
              <a:gd name="connsiteY16" fmla="*/ 116 h 12137"/>
              <a:gd name="connsiteX0" fmla="*/ 6577 w 12451"/>
              <a:gd name="connsiteY0" fmla="*/ 116 h 12137"/>
              <a:gd name="connsiteX1" fmla="*/ 9226 w 12451"/>
              <a:gd name="connsiteY1" fmla="*/ 448 h 12137"/>
              <a:gd name="connsiteX2" fmla="*/ 12216 w 12451"/>
              <a:gd name="connsiteY2" fmla="*/ 954 h 12137"/>
              <a:gd name="connsiteX3" fmla="*/ 12247 w 12451"/>
              <a:gd name="connsiteY3" fmla="*/ 4832 h 12137"/>
              <a:gd name="connsiteX4" fmla="*/ 12379 w 12451"/>
              <a:gd name="connsiteY4" fmla="*/ 6902 h 12137"/>
              <a:gd name="connsiteX5" fmla="*/ 12279 w 12451"/>
              <a:gd name="connsiteY5" fmla="*/ 11359 h 12137"/>
              <a:gd name="connsiteX6" fmla="*/ 9656 w 12451"/>
              <a:gd name="connsiteY6" fmla="*/ 12136 h 12137"/>
              <a:gd name="connsiteX7" fmla="*/ 6215 w 12451"/>
              <a:gd name="connsiteY7" fmla="*/ 11446 h 12137"/>
              <a:gd name="connsiteX8" fmla="*/ 2971 w 12451"/>
              <a:gd name="connsiteY8" fmla="*/ 8693 h 12137"/>
              <a:gd name="connsiteX9" fmla="*/ 1638 w 12451"/>
              <a:gd name="connsiteY9" fmla="*/ 6762 h 12137"/>
              <a:gd name="connsiteX10" fmla="*/ 452 w 12451"/>
              <a:gd name="connsiteY10" fmla="*/ 4476 h 12137"/>
              <a:gd name="connsiteX11" fmla="*/ 102 w 12451"/>
              <a:gd name="connsiteY11" fmla="*/ 3349 h 12137"/>
              <a:gd name="connsiteX12" fmla="*/ 34 w 12451"/>
              <a:gd name="connsiteY12" fmla="*/ 1981 h 12137"/>
              <a:gd name="connsiteX13" fmla="*/ 757 w 12451"/>
              <a:gd name="connsiteY13" fmla="*/ 799 h 12137"/>
              <a:gd name="connsiteX14" fmla="*/ 2220 w 12451"/>
              <a:gd name="connsiteY14" fmla="*/ 176 h 12137"/>
              <a:gd name="connsiteX15" fmla="*/ 4408 w 12451"/>
              <a:gd name="connsiteY15" fmla="*/ 4 h 12137"/>
              <a:gd name="connsiteX16" fmla="*/ 6577 w 12451"/>
              <a:gd name="connsiteY16" fmla="*/ 116 h 12137"/>
              <a:gd name="connsiteX0" fmla="*/ 6577 w 12489"/>
              <a:gd name="connsiteY0" fmla="*/ 116 h 12137"/>
              <a:gd name="connsiteX1" fmla="*/ 9226 w 12489"/>
              <a:gd name="connsiteY1" fmla="*/ 448 h 12137"/>
              <a:gd name="connsiteX2" fmla="*/ 12216 w 12489"/>
              <a:gd name="connsiteY2" fmla="*/ 954 h 12137"/>
              <a:gd name="connsiteX3" fmla="*/ 12247 w 12489"/>
              <a:gd name="connsiteY3" fmla="*/ 4832 h 12137"/>
              <a:gd name="connsiteX4" fmla="*/ 12322 w 12489"/>
              <a:gd name="connsiteY4" fmla="*/ 7944 h 12137"/>
              <a:gd name="connsiteX5" fmla="*/ 12279 w 12489"/>
              <a:gd name="connsiteY5" fmla="*/ 11359 h 12137"/>
              <a:gd name="connsiteX6" fmla="*/ 9656 w 12489"/>
              <a:gd name="connsiteY6" fmla="*/ 12136 h 12137"/>
              <a:gd name="connsiteX7" fmla="*/ 6215 w 12489"/>
              <a:gd name="connsiteY7" fmla="*/ 11446 h 12137"/>
              <a:gd name="connsiteX8" fmla="*/ 2971 w 12489"/>
              <a:gd name="connsiteY8" fmla="*/ 8693 h 12137"/>
              <a:gd name="connsiteX9" fmla="*/ 1638 w 12489"/>
              <a:gd name="connsiteY9" fmla="*/ 6762 h 12137"/>
              <a:gd name="connsiteX10" fmla="*/ 452 w 12489"/>
              <a:gd name="connsiteY10" fmla="*/ 4476 h 12137"/>
              <a:gd name="connsiteX11" fmla="*/ 102 w 12489"/>
              <a:gd name="connsiteY11" fmla="*/ 3349 h 12137"/>
              <a:gd name="connsiteX12" fmla="*/ 34 w 12489"/>
              <a:gd name="connsiteY12" fmla="*/ 1981 h 12137"/>
              <a:gd name="connsiteX13" fmla="*/ 757 w 12489"/>
              <a:gd name="connsiteY13" fmla="*/ 799 h 12137"/>
              <a:gd name="connsiteX14" fmla="*/ 2220 w 12489"/>
              <a:gd name="connsiteY14" fmla="*/ 176 h 12137"/>
              <a:gd name="connsiteX15" fmla="*/ 4408 w 12489"/>
              <a:gd name="connsiteY15" fmla="*/ 4 h 12137"/>
              <a:gd name="connsiteX16" fmla="*/ 6577 w 12489"/>
              <a:gd name="connsiteY16" fmla="*/ 116 h 12137"/>
              <a:gd name="connsiteX0" fmla="*/ 6577 w 12490"/>
              <a:gd name="connsiteY0" fmla="*/ 116 h 12137"/>
              <a:gd name="connsiteX1" fmla="*/ 9226 w 12490"/>
              <a:gd name="connsiteY1" fmla="*/ 448 h 12137"/>
              <a:gd name="connsiteX2" fmla="*/ 12216 w 12490"/>
              <a:gd name="connsiteY2" fmla="*/ 954 h 12137"/>
              <a:gd name="connsiteX3" fmla="*/ 12247 w 12490"/>
              <a:gd name="connsiteY3" fmla="*/ 4832 h 12137"/>
              <a:gd name="connsiteX4" fmla="*/ 12322 w 12490"/>
              <a:gd name="connsiteY4" fmla="*/ 7944 h 12137"/>
              <a:gd name="connsiteX5" fmla="*/ 12279 w 12490"/>
              <a:gd name="connsiteY5" fmla="*/ 11359 h 12137"/>
              <a:gd name="connsiteX6" fmla="*/ 9656 w 12490"/>
              <a:gd name="connsiteY6" fmla="*/ 12136 h 12137"/>
              <a:gd name="connsiteX7" fmla="*/ 6215 w 12490"/>
              <a:gd name="connsiteY7" fmla="*/ 11446 h 12137"/>
              <a:gd name="connsiteX8" fmla="*/ 2971 w 12490"/>
              <a:gd name="connsiteY8" fmla="*/ 8693 h 12137"/>
              <a:gd name="connsiteX9" fmla="*/ 1638 w 12490"/>
              <a:gd name="connsiteY9" fmla="*/ 6762 h 12137"/>
              <a:gd name="connsiteX10" fmla="*/ 452 w 12490"/>
              <a:gd name="connsiteY10" fmla="*/ 4476 h 12137"/>
              <a:gd name="connsiteX11" fmla="*/ 102 w 12490"/>
              <a:gd name="connsiteY11" fmla="*/ 3349 h 12137"/>
              <a:gd name="connsiteX12" fmla="*/ 34 w 12490"/>
              <a:gd name="connsiteY12" fmla="*/ 1981 h 12137"/>
              <a:gd name="connsiteX13" fmla="*/ 757 w 12490"/>
              <a:gd name="connsiteY13" fmla="*/ 799 h 12137"/>
              <a:gd name="connsiteX14" fmla="*/ 2220 w 12490"/>
              <a:gd name="connsiteY14" fmla="*/ 176 h 12137"/>
              <a:gd name="connsiteX15" fmla="*/ 4408 w 12490"/>
              <a:gd name="connsiteY15" fmla="*/ 4 h 12137"/>
              <a:gd name="connsiteX16" fmla="*/ 6577 w 12490"/>
              <a:gd name="connsiteY16" fmla="*/ 116 h 12137"/>
              <a:gd name="connsiteX0" fmla="*/ 6577 w 12488"/>
              <a:gd name="connsiteY0" fmla="*/ 116 h 12137"/>
              <a:gd name="connsiteX1" fmla="*/ 9226 w 12488"/>
              <a:gd name="connsiteY1" fmla="*/ 448 h 12137"/>
              <a:gd name="connsiteX2" fmla="*/ 12216 w 12488"/>
              <a:gd name="connsiteY2" fmla="*/ 954 h 12137"/>
              <a:gd name="connsiteX3" fmla="*/ 12247 w 12488"/>
              <a:gd name="connsiteY3" fmla="*/ 4832 h 12137"/>
              <a:gd name="connsiteX4" fmla="*/ 12322 w 12488"/>
              <a:gd name="connsiteY4" fmla="*/ 7944 h 12137"/>
              <a:gd name="connsiteX5" fmla="*/ 12279 w 12488"/>
              <a:gd name="connsiteY5" fmla="*/ 11359 h 12137"/>
              <a:gd name="connsiteX6" fmla="*/ 9656 w 12488"/>
              <a:gd name="connsiteY6" fmla="*/ 12136 h 12137"/>
              <a:gd name="connsiteX7" fmla="*/ 6215 w 12488"/>
              <a:gd name="connsiteY7" fmla="*/ 11446 h 12137"/>
              <a:gd name="connsiteX8" fmla="*/ 2971 w 12488"/>
              <a:gd name="connsiteY8" fmla="*/ 8693 h 12137"/>
              <a:gd name="connsiteX9" fmla="*/ 1638 w 12488"/>
              <a:gd name="connsiteY9" fmla="*/ 6762 h 12137"/>
              <a:gd name="connsiteX10" fmla="*/ 452 w 12488"/>
              <a:gd name="connsiteY10" fmla="*/ 4476 h 12137"/>
              <a:gd name="connsiteX11" fmla="*/ 102 w 12488"/>
              <a:gd name="connsiteY11" fmla="*/ 3349 h 12137"/>
              <a:gd name="connsiteX12" fmla="*/ 34 w 12488"/>
              <a:gd name="connsiteY12" fmla="*/ 1981 h 12137"/>
              <a:gd name="connsiteX13" fmla="*/ 757 w 12488"/>
              <a:gd name="connsiteY13" fmla="*/ 799 h 12137"/>
              <a:gd name="connsiteX14" fmla="*/ 2220 w 12488"/>
              <a:gd name="connsiteY14" fmla="*/ 176 h 12137"/>
              <a:gd name="connsiteX15" fmla="*/ 4408 w 12488"/>
              <a:gd name="connsiteY15" fmla="*/ 4 h 12137"/>
              <a:gd name="connsiteX16" fmla="*/ 6577 w 12488"/>
              <a:gd name="connsiteY16" fmla="*/ 116 h 12137"/>
              <a:gd name="connsiteX0" fmla="*/ 6577 w 12443"/>
              <a:gd name="connsiteY0" fmla="*/ 116 h 12137"/>
              <a:gd name="connsiteX1" fmla="*/ 9226 w 12443"/>
              <a:gd name="connsiteY1" fmla="*/ 448 h 12137"/>
              <a:gd name="connsiteX2" fmla="*/ 12216 w 12443"/>
              <a:gd name="connsiteY2" fmla="*/ 954 h 12137"/>
              <a:gd name="connsiteX3" fmla="*/ 12247 w 12443"/>
              <a:gd name="connsiteY3" fmla="*/ 4832 h 12137"/>
              <a:gd name="connsiteX4" fmla="*/ 12322 w 12443"/>
              <a:gd name="connsiteY4" fmla="*/ 7944 h 12137"/>
              <a:gd name="connsiteX5" fmla="*/ 12279 w 12443"/>
              <a:gd name="connsiteY5" fmla="*/ 11359 h 12137"/>
              <a:gd name="connsiteX6" fmla="*/ 9656 w 12443"/>
              <a:gd name="connsiteY6" fmla="*/ 12136 h 12137"/>
              <a:gd name="connsiteX7" fmla="*/ 6215 w 12443"/>
              <a:gd name="connsiteY7" fmla="*/ 11446 h 12137"/>
              <a:gd name="connsiteX8" fmla="*/ 2971 w 12443"/>
              <a:gd name="connsiteY8" fmla="*/ 8693 h 12137"/>
              <a:gd name="connsiteX9" fmla="*/ 1638 w 12443"/>
              <a:gd name="connsiteY9" fmla="*/ 6762 h 12137"/>
              <a:gd name="connsiteX10" fmla="*/ 452 w 12443"/>
              <a:gd name="connsiteY10" fmla="*/ 4476 h 12137"/>
              <a:gd name="connsiteX11" fmla="*/ 102 w 12443"/>
              <a:gd name="connsiteY11" fmla="*/ 3349 h 12137"/>
              <a:gd name="connsiteX12" fmla="*/ 34 w 12443"/>
              <a:gd name="connsiteY12" fmla="*/ 1981 h 12137"/>
              <a:gd name="connsiteX13" fmla="*/ 757 w 12443"/>
              <a:gd name="connsiteY13" fmla="*/ 799 h 12137"/>
              <a:gd name="connsiteX14" fmla="*/ 2220 w 12443"/>
              <a:gd name="connsiteY14" fmla="*/ 176 h 12137"/>
              <a:gd name="connsiteX15" fmla="*/ 4408 w 12443"/>
              <a:gd name="connsiteY15" fmla="*/ 4 h 12137"/>
              <a:gd name="connsiteX16" fmla="*/ 6577 w 12443"/>
              <a:gd name="connsiteY16" fmla="*/ 116 h 12137"/>
              <a:gd name="connsiteX0" fmla="*/ 6577 w 12496"/>
              <a:gd name="connsiteY0" fmla="*/ 116 h 12137"/>
              <a:gd name="connsiteX1" fmla="*/ 9226 w 12496"/>
              <a:gd name="connsiteY1" fmla="*/ 448 h 12137"/>
              <a:gd name="connsiteX2" fmla="*/ 12283 w 12496"/>
              <a:gd name="connsiteY2" fmla="*/ 1248 h 12137"/>
              <a:gd name="connsiteX3" fmla="*/ 12247 w 12496"/>
              <a:gd name="connsiteY3" fmla="*/ 4832 h 12137"/>
              <a:gd name="connsiteX4" fmla="*/ 12322 w 12496"/>
              <a:gd name="connsiteY4" fmla="*/ 7944 h 12137"/>
              <a:gd name="connsiteX5" fmla="*/ 12279 w 12496"/>
              <a:gd name="connsiteY5" fmla="*/ 11359 h 12137"/>
              <a:gd name="connsiteX6" fmla="*/ 9656 w 12496"/>
              <a:gd name="connsiteY6" fmla="*/ 12136 h 12137"/>
              <a:gd name="connsiteX7" fmla="*/ 6215 w 12496"/>
              <a:gd name="connsiteY7" fmla="*/ 11446 h 12137"/>
              <a:gd name="connsiteX8" fmla="*/ 2971 w 12496"/>
              <a:gd name="connsiteY8" fmla="*/ 8693 h 12137"/>
              <a:gd name="connsiteX9" fmla="*/ 1638 w 12496"/>
              <a:gd name="connsiteY9" fmla="*/ 6762 h 12137"/>
              <a:gd name="connsiteX10" fmla="*/ 452 w 12496"/>
              <a:gd name="connsiteY10" fmla="*/ 4476 h 12137"/>
              <a:gd name="connsiteX11" fmla="*/ 102 w 12496"/>
              <a:gd name="connsiteY11" fmla="*/ 3349 h 12137"/>
              <a:gd name="connsiteX12" fmla="*/ 34 w 12496"/>
              <a:gd name="connsiteY12" fmla="*/ 1981 h 12137"/>
              <a:gd name="connsiteX13" fmla="*/ 757 w 12496"/>
              <a:gd name="connsiteY13" fmla="*/ 799 h 12137"/>
              <a:gd name="connsiteX14" fmla="*/ 2220 w 12496"/>
              <a:gd name="connsiteY14" fmla="*/ 176 h 12137"/>
              <a:gd name="connsiteX15" fmla="*/ 4408 w 12496"/>
              <a:gd name="connsiteY15" fmla="*/ 4 h 12137"/>
              <a:gd name="connsiteX16" fmla="*/ 6577 w 12496"/>
              <a:gd name="connsiteY16" fmla="*/ 116 h 12137"/>
              <a:gd name="connsiteX0" fmla="*/ 6577 w 12380"/>
              <a:gd name="connsiteY0" fmla="*/ 116 h 12137"/>
              <a:gd name="connsiteX1" fmla="*/ 9226 w 12380"/>
              <a:gd name="connsiteY1" fmla="*/ 448 h 12137"/>
              <a:gd name="connsiteX2" fmla="*/ 12283 w 12380"/>
              <a:gd name="connsiteY2" fmla="*/ 1248 h 12137"/>
              <a:gd name="connsiteX3" fmla="*/ 12247 w 12380"/>
              <a:gd name="connsiteY3" fmla="*/ 4832 h 12137"/>
              <a:gd name="connsiteX4" fmla="*/ 12322 w 12380"/>
              <a:gd name="connsiteY4" fmla="*/ 7944 h 12137"/>
              <a:gd name="connsiteX5" fmla="*/ 12279 w 12380"/>
              <a:gd name="connsiteY5" fmla="*/ 11359 h 12137"/>
              <a:gd name="connsiteX6" fmla="*/ 9656 w 12380"/>
              <a:gd name="connsiteY6" fmla="*/ 12136 h 12137"/>
              <a:gd name="connsiteX7" fmla="*/ 6215 w 12380"/>
              <a:gd name="connsiteY7" fmla="*/ 11446 h 12137"/>
              <a:gd name="connsiteX8" fmla="*/ 2971 w 12380"/>
              <a:gd name="connsiteY8" fmla="*/ 8693 h 12137"/>
              <a:gd name="connsiteX9" fmla="*/ 1638 w 12380"/>
              <a:gd name="connsiteY9" fmla="*/ 6762 h 12137"/>
              <a:gd name="connsiteX10" fmla="*/ 452 w 12380"/>
              <a:gd name="connsiteY10" fmla="*/ 4476 h 12137"/>
              <a:gd name="connsiteX11" fmla="*/ 102 w 12380"/>
              <a:gd name="connsiteY11" fmla="*/ 3349 h 12137"/>
              <a:gd name="connsiteX12" fmla="*/ 34 w 12380"/>
              <a:gd name="connsiteY12" fmla="*/ 1981 h 12137"/>
              <a:gd name="connsiteX13" fmla="*/ 757 w 12380"/>
              <a:gd name="connsiteY13" fmla="*/ 799 h 12137"/>
              <a:gd name="connsiteX14" fmla="*/ 2220 w 12380"/>
              <a:gd name="connsiteY14" fmla="*/ 176 h 12137"/>
              <a:gd name="connsiteX15" fmla="*/ 4408 w 12380"/>
              <a:gd name="connsiteY15" fmla="*/ 4 h 12137"/>
              <a:gd name="connsiteX16" fmla="*/ 6577 w 12380"/>
              <a:gd name="connsiteY16" fmla="*/ 116 h 12137"/>
              <a:gd name="connsiteX0" fmla="*/ 6577 w 12322"/>
              <a:gd name="connsiteY0" fmla="*/ 116 h 12137"/>
              <a:gd name="connsiteX1" fmla="*/ 9226 w 12322"/>
              <a:gd name="connsiteY1" fmla="*/ 448 h 12137"/>
              <a:gd name="connsiteX2" fmla="*/ 12283 w 12322"/>
              <a:gd name="connsiteY2" fmla="*/ 1248 h 12137"/>
              <a:gd name="connsiteX3" fmla="*/ 12247 w 12322"/>
              <a:gd name="connsiteY3" fmla="*/ 4832 h 12137"/>
              <a:gd name="connsiteX4" fmla="*/ 12322 w 12322"/>
              <a:gd name="connsiteY4" fmla="*/ 7944 h 12137"/>
              <a:gd name="connsiteX5" fmla="*/ 12279 w 12322"/>
              <a:gd name="connsiteY5" fmla="*/ 11359 h 12137"/>
              <a:gd name="connsiteX6" fmla="*/ 9656 w 12322"/>
              <a:gd name="connsiteY6" fmla="*/ 12136 h 12137"/>
              <a:gd name="connsiteX7" fmla="*/ 6215 w 12322"/>
              <a:gd name="connsiteY7" fmla="*/ 11446 h 12137"/>
              <a:gd name="connsiteX8" fmla="*/ 2971 w 12322"/>
              <a:gd name="connsiteY8" fmla="*/ 8693 h 12137"/>
              <a:gd name="connsiteX9" fmla="*/ 1638 w 12322"/>
              <a:gd name="connsiteY9" fmla="*/ 6762 h 12137"/>
              <a:gd name="connsiteX10" fmla="*/ 452 w 12322"/>
              <a:gd name="connsiteY10" fmla="*/ 4476 h 12137"/>
              <a:gd name="connsiteX11" fmla="*/ 102 w 12322"/>
              <a:gd name="connsiteY11" fmla="*/ 3349 h 12137"/>
              <a:gd name="connsiteX12" fmla="*/ 34 w 12322"/>
              <a:gd name="connsiteY12" fmla="*/ 1981 h 12137"/>
              <a:gd name="connsiteX13" fmla="*/ 757 w 12322"/>
              <a:gd name="connsiteY13" fmla="*/ 799 h 12137"/>
              <a:gd name="connsiteX14" fmla="*/ 2220 w 12322"/>
              <a:gd name="connsiteY14" fmla="*/ 176 h 12137"/>
              <a:gd name="connsiteX15" fmla="*/ 4408 w 12322"/>
              <a:gd name="connsiteY15" fmla="*/ 4 h 12137"/>
              <a:gd name="connsiteX16" fmla="*/ 6577 w 12322"/>
              <a:gd name="connsiteY16" fmla="*/ 116 h 12137"/>
              <a:gd name="connsiteX0" fmla="*/ 6577 w 12322"/>
              <a:gd name="connsiteY0" fmla="*/ 116 h 12137"/>
              <a:gd name="connsiteX1" fmla="*/ 9226 w 12322"/>
              <a:gd name="connsiteY1" fmla="*/ 448 h 12137"/>
              <a:gd name="connsiteX2" fmla="*/ 12202 w 12322"/>
              <a:gd name="connsiteY2" fmla="*/ 806 h 12137"/>
              <a:gd name="connsiteX3" fmla="*/ 12247 w 12322"/>
              <a:gd name="connsiteY3" fmla="*/ 4832 h 12137"/>
              <a:gd name="connsiteX4" fmla="*/ 12322 w 12322"/>
              <a:gd name="connsiteY4" fmla="*/ 7944 h 12137"/>
              <a:gd name="connsiteX5" fmla="*/ 12279 w 12322"/>
              <a:gd name="connsiteY5" fmla="*/ 11359 h 12137"/>
              <a:gd name="connsiteX6" fmla="*/ 9656 w 12322"/>
              <a:gd name="connsiteY6" fmla="*/ 12136 h 12137"/>
              <a:gd name="connsiteX7" fmla="*/ 6215 w 12322"/>
              <a:gd name="connsiteY7" fmla="*/ 11446 h 12137"/>
              <a:gd name="connsiteX8" fmla="*/ 2971 w 12322"/>
              <a:gd name="connsiteY8" fmla="*/ 8693 h 12137"/>
              <a:gd name="connsiteX9" fmla="*/ 1638 w 12322"/>
              <a:gd name="connsiteY9" fmla="*/ 6762 h 12137"/>
              <a:gd name="connsiteX10" fmla="*/ 452 w 12322"/>
              <a:gd name="connsiteY10" fmla="*/ 4476 h 12137"/>
              <a:gd name="connsiteX11" fmla="*/ 102 w 12322"/>
              <a:gd name="connsiteY11" fmla="*/ 3349 h 12137"/>
              <a:gd name="connsiteX12" fmla="*/ 34 w 12322"/>
              <a:gd name="connsiteY12" fmla="*/ 1981 h 12137"/>
              <a:gd name="connsiteX13" fmla="*/ 757 w 12322"/>
              <a:gd name="connsiteY13" fmla="*/ 799 h 12137"/>
              <a:gd name="connsiteX14" fmla="*/ 2220 w 12322"/>
              <a:gd name="connsiteY14" fmla="*/ 176 h 12137"/>
              <a:gd name="connsiteX15" fmla="*/ 4408 w 12322"/>
              <a:gd name="connsiteY15" fmla="*/ 4 h 12137"/>
              <a:gd name="connsiteX16" fmla="*/ 6577 w 12322"/>
              <a:gd name="connsiteY16" fmla="*/ 116 h 12137"/>
              <a:gd name="connsiteX0" fmla="*/ 6577 w 12322"/>
              <a:gd name="connsiteY0" fmla="*/ 116 h 12137"/>
              <a:gd name="connsiteX1" fmla="*/ 9226 w 12322"/>
              <a:gd name="connsiteY1" fmla="*/ 448 h 12137"/>
              <a:gd name="connsiteX2" fmla="*/ 12203 w 12322"/>
              <a:gd name="connsiteY2" fmla="*/ 895 h 12137"/>
              <a:gd name="connsiteX3" fmla="*/ 12247 w 12322"/>
              <a:gd name="connsiteY3" fmla="*/ 4832 h 12137"/>
              <a:gd name="connsiteX4" fmla="*/ 12322 w 12322"/>
              <a:gd name="connsiteY4" fmla="*/ 7944 h 12137"/>
              <a:gd name="connsiteX5" fmla="*/ 12279 w 12322"/>
              <a:gd name="connsiteY5" fmla="*/ 11359 h 12137"/>
              <a:gd name="connsiteX6" fmla="*/ 9656 w 12322"/>
              <a:gd name="connsiteY6" fmla="*/ 12136 h 12137"/>
              <a:gd name="connsiteX7" fmla="*/ 6215 w 12322"/>
              <a:gd name="connsiteY7" fmla="*/ 11446 h 12137"/>
              <a:gd name="connsiteX8" fmla="*/ 2971 w 12322"/>
              <a:gd name="connsiteY8" fmla="*/ 8693 h 12137"/>
              <a:gd name="connsiteX9" fmla="*/ 1638 w 12322"/>
              <a:gd name="connsiteY9" fmla="*/ 6762 h 12137"/>
              <a:gd name="connsiteX10" fmla="*/ 452 w 12322"/>
              <a:gd name="connsiteY10" fmla="*/ 4476 h 12137"/>
              <a:gd name="connsiteX11" fmla="*/ 102 w 12322"/>
              <a:gd name="connsiteY11" fmla="*/ 3349 h 12137"/>
              <a:gd name="connsiteX12" fmla="*/ 34 w 12322"/>
              <a:gd name="connsiteY12" fmla="*/ 1981 h 12137"/>
              <a:gd name="connsiteX13" fmla="*/ 757 w 12322"/>
              <a:gd name="connsiteY13" fmla="*/ 799 h 12137"/>
              <a:gd name="connsiteX14" fmla="*/ 2220 w 12322"/>
              <a:gd name="connsiteY14" fmla="*/ 176 h 12137"/>
              <a:gd name="connsiteX15" fmla="*/ 4408 w 12322"/>
              <a:gd name="connsiteY15" fmla="*/ 4 h 12137"/>
              <a:gd name="connsiteX16" fmla="*/ 6577 w 12322"/>
              <a:gd name="connsiteY16" fmla="*/ 116 h 12137"/>
              <a:gd name="connsiteX0" fmla="*/ 6577 w 12322"/>
              <a:gd name="connsiteY0" fmla="*/ 116 h 12137"/>
              <a:gd name="connsiteX1" fmla="*/ 9226 w 12322"/>
              <a:gd name="connsiteY1" fmla="*/ 448 h 12137"/>
              <a:gd name="connsiteX2" fmla="*/ 12202 w 12322"/>
              <a:gd name="connsiteY2" fmla="*/ 806 h 12137"/>
              <a:gd name="connsiteX3" fmla="*/ 12247 w 12322"/>
              <a:gd name="connsiteY3" fmla="*/ 4832 h 12137"/>
              <a:gd name="connsiteX4" fmla="*/ 12322 w 12322"/>
              <a:gd name="connsiteY4" fmla="*/ 7944 h 12137"/>
              <a:gd name="connsiteX5" fmla="*/ 12279 w 12322"/>
              <a:gd name="connsiteY5" fmla="*/ 11359 h 12137"/>
              <a:gd name="connsiteX6" fmla="*/ 9656 w 12322"/>
              <a:gd name="connsiteY6" fmla="*/ 12136 h 12137"/>
              <a:gd name="connsiteX7" fmla="*/ 6215 w 12322"/>
              <a:gd name="connsiteY7" fmla="*/ 11446 h 12137"/>
              <a:gd name="connsiteX8" fmla="*/ 2971 w 12322"/>
              <a:gd name="connsiteY8" fmla="*/ 8693 h 12137"/>
              <a:gd name="connsiteX9" fmla="*/ 1638 w 12322"/>
              <a:gd name="connsiteY9" fmla="*/ 6762 h 12137"/>
              <a:gd name="connsiteX10" fmla="*/ 452 w 12322"/>
              <a:gd name="connsiteY10" fmla="*/ 4476 h 12137"/>
              <a:gd name="connsiteX11" fmla="*/ 102 w 12322"/>
              <a:gd name="connsiteY11" fmla="*/ 3349 h 12137"/>
              <a:gd name="connsiteX12" fmla="*/ 34 w 12322"/>
              <a:gd name="connsiteY12" fmla="*/ 1981 h 12137"/>
              <a:gd name="connsiteX13" fmla="*/ 757 w 12322"/>
              <a:gd name="connsiteY13" fmla="*/ 799 h 12137"/>
              <a:gd name="connsiteX14" fmla="*/ 2220 w 12322"/>
              <a:gd name="connsiteY14" fmla="*/ 176 h 12137"/>
              <a:gd name="connsiteX15" fmla="*/ 4408 w 12322"/>
              <a:gd name="connsiteY15" fmla="*/ 4 h 12137"/>
              <a:gd name="connsiteX16" fmla="*/ 6577 w 12322"/>
              <a:gd name="connsiteY16" fmla="*/ 116 h 12137"/>
              <a:gd name="connsiteX0" fmla="*/ 6577 w 12481"/>
              <a:gd name="connsiteY0" fmla="*/ 116 h 12137"/>
              <a:gd name="connsiteX1" fmla="*/ 9226 w 12481"/>
              <a:gd name="connsiteY1" fmla="*/ 448 h 12137"/>
              <a:gd name="connsiteX2" fmla="*/ 12202 w 12481"/>
              <a:gd name="connsiteY2" fmla="*/ 806 h 12137"/>
              <a:gd name="connsiteX3" fmla="*/ 12247 w 12481"/>
              <a:gd name="connsiteY3" fmla="*/ 4832 h 12137"/>
              <a:gd name="connsiteX4" fmla="*/ 12300 w 12481"/>
              <a:gd name="connsiteY4" fmla="*/ 8390 h 12137"/>
              <a:gd name="connsiteX5" fmla="*/ 12279 w 12481"/>
              <a:gd name="connsiteY5" fmla="*/ 11359 h 12137"/>
              <a:gd name="connsiteX6" fmla="*/ 9656 w 12481"/>
              <a:gd name="connsiteY6" fmla="*/ 12136 h 12137"/>
              <a:gd name="connsiteX7" fmla="*/ 6215 w 12481"/>
              <a:gd name="connsiteY7" fmla="*/ 11446 h 12137"/>
              <a:gd name="connsiteX8" fmla="*/ 2971 w 12481"/>
              <a:gd name="connsiteY8" fmla="*/ 8693 h 12137"/>
              <a:gd name="connsiteX9" fmla="*/ 1638 w 12481"/>
              <a:gd name="connsiteY9" fmla="*/ 6762 h 12137"/>
              <a:gd name="connsiteX10" fmla="*/ 452 w 12481"/>
              <a:gd name="connsiteY10" fmla="*/ 4476 h 12137"/>
              <a:gd name="connsiteX11" fmla="*/ 102 w 12481"/>
              <a:gd name="connsiteY11" fmla="*/ 3349 h 12137"/>
              <a:gd name="connsiteX12" fmla="*/ 34 w 12481"/>
              <a:gd name="connsiteY12" fmla="*/ 1981 h 12137"/>
              <a:gd name="connsiteX13" fmla="*/ 757 w 12481"/>
              <a:gd name="connsiteY13" fmla="*/ 799 h 12137"/>
              <a:gd name="connsiteX14" fmla="*/ 2220 w 12481"/>
              <a:gd name="connsiteY14" fmla="*/ 176 h 12137"/>
              <a:gd name="connsiteX15" fmla="*/ 4408 w 12481"/>
              <a:gd name="connsiteY15" fmla="*/ 4 h 12137"/>
              <a:gd name="connsiteX16" fmla="*/ 6577 w 12481"/>
              <a:gd name="connsiteY16" fmla="*/ 116 h 12137"/>
              <a:gd name="connsiteX0" fmla="*/ 6577 w 12484"/>
              <a:gd name="connsiteY0" fmla="*/ 116 h 12137"/>
              <a:gd name="connsiteX1" fmla="*/ 9226 w 12484"/>
              <a:gd name="connsiteY1" fmla="*/ 448 h 12137"/>
              <a:gd name="connsiteX2" fmla="*/ 12202 w 12484"/>
              <a:gd name="connsiteY2" fmla="*/ 806 h 12137"/>
              <a:gd name="connsiteX3" fmla="*/ 12247 w 12484"/>
              <a:gd name="connsiteY3" fmla="*/ 4832 h 12137"/>
              <a:gd name="connsiteX4" fmla="*/ 12309 w 12484"/>
              <a:gd name="connsiteY4" fmla="*/ 7885 h 12137"/>
              <a:gd name="connsiteX5" fmla="*/ 12279 w 12484"/>
              <a:gd name="connsiteY5" fmla="*/ 11359 h 12137"/>
              <a:gd name="connsiteX6" fmla="*/ 9656 w 12484"/>
              <a:gd name="connsiteY6" fmla="*/ 12136 h 12137"/>
              <a:gd name="connsiteX7" fmla="*/ 6215 w 12484"/>
              <a:gd name="connsiteY7" fmla="*/ 11446 h 12137"/>
              <a:gd name="connsiteX8" fmla="*/ 2971 w 12484"/>
              <a:gd name="connsiteY8" fmla="*/ 8693 h 12137"/>
              <a:gd name="connsiteX9" fmla="*/ 1638 w 12484"/>
              <a:gd name="connsiteY9" fmla="*/ 6762 h 12137"/>
              <a:gd name="connsiteX10" fmla="*/ 452 w 12484"/>
              <a:gd name="connsiteY10" fmla="*/ 4476 h 12137"/>
              <a:gd name="connsiteX11" fmla="*/ 102 w 12484"/>
              <a:gd name="connsiteY11" fmla="*/ 3349 h 12137"/>
              <a:gd name="connsiteX12" fmla="*/ 34 w 12484"/>
              <a:gd name="connsiteY12" fmla="*/ 1981 h 12137"/>
              <a:gd name="connsiteX13" fmla="*/ 757 w 12484"/>
              <a:gd name="connsiteY13" fmla="*/ 799 h 12137"/>
              <a:gd name="connsiteX14" fmla="*/ 2220 w 12484"/>
              <a:gd name="connsiteY14" fmla="*/ 176 h 12137"/>
              <a:gd name="connsiteX15" fmla="*/ 4408 w 12484"/>
              <a:gd name="connsiteY15" fmla="*/ 4 h 12137"/>
              <a:gd name="connsiteX16" fmla="*/ 6577 w 12484"/>
              <a:gd name="connsiteY16" fmla="*/ 116 h 12137"/>
              <a:gd name="connsiteX0" fmla="*/ 6577 w 12492"/>
              <a:gd name="connsiteY0" fmla="*/ 116 h 12137"/>
              <a:gd name="connsiteX1" fmla="*/ 9226 w 12492"/>
              <a:gd name="connsiteY1" fmla="*/ 448 h 12137"/>
              <a:gd name="connsiteX2" fmla="*/ 12202 w 12492"/>
              <a:gd name="connsiteY2" fmla="*/ 806 h 12137"/>
              <a:gd name="connsiteX3" fmla="*/ 12247 w 12492"/>
              <a:gd name="connsiteY3" fmla="*/ 4832 h 12137"/>
              <a:gd name="connsiteX4" fmla="*/ 12330 w 12492"/>
              <a:gd name="connsiteY4" fmla="*/ 7260 h 12137"/>
              <a:gd name="connsiteX5" fmla="*/ 12279 w 12492"/>
              <a:gd name="connsiteY5" fmla="*/ 11359 h 12137"/>
              <a:gd name="connsiteX6" fmla="*/ 9656 w 12492"/>
              <a:gd name="connsiteY6" fmla="*/ 12136 h 12137"/>
              <a:gd name="connsiteX7" fmla="*/ 6215 w 12492"/>
              <a:gd name="connsiteY7" fmla="*/ 11446 h 12137"/>
              <a:gd name="connsiteX8" fmla="*/ 2971 w 12492"/>
              <a:gd name="connsiteY8" fmla="*/ 8693 h 12137"/>
              <a:gd name="connsiteX9" fmla="*/ 1638 w 12492"/>
              <a:gd name="connsiteY9" fmla="*/ 6762 h 12137"/>
              <a:gd name="connsiteX10" fmla="*/ 452 w 12492"/>
              <a:gd name="connsiteY10" fmla="*/ 4476 h 12137"/>
              <a:gd name="connsiteX11" fmla="*/ 102 w 12492"/>
              <a:gd name="connsiteY11" fmla="*/ 3349 h 12137"/>
              <a:gd name="connsiteX12" fmla="*/ 34 w 12492"/>
              <a:gd name="connsiteY12" fmla="*/ 1981 h 12137"/>
              <a:gd name="connsiteX13" fmla="*/ 757 w 12492"/>
              <a:gd name="connsiteY13" fmla="*/ 799 h 12137"/>
              <a:gd name="connsiteX14" fmla="*/ 2220 w 12492"/>
              <a:gd name="connsiteY14" fmla="*/ 176 h 12137"/>
              <a:gd name="connsiteX15" fmla="*/ 4408 w 12492"/>
              <a:gd name="connsiteY15" fmla="*/ 4 h 12137"/>
              <a:gd name="connsiteX16" fmla="*/ 6577 w 12492"/>
              <a:gd name="connsiteY16" fmla="*/ 116 h 12137"/>
              <a:gd name="connsiteX0" fmla="*/ 6577 w 12484"/>
              <a:gd name="connsiteY0" fmla="*/ 116 h 12137"/>
              <a:gd name="connsiteX1" fmla="*/ 9226 w 12484"/>
              <a:gd name="connsiteY1" fmla="*/ 448 h 12137"/>
              <a:gd name="connsiteX2" fmla="*/ 12202 w 12484"/>
              <a:gd name="connsiteY2" fmla="*/ 806 h 12137"/>
              <a:gd name="connsiteX3" fmla="*/ 12247 w 12484"/>
              <a:gd name="connsiteY3" fmla="*/ 4832 h 12137"/>
              <a:gd name="connsiteX4" fmla="*/ 12309 w 12484"/>
              <a:gd name="connsiteY4" fmla="*/ 7944 h 12137"/>
              <a:gd name="connsiteX5" fmla="*/ 12279 w 12484"/>
              <a:gd name="connsiteY5" fmla="*/ 11359 h 12137"/>
              <a:gd name="connsiteX6" fmla="*/ 9656 w 12484"/>
              <a:gd name="connsiteY6" fmla="*/ 12136 h 12137"/>
              <a:gd name="connsiteX7" fmla="*/ 6215 w 12484"/>
              <a:gd name="connsiteY7" fmla="*/ 11446 h 12137"/>
              <a:gd name="connsiteX8" fmla="*/ 2971 w 12484"/>
              <a:gd name="connsiteY8" fmla="*/ 8693 h 12137"/>
              <a:gd name="connsiteX9" fmla="*/ 1638 w 12484"/>
              <a:gd name="connsiteY9" fmla="*/ 6762 h 12137"/>
              <a:gd name="connsiteX10" fmla="*/ 452 w 12484"/>
              <a:gd name="connsiteY10" fmla="*/ 4476 h 12137"/>
              <a:gd name="connsiteX11" fmla="*/ 102 w 12484"/>
              <a:gd name="connsiteY11" fmla="*/ 3349 h 12137"/>
              <a:gd name="connsiteX12" fmla="*/ 34 w 12484"/>
              <a:gd name="connsiteY12" fmla="*/ 1981 h 12137"/>
              <a:gd name="connsiteX13" fmla="*/ 757 w 12484"/>
              <a:gd name="connsiteY13" fmla="*/ 799 h 12137"/>
              <a:gd name="connsiteX14" fmla="*/ 2220 w 12484"/>
              <a:gd name="connsiteY14" fmla="*/ 176 h 12137"/>
              <a:gd name="connsiteX15" fmla="*/ 4408 w 12484"/>
              <a:gd name="connsiteY15" fmla="*/ 4 h 12137"/>
              <a:gd name="connsiteX16" fmla="*/ 6577 w 12484"/>
              <a:gd name="connsiteY16" fmla="*/ 116 h 12137"/>
              <a:gd name="connsiteX0" fmla="*/ 6577 w 12321"/>
              <a:gd name="connsiteY0" fmla="*/ 116 h 12137"/>
              <a:gd name="connsiteX1" fmla="*/ 9226 w 12321"/>
              <a:gd name="connsiteY1" fmla="*/ 448 h 12137"/>
              <a:gd name="connsiteX2" fmla="*/ 12202 w 12321"/>
              <a:gd name="connsiteY2" fmla="*/ 806 h 12137"/>
              <a:gd name="connsiteX3" fmla="*/ 12247 w 12321"/>
              <a:gd name="connsiteY3" fmla="*/ 4832 h 12137"/>
              <a:gd name="connsiteX4" fmla="*/ 12309 w 12321"/>
              <a:gd name="connsiteY4" fmla="*/ 7944 h 12137"/>
              <a:gd name="connsiteX5" fmla="*/ 12279 w 12321"/>
              <a:gd name="connsiteY5" fmla="*/ 11359 h 12137"/>
              <a:gd name="connsiteX6" fmla="*/ 9656 w 12321"/>
              <a:gd name="connsiteY6" fmla="*/ 12136 h 12137"/>
              <a:gd name="connsiteX7" fmla="*/ 6215 w 12321"/>
              <a:gd name="connsiteY7" fmla="*/ 11446 h 12137"/>
              <a:gd name="connsiteX8" fmla="*/ 2971 w 12321"/>
              <a:gd name="connsiteY8" fmla="*/ 8693 h 12137"/>
              <a:gd name="connsiteX9" fmla="*/ 1638 w 12321"/>
              <a:gd name="connsiteY9" fmla="*/ 6762 h 12137"/>
              <a:gd name="connsiteX10" fmla="*/ 452 w 12321"/>
              <a:gd name="connsiteY10" fmla="*/ 4476 h 12137"/>
              <a:gd name="connsiteX11" fmla="*/ 102 w 12321"/>
              <a:gd name="connsiteY11" fmla="*/ 3349 h 12137"/>
              <a:gd name="connsiteX12" fmla="*/ 34 w 12321"/>
              <a:gd name="connsiteY12" fmla="*/ 1981 h 12137"/>
              <a:gd name="connsiteX13" fmla="*/ 757 w 12321"/>
              <a:gd name="connsiteY13" fmla="*/ 799 h 12137"/>
              <a:gd name="connsiteX14" fmla="*/ 2220 w 12321"/>
              <a:gd name="connsiteY14" fmla="*/ 176 h 12137"/>
              <a:gd name="connsiteX15" fmla="*/ 4408 w 12321"/>
              <a:gd name="connsiteY15" fmla="*/ 4 h 12137"/>
              <a:gd name="connsiteX16" fmla="*/ 6577 w 12321"/>
              <a:gd name="connsiteY16" fmla="*/ 116 h 12137"/>
              <a:gd name="connsiteX0" fmla="*/ 6577 w 12336"/>
              <a:gd name="connsiteY0" fmla="*/ 116 h 12137"/>
              <a:gd name="connsiteX1" fmla="*/ 9226 w 12336"/>
              <a:gd name="connsiteY1" fmla="*/ 448 h 12137"/>
              <a:gd name="connsiteX2" fmla="*/ 12202 w 12336"/>
              <a:gd name="connsiteY2" fmla="*/ 806 h 12137"/>
              <a:gd name="connsiteX3" fmla="*/ 12247 w 12336"/>
              <a:gd name="connsiteY3" fmla="*/ 4832 h 12137"/>
              <a:gd name="connsiteX4" fmla="*/ 12309 w 12336"/>
              <a:gd name="connsiteY4" fmla="*/ 7944 h 12137"/>
              <a:gd name="connsiteX5" fmla="*/ 12279 w 12336"/>
              <a:gd name="connsiteY5" fmla="*/ 11359 h 12137"/>
              <a:gd name="connsiteX6" fmla="*/ 9656 w 12336"/>
              <a:gd name="connsiteY6" fmla="*/ 12136 h 12137"/>
              <a:gd name="connsiteX7" fmla="*/ 6215 w 12336"/>
              <a:gd name="connsiteY7" fmla="*/ 11446 h 12137"/>
              <a:gd name="connsiteX8" fmla="*/ 2971 w 12336"/>
              <a:gd name="connsiteY8" fmla="*/ 8693 h 12137"/>
              <a:gd name="connsiteX9" fmla="*/ 1638 w 12336"/>
              <a:gd name="connsiteY9" fmla="*/ 6762 h 12137"/>
              <a:gd name="connsiteX10" fmla="*/ 452 w 12336"/>
              <a:gd name="connsiteY10" fmla="*/ 4476 h 12137"/>
              <a:gd name="connsiteX11" fmla="*/ 102 w 12336"/>
              <a:gd name="connsiteY11" fmla="*/ 3349 h 12137"/>
              <a:gd name="connsiteX12" fmla="*/ 34 w 12336"/>
              <a:gd name="connsiteY12" fmla="*/ 1981 h 12137"/>
              <a:gd name="connsiteX13" fmla="*/ 757 w 12336"/>
              <a:gd name="connsiteY13" fmla="*/ 799 h 12137"/>
              <a:gd name="connsiteX14" fmla="*/ 2220 w 12336"/>
              <a:gd name="connsiteY14" fmla="*/ 176 h 12137"/>
              <a:gd name="connsiteX15" fmla="*/ 4408 w 12336"/>
              <a:gd name="connsiteY15" fmla="*/ 4 h 12137"/>
              <a:gd name="connsiteX16" fmla="*/ 6577 w 12336"/>
              <a:gd name="connsiteY16" fmla="*/ 116 h 12137"/>
              <a:gd name="connsiteX0" fmla="*/ 6577 w 12358"/>
              <a:gd name="connsiteY0" fmla="*/ 116 h 12137"/>
              <a:gd name="connsiteX1" fmla="*/ 9226 w 12358"/>
              <a:gd name="connsiteY1" fmla="*/ 448 h 12137"/>
              <a:gd name="connsiteX2" fmla="*/ 12202 w 12358"/>
              <a:gd name="connsiteY2" fmla="*/ 806 h 12137"/>
              <a:gd name="connsiteX3" fmla="*/ 12247 w 12358"/>
              <a:gd name="connsiteY3" fmla="*/ 4832 h 12137"/>
              <a:gd name="connsiteX4" fmla="*/ 12309 w 12358"/>
              <a:gd name="connsiteY4" fmla="*/ 7944 h 12137"/>
              <a:gd name="connsiteX5" fmla="*/ 12279 w 12358"/>
              <a:gd name="connsiteY5" fmla="*/ 11359 h 12137"/>
              <a:gd name="connsiteX6" fmla="*/ 9656 w 12358"/>
              <a:gd name="connsiteY6" fmla="*/ 12136 h 12137"/>
              <a:gd name="connsiteX7" fmla="*/ 6215 w 12358"/>
              <a:gd name="connsiteY7" fmla="*/ 11446 h 12137"/>
              <a:gd name="connsiteX8" fmla="*/ 2971 w 12358"/>
              <a:gd name="connsiteY8" fmla="*/ 8693 h 12137"/>
              <a:gd name="connsiteX9" fmla="*/ 1638 w 12358"/>
              <a:gd name="connsiteY9" fmla="*/ 6762 h 12137"/>
              <a:gd name="connsiteX10" fmla="*/ 452 w 12358"/>
              <a:gd name="connsiteY10" fmla="*/ 4476 h 12137"/>
              <a:gd name="connsiteX11" fmla="*/ 102 w 12358"/>
              <a:gd name="connsiteY11" fmla="*/ 3349 h 12137"/>
              <a:gd name="connsiteX12" fmla="*/ 34 w 12358"/>
              <a:gd name="connsiteY12" fmla="*/ 1981 h 12137"/>
              <a:gd name="connsiteX13" fmla="*/ 757 w 12358"/>
              <a:gd name="connsiteY13" fmla="*/ 799 h 12137"/>
              <a:gd name="connsiteX14" fmla="*/ 2220 w 12358"/>
              <a:gd name="connsiteY14" fmla="*/ 176 h 12137"/>
              <a:gd name="connsiteX15" fmla="*/ 4408 w 12358"/>
              <a:gd name="connsiteY15" fmla="*/ 4 h 12137"/>
              <a:gd name="connsiteX16" fmla="*/ 6577 w 12358"/>
              <a:gd name="connsiteY16" fmla="*/ 116 h 12137"/>
              <a:gd name="connsiteX0" fmla="*/ 6577 w 12309"/>
              <a:gd name="connsiteY0" fmla="*/ 116 h 12137"/>
              <a:gd name="connsiteX1" fmla="*/ 9226 w 12309"/>
              <a:gd name="connsiteY1" fmla="*/ 448 h 12137"/>
              <a:gd name="connsiteX2" fmla="*/ 12202 w 12309"/>
              <a:gd name="connsiteY2" fmla="*/ 806 h 12137"/>
              <a:gd name="connsiteX3" fmla="*/ 12247 w 12309"/>
              <a:gd name="connsiteY3" fmla="*/ 4832 h 12137"/>
              <a:gd name="connsiteX4" fmla="*/ 12309 w 12309"/>
              <a:gd name="connsiteY4" fmla="*/ 7944 h 12137"/>
              <a:gd name="connsiteX5" fmla="*/ 12279 w 12309"/>
              <a:gd name="connsiteY5" fmla="*/ 11359 h 12137"/>
              <a:gd name="connsiteX6" fmla="*/ 9656 w 12309"/>
              <a:gd name="connsiteY6" fmla="*/ 12136 h 12137"/>
              <a:gd name="connsiteX7" fmla="*/ 6215 w 12309"/>
              <a:gd name="connsiteY7" fmla="*/ 11446 h 12137"/>
              <a:gd name="connsiteX8" fmla="*/ 2971 w 12309"/>
              <a:gd name="connsiteY8" fmla="*/ 8693 h 12137"/>
              <a:gd name="connsiteX9" fmla="*/ 1638 w 12309"/>
              <a:gd name="connsiteY9" fmla="*/ 6762 h 12137"/>
              <a:gd name="connsiteX10" fmla="*/ 452 w 12309"/>
              <a:gd name="connsiteY10" fmla="*/ 4476 h 12137"/>
              <a:gd name="connsiteX11" fmla="*/ 102 w 12309"/>
              <a:gd name="connsiteY11" fmla="*/ 3349 h 12137"/>
              <a:gd name="connsiteX12" fmla="*/ 34 w 12309"/>
              <a:gd name="connsiteY12" fmla="*/ 1981 h 12137"/>
              <a:gd name="connsiteX13" fmla="*/ 757 w 12309"/>
              <a:gd name="connsiteY13" fmla="*/ 799 h 12137"/>
              <a:gd name="connsiteX14" fmla="*/ 2220 w 12309"/>
              <a:gd name="connsiteY14" fmla="*/ 176 h 12137"/>
              <a:gd name="connsiteX15" fmla="*/ 4408 w 12309"/>
              <a:gd name="connsiteY15" fmla="*/ 4 h 12137"/>
              <a:gd name="connsiteX16" fmla="*/ 6577 w 12309"/>
              <a:gd name="connsiteY16" fmla="*/ 116 h 12137"/>
              <a:gd name="connsiteX0" fmla="*/ 6577 w 12471"/>
              <a:gd name="connsiteY0" fmla="*/ 116 h 12137"/>
              <a:gd name="connsiteX1" fmla="*/ 9226 w 12471"/>
              <a:gd name="connsiteY1" fmla="*/ 448 h 12137"/>
              <a:gd name="connsiteX2" fmla="*/ 12202 w 12471"/>
              <a:gd name="connsiteY2" fmla="*/ 806 h 12137"/>
              <a:gd name="connsiteX3" fmla="*/ 12247 w 12471"/>
              <a:gd name="connsiteY3" fmla="*/ 4832 h 12137"/>
              <a:gd name="connsiteX4" fmla="*/ 12272 w 12471"/>
              <a:gd name="connsiteY4" fmla="*/ 8153 h 12137"/>
              <a:gd name="connsiteX5" fmla="*/ 12279 w 12471"/>
              <a:gd name="connsiteY5" fmla="*/ 11359 h 12137"/>
              <a:gd name="connsiteX6" fmla="*/ 9656 w 12471"/>
              <a:gd name="connsiteY6" fmla="*/ 12136 h 12137"/>
              <a:gd name="connsiteX7" fmla="*/ 6215 w 12471"/>
              <a:gd name="connsiteY7" fmla="*/ 11446 h 12137"/>
              <a:gd name="connsiteX8" fmla="*/ 2971 w 12471"/>
              <a:gd name="connsiteY8" fmla="*/ 8693 h 12137"/>
              <a:gd name="connsiteX9" fmla="*/ 1638 w 12471"/>
              <a:gd name="connsiteY9" fmla="*/ 6762 h 12137"/>
              <a:gd name="connsiteX10" fmla="*/ 452 w 12471"/>
              <a:gd name="connsiteY10" fmla="*/ 4476 h 12137"/>
              <a:gd name="connsiteX11" fmla="*/ 102 w 12471"/>
              <a:gd name="connsiteY11" fmla="*/ 3349 h 12137"/>
              <a:gd name="connsiteX12" fmla="*/ 34 w 12471"/>
              <a:gd name="connsiteY12" fmla="*/ 1981 h 12137"/>
              <a:gd name="connsiteX13" fmla="*/ 757 w 12471"/>
              <a:gd name="connsiteY13" fmla="*/ 799 h 12137"/>
              <a:gd name="connsiteX14" fmla="*/ 2220 w 12471"/>
              <a:gd name="connsiteY14" fmla="*/ 176 h 12137"/>
              <a:gd name="connsiteX15" fmla="*/ 4408 w 12471"/>
              <a:gd name="connsiteY15" fmla="*/ 4 h 12137"/>
              <a:gd name="connsiteX16" fmla="*/ 6577 w 12471"/>
              <a:gd name="connsiteY16" fmla="*/ 116 h 12137"/>
              <a:gd name="connsiteX0" fmla="*/ 6577 w 12289"/>
              <a:gd name="connsiteY0" fmla="*/ 116 h 12137"/>
              <a:gd name="connsiteX1" fmla="*/ 9226 w 12289"/>
              <a:gd name="connsiteY1" fmla="*/ 448 h 12137"/>
              <a:gd name="connsiteX2" fmla="*/ 12202 w 12289"/>
              <a:gd name="connsiteY2" fmla="*/ 806 h 12137"/>
              <a:gd name="connsiteX3" fmla="*/ 12247 w 12289"/>
              <a:gd name="connsiteY3" fmla="*/ 4832 h 12137"/>
              <a:gd name="connsiteX4" fmla="*/ 12272 w 12289"/>
              <a:gd name="connsiteY4" fmla="*/ 8153 h 12137"/>
              <a:gd name="connsiteX5" fmla="*/ 12279 w 12289"/>
              <a:gd name="connsiteY5" fmla="*/ 11359 h 12137"/>
              <a:gd name="connsiteX6" fmla="*/ 9656 w 12289"/>
              <a:gd name="connsiteY6" fmla="*/ 12136 h 12137"/>
              <a:gd name="connsiteX7" fmla="*/ 6215 w 12289"/>
              <a:gd name="connsiteY7" fmla="*/ 11446 h 12137"/>
              <a:gd name="connsiteX8" fmla="*/ 2971 w 12289"/>
              <a:gd name="connsiteY8" fmla="*/ 8693 h 12137"/>
              <a:gd name="connsiteX9" fmla="*/ 1638 w 12289"/>
              <a:gd name="connsiteY9" fmla="*/ 6762 h 12137"/>
              <a:gd name="connsiteX10" fmla="*/ 452 w 12289"/>
              <a:gd name="connsiteY10" fmla="*/ 4476 h 12137"/>
              <a:gd name="connsiteX11" fmla="*/ 102 w 12289"/>
              <a:gd name="connsiteY11" fmla="*/ 3349 h 12137"/>
              <a:gd name="connsiteX12" fmla="*/ 34 w 12289"/>
              <a:gd name="connsiteY12" fmla="*/ 1981 h 12137"/>
              <a:gd name="connsiteX13" fmla="*/ 757 w 12289"/>
              <a:gd name="connsiteY13" fmla="*/ 799 h 12137"/>
              <a:gd name="connsiteX14" fmla="*/ 2220 w 12289"/>
              <a:gd name="connsiteY14" fmla="*/ 176 h 12137"/>
              <a:gd name="connsiteX15" fmla="*/ 4408 w 12289"/>
              <a:gd name="connsiteY15" fmla="*/ 4 h 12137"/>
              <a:gd name="connsiteX16" fmla="*/ 6577 w 12289"/>
              <a:gd name="connsiteY16" fmla="*/ 116 h 12137"/>
              <a:gd name="connsiteX0" fmla="*/ 6577 w 12290"/>
              <a:gd name="connsiteY0" fmla="*/ 116 h 12137"/>
              <a:gd name="connsiteX1" fmla="*/ 9226 w 12290"/>
              <a:gd name="connsiteY1" fmla="*/ 448 h 12137"/>
              <a:gd name="connsiteX2" fmla="*/ 12202 w 12290"/>
              <a:gd name="connsiteY2" fmla="*/ 806 h 12137"/>
              <a:gd name="connsiteX3" fmla="*/ 12247 w 12290"/>
              <a:gd name="connsiteY3" fmla="*/ 4832 h 12137"/>
              <a:gd name="connsiteX4" fmla="*/ 12272 w 12290"/>
              <a:gd name="connsiteY4" fmla="*/ 8153 h 12137"/>
              <a:gd name="connsiteX5" fmla="*/ 12279 w 12290"/>
              <a:gd name="connsiteY5" fmla="*/ 11359 h 12137"/>
              <a:gd name="connsiteX6" fmla="*/ 9656 w 12290"/>
              <a:gd name="connsiteY6" fmla="*/ 12136 h 12137"/>
              <a:gd name="connsiteX7" fmla="*/ 6215 w 12290"/>
              <a:gd name="connsiteY7" fmla="*/ 11446 h 12137"/>
              <a:gd name="connsiteX8" fmla="*/ 2971 w 12290"/>
              <a:gd name="connsiteY8" fmla="*/ 8693 h 12137"/>
              <a:gd name="connsiteX9" fmla="*/ 1638 w 12290"/>
              <a:gd name="connsiteY9" fmla="*/ 6762 h 12137"/>
              <a:gd name="connsiteX10" fmla="*/ 452 w 12290"/>
              <a:gd name="connsiteY10" fmla="*/ 4476 h 12137"/>
              <a:gd name="connsiteX11" fmla="*/ 102 w 12290"/>
              <a:gd name="connsiteY11" fmla="*/ 3349 h 12137"/>
              <a:gd name="connsiteX12" fmla="*/ 34 w 12290"/>
              <a:gd name="connsiteY12" fmla="*/ 1981 h 12137"/>
              <a:gd name="connsiteX13" fmla="*/ 757 w 12290"/>
              <a:gd name="connsiteY13" fmla="*/ 799 h 12137"/>
              <a:gd name="connsiteX14" fmla="*/ 2220 w 12290"/>
              <a:gd name="connsiteY14" fmla="*/ 176 h 12137"/>
              <a:gd name="connsiteX15" fmla="*/ 4408 w 12290"/>
              <a:gd name="connsiteY15" fmla="*/ 4 h 12137"/>
              <a:gd name="connsiteX16" fmla="*/ 6577 w 12290"/>
              <a:gd name="connsiteY16" fmla="*/ 116 h 12137"/>
              <a:gd name="connsiteX0" fmla="*/ 6577 w 12291"/>
              <a:gd name="connsiteY0" fmla="*/ 116 h 12137"/>
              <a:gd name="connsiteX1" fmla="*/ 9226 w 12291"/>
              <a:gd name="connsiteY1" fmla="*/ 448 h 12137"/>
              <a:gd name="connsiteX2" fmla="*/ 12202 w 12291"/>
              <a:gd name="connsiteY2" fmla="*/ 806 h 12137"/>
              <a:gd name="connsiteX3" fmla="*/ 12247 w 12291"/>
              <a:gd name="connsiteY3" fmla="*/ 4832 h 12137"/>
              <a:gd name="connsiteX4" fmla="*/ 12272 w 12291"/>
              <a:gd name="connsiteY4" fmla="*/ 8153 h 12137"/>
              <a:gd name="connsiteX5" fmla="*/ 12279 w 12291"/>
              <a:gd name="connsiteY5" fmla="*/ 11359 h 12137"/>
              <a:gd name="connsiteX6" fmla="*/ 9656 w 12291"/>
              <a:gd name="connsiteY6" fmla="*/ 12136 h 12137"/>
              <a:gd name="connsiteX7" fmla="*/ 6215 w 12291"/>
              <a:gd name="connsiteY7" fmla="*/ 11446 h 12137"/>
              <a:gd name="connsiteX8" fmla="*/ 2971 w 12291"/>
              <a:gd name="connsiteY8" fmla="*/ 8693 h 12137"/>
              <a:gd name="connsiteX9" fmla="*/ 1638 w 12291"/>
              <a:gd name="connsiteY9" fmla="*/ 6762 h 12137"/>
              <a:gd name="connsiteX10" fmla="*/ 452 w 12291"/>
              <a:gd name="connsiteY10" fmla="*/ 4476 h 12137"/>
              <a:gd name="connsiteX11" fmla="*/ 102 w 12291"/>
              <a:gd name="connsiteY11" fmla="*/ 3349 h 12137"/>
              <a:gd name="connsiteX12" fmla="*/ 34 w 12291"/>
              <a:gd name="connsiteY12" fmla="*/ 1981 h 12137"/>
              <a:gd name="connsiteX13" fmla="*/ 757 w 12291"/>
              <a:gd name="connsiteY13" fmla="*/ 799 h 12137"/>
              <a:gd name="connsiteX14" fmla="*/ 2220 w 12291"/>
              <a:gd name="connsiteY14" fmla="*/ 176 h 12137"/>
              <a:gd name="connsiteX15" fmla="*/ 4408 w 12291"/>
              <a:gd name="connsiteY15" fmla="*/ 4 h 12137"/>
              <a:gd name="connsiteX16" fmla="*/ 6577 w 12291"/>
              <a:gd name="connsiteY16" fmla="*/ 116 h 12137"/>
              <a:gd name="connsiteX0" fmla="*/ 6577 w 12294"/>
              <a:gd name="connsiteY0" fmla="*/ 116 h 12137"/>
              <a:gd name="connsiteX1" fmla="*/ 9226 w 12294"/>
              <a:gd name="connsiteY1" fmla="*/ 448 h 12137"/>
              <a:gd name="connsiteX2" fmla="*/ 12202 w 12294"/>
              <a:gd name="connsiteY2" fmla="*/ 806 h 12137"/>
              <a:gd name="connsiteX3" fmla="*/ 12247 w 12294"/>
              <a:gd name="connsiteY3" fmla="*/ 4832 h 12137"/>
              <a:gd name="connsiteX4" fmla="*/ 12272 w 12294"/>
              <a:gd name="connsiteY4" fmla="*/ 8153 h 12137"/>
              <a:gd name="connsiteX5" fmla="*/ 12279 w 12294"/>
              <a:gd name="connsiteY5" fmla="*/ 11359 h 12137"/>
              <a:gd name="connsiteX6" fmla="*/ 9656 w 12294"/>
              <a:gd name="connsiteY6" fmla="*/ 12136 h 12137"/>
              <a:gd name="connsiteX7" fmla="*/ 6215 w 12294"/>
              <a:gd name="connsiteY7" fmla="*/ 11446 h 12137"/>
              <a:gd name="connsiteX8" fmla="*/ 2971 w 12294"/>
              <a:gd name="connsiteY8" fmla="*/ 8693 h 12137"/>
              <a:gd name="connsiteX9" fmla="*/ 1638 w 12294"/>
              <a:gd name="connsiteY9" fmla="*/ 6762 h 12137"/>
              <a:gd name="connsiteX10" fmla="*/ 452 w 12294"/>
              <a:gd name="connsiteY10" fmla="*/ 4476 h 12137"/>
              <a:gd name="connsiteX11" fmla="*/ 102 w 12294"/>
              <a:gd name="connsiteY11" fmla="*/ 3349 h 12137"/>
              <a:gd name="connsiteX12" fmla="*/ 34 w 12294"/>
              <a:gd name="connsiteY12" fmla="*/ 1981 h 12137"/>
              <a:gd name="connsiteX13" fmla="*/ 757 w 12294"/>
              <a:gd name="connsiteY13" fmla="*/ 799 h 12137"/>
              <a:gd name="connsiteX14" fmla="*/ 2220 w 12294"/>
              <a:gd name="connsiteY14" fmla="*/ 176 h 12137"/>
              <a:gd name="connsiteX15" fmla="*/ 4408 w 12294"/>
              <a:gd name="connsiteY15" fmla="*/ 4 h 12137"/>
              <a:gd name="connsiteX16" fmla="*/ 6577 w 12294"/>
              <a:gd name="connsiteY16" fmla="*/ 116 h 12137"/>
              <a:gd name="connsiteX0" fmla="*/ 6577 w 12294"/>
              <a:gd name="connsiteY0" fmla="*/ 116 h 12137"/>
              <a:gd name="connsiteX1" fmla="*/ 9226 w 12294"/>
              <a:gd name="connsiteY1" fmla="*/ 448 h 12137"/>
              <a:gd name="connsiteX2" fmla="*/ 12202 w 12294"/>
              <a:gd name="connsiteY2" fmla="*/ 806 h 12137"/>
              <a:gd name="connsiteX3" fmla="*/ 12247 w 12294"/>
              <a:gd name="connsiteY3" fmla="*/ 4832 h 12137"/>
              <a:gd name="connsiteX4" fmla="*/ 12272 w 12294"/>
              <a:gd name="connsiteY4" fmla="*/ 8153 h 12137"/>
              <a:gd name="connsiteX5" fmla="*/ 12279 w 12294"/>
              <a:gd name="connsiteY5" fmla="*/ 11359 h 12137"/>
              <a:gd name="connsiteX6" fmla="*/ 9656 w 12294"/>
              <a:gd name="connsiteY6" fmla="*/ 12136 h 12137"/>
              <a:gd name="connsiteX7" fmla="*/ 6215 w 12294"/>
              <a:gd name="connsiteY7" fmla="*/ 11446 h 12137"/>
              <a:gd name="connsiteX8" fmla="*/ 2971 w 12294"/>
              <a:gd name="connsiteY8" fmla="*/ 8693 h 12137"/>
              <a:gd name="connsiteX9" fmla="*/ 1638 w 12294"/>
              <a:gd name="connsiteY9" fmla="*/ 6762 h 12137"/>
              <a:gd name="connsiteX10" fmla="*/ 452 w 12294"/>
              <a:gd name="connsiteY10" fmla="*/ 4476 h 12137"/>
              <a:gd name="connsiteX11" fmla="*/ 102 w 12294"/>
              <a:gd name="connsiteY11" fmla="*/ 3349 h 12137"/>
              <a:gd name="connsiteX12" fmla="*/ 34 w 12294"/>
              <a:gd name="connsiteY12" fmla="*/ 1981 h 12137"/>
              <a:gd name="connsiteX13" fmla="*/ 757 w 12294"/>
              <a:gd name="connsiteY13" fmla="*/ 799 h 12137"/>
              <a:gd name="connsiteX14" fmla="*/ 2220 w 12294"/>
              <a:gd name="connsiteY14" fmla="*/ 176 h 12137"/>
              <a:gd name="connsiteX15" fmla="*/ 4408 w 12294"/>
              <a:gd name="connsiteY15" fmla="*/ 4 h 12137"/>
              <a:gd name="connsiteX16" fmla="*/ 6577 w 12294"/>
              <a:gd name="connsiteY16" fmla="*/ 116 h 12137"/>
              <a:gd name="connsiteX0" fmla="*/ 6577 w 12294"/>
              <a:gd name="connsiteY0" fmla="*/ 116 h 12137"/>
              <a:gd name="connsiteX1" fmla="*/ 9226 w 12294"/>
              <a:gd name="connsiteY1" fmla="*/ 448 h 12137"/>
              <a:gd name="connsiteX2" fmla="*/ 12202 w 12294"/>
              <a:gd name="connsiteY2" fmla="*/ 806 h 12137"/>
              <a:gd name="connsiteX3" fmla="*/ 12247 w 12294"/>
              <a:gd name="connsiteY3" fmla="*/ 4832 h 12137"/>
              <a:gd name="connsiteX4" fmla="*/ 12272 w 12294"/>
              <a:gd name="connsiteY4" fmla="*/ 8153 h 12137"/>
              <a:gd name="connsiteX5" fmla="*/ 12279 w 12294"/>
              <a:gd name="connsiteY5" fmla="*/ 11359 h 12137"/>
              <a:gd name="connsiteX6" fmla="*/ 9656 w 12294"/>
              <a:gd name="connsiteY6" fmla="*/ 12136 h 12137"/>
              <a:gd name="connsiteX7" fmla="*/ 6215 w 12294"/>
              <a:gd name="connsiteY7" fmla="*/ 11446 h 12137"/>
              <a:gd name="connsiteX8" fmla="*/ 2971 w 12294"/>
              <a:gd name="connsiteY8" fmla="*/ 8693 h 12137"/>
              <a:gd name="connsiteX9" fmla="*/ 1638 w 12294"/>
              <a:gd name="connsiteY9" fmla="*/ 6762 h 12137"/>
              <a:gd name="connsiteX10" fmla="*/ 452 w 12294"/>
              <a:gd name="connsiteY10" fmla="*/ 4476 h 12137"/>
              <a:gd name="connsiteX11" fmla="*/ 102 w 12294"/>
              <a:gd name="connsiteY11" fmla="*/ 3349 h 12137"/>
              <a:gd name="connsiteX12" fmla="*/ 34 w 12294"/>
              <a:gd name="connsiteY12" fmla="*/ 1981 h 12137"/>
              <a:gd name="connsiteX13" fmla="*/ 757 w 12294"/>
              <a:gd name="connsiteY13" fmla="*/ 799 h 12137"/>
              <a:gd name="connsiteX14" fmla="*/ 2220 w 12294"/>
              <a:gd name="connsiteY14" fmla="*/ 176 h 12137"/>
              <a:gd name="connsiteX15" fmla="*/ 4408 w 12294"/>
              <a:gd name="connsiteY15" fmla="*/ 4 h 12137"/>
              <a:gd name="connsiteX16" fmla="*/ 6577 w 12294"/>
              <a:gd name="connsiteY16" fmla="*/ 116 h 12137"/>
              <a:gd name="connsiteX0" fmla="*/ 6577 w 12294"/>
              <a:gd name="connsiteY0" fmla="*/ 116 h 12137"/>
              <a:gd name="connsiteX1" fmla="*/ 9226 w 12294"/>
              <a:gd name="connsiteY1" fmla="*/ 448 h 12137"/>
              <a:gd name="connsiteX2" fmla="*/ 12177 w 12294"/>
              <a:gd name="connsiteY2" fmla="*/ 866 h 12137"/>
              <a:gd name="connsiteX3" fmla="*/ 12247 w 12294"/>
              <a:gd name="connsiteY3" fmla="*/ 4832 h 12137"/>
              <a:gd name="connsiteX4" fmla="*/ 12272 w 12294"/>
              <a:gd name="connsiteY4" fmla="*/ 8153 h 12137"/>
              <a:gd name="connsiteX5" fmla="*/ 12279 w 12294"/>
              <a:gd name="connsiteY5" fmla="*/ 11359 h 12137"/>
              <a:gd name="connsiteX6" fmla="*/ 9656 w 12294"/>
              <a:gd name="connsiteY6" fmla="*/ 12136 h 12137"/>
              <a:gd name="connsiteX7" fmla="*/ 6215 w 12294"/>
              <a:gd name="connsiteY7" fmla="*/ 11446 h 12137"/>
              <a:gd name="connsiteX8" fmla="*/ 2971 w 12294"/>
              <a:gd name="connsiteY8" fmla="*/ 8693 h 12137"/>
              <a:gd name="connsiteX9" fmla="*/ 1638 w 12294"/>
              <a:gd name="connsiteY9" fmla="*/ 6762 h 12137"/>
              <a:gd name="connsiteX10" fmla="*/ 452 w 12294"/>
              <a:gd name="connsiteY10" fmla="*/ 4476 h 12137"/>
              <a:gd name="connsiteX11" fmla="*/ 102 w 12294"/>
              <a:gd name="connsiteY11" fmla="*/ 3349 h 12137"/>
              <a:gd name="connsiteX12" fmla="*/ 34 w 12294"/>
              <a:gd name="connsiteY12" fmla="*/ 1981 h 12137"/>
              <a:gd name="connsiteX13" fmla="*/ 757 w 12294"/>
              <a:gd name="connsiteY13" fmla="*/ 799 h 12137"/>
              <a:gd name="connsiteX14" fmla="*/ 2220 w 12294"/>
              <a:gd name="connsiteY14" fmla="*/ 176 h 12137"/>
              <a:gd name="connsiteX15" fmla="*/ 4408 w 12294"/>
              <a:gd name="connsiteY15" fmla="*/ 4 h 12137"/>
              <a:gd name="connsiteX16" fmla="*/ 6577 w 12294"/>
              <a:gd name="connsiteY16" fmla="*/ 116 h 12137"/>
              <a:gd name="connsiteX0" fmla="*/ 6577 w 12277"/>
              <a:gd name="connsiteY0" fmla="*/ 116 h 12136"/>
              <a:gd name="connsiteX1" fmla="*/ 9226 w 12277"/>
              <a:gd name="connsiteY1" fmla="*/ 448 h 12136"/>
              <a:gd name="connsiteX2" fmla="*/ 12177 w 12277"/>
              <a:gd name="connsiteY2" fmla="*/ 866 h 12136"/>
              <a:gd name="connsiteX3" fmla="*/ 12247 w 12277"/>
              <a:gd name="connsiteY3" fmla="*/ 4832 h 12136"/>
              <a:gd name="connsiteX4" fmla="*/ 12272 w 12277"/>
              <a:gd name="connsiteY4" fmla="*/ 8153 h 12136"/>
              <a:gd name="connsiteX5" fmla="*/ 12253 w 12277"/>
              <a:gd name="connsiteY5" fmla="*/ 11390 h 12136"/>
              <a:gd name="connsiteX6" fmla="*/ 9656 w 12277"/>
              <a:gd name="connsiteY6" fmla="*/ 12136 h 12136"/>
              <a:gd name="connsiteX7" fmla="*/ 6215 w 12277"/>
              <a:gd name="connsiteY7" fmla="*/ 11446 h 12136"/>
              <a:gd name="connsiteX8" fmla="*/ 2971 w 12277"/>
              <a:gd name="connsiteY8" fmla="*/ 8693 h 12136"/>
              <a:gd name="connsiteX9" fmla="*/ 1638 w 12277"/>
              <a:gd name="connsiteY9" fmla="*/ 6762 h 12136"/>
              <a:gd name="connsiteX10" fmla="*/ 452 w 12277"/>
              <a:gd name="connsiteY10" fmla="*/ 4476 h 12136"/>
              <a:gd name="connsiteX11" fmla="*/ 102 w 12277"/>
              <a:gd name="connsiteY11" fmla="*/ 3349 h 12136"/>
              <a:gd name="connsiteX12" fmla="*/ 34 w 12277"/>
              <a:gd name="connsiteY12" fmla="*/ 1981 h 12136"/>
              <a:gd name="connsiteX13" fmla="*/ 757 w 12277"/>
              <a:gd name="connsiteY13" fmla="*/ 799 h 12136"/>
              <a:gd name="connsiteX14" fmla="*/ 2220 w 12277"/>
              <a:gd name="connsiteY14" fmla="*/ 176 h 12136"/>
              <a:gd name="connsiteX15" fmla="*/ 4408 w 12277"/>
              <a:gd name="connsiteY15" fmla="*/ 4 h 12136"/>
              <a:gd name="connsiteX16" fmla="*/ 6577 w 12277"/>
              <a:gd name="connsiteY16" fmla="*/ 116 h 12136"/>
              <a:gd name="connsiteX0" fmla="*/ 6594 w 12294"/>
              <a:gd name="connsiteY0" fmla="*/ 116 h 12136"/>
              <a:gd name="connsiteX1" fmla="*/ 9243 w 12294"/>
              <a:gd name="connsiteY1" fmla="*/ 448 h 12136"/>
              <a:gd name="connsiteX2" fmla="*/ 12194 w 12294"/>
              <a:gd name="connsiteY2" fmla="*/ 866 h 12136"/>
              <a:gd name="connsiteX3" fmla="*/ 12264 w 12294"/>
              <a:gd name="connsiteY3" fmla="*/ 4832 h 12136"/>
              <a:gd name="connsiteX4" fmla="*/ 12289 w 12294"/>
              <a:gd name="connsiteY4" fmla="*/ 8153 h 12136"/>
              <a:gd name="connsiteX5" fmla="*/ 12270 w 12294"/>
              <a:gd name="connsiteY5" fmla="*/ 11390 h 12136"/>
              <a:gd name="connsiteX6" fmla="*/ 9673 w 12294"/>
              <a:gd name="connsiteY6" fmla="*/ 12136 h 12136"/>
              <a:gd name="connsiteX7" fmla="*/ 6232 w 12294"/>
              <a:gd name="connsiteY7" fmla="*/ 11446 h 12136"/>
              <a:gd name="connsiteX8" fmla="*/ 2988 w 12294"/>
              <a:gd name="connsiteY8" fmla="*/ 8693 h 12136"/>
              <a:gd name="connsiteX9" fmla="*/ 1655 w 12294"/>
              <a:gd name="connsiteY9" fmla="*/ 6762 h 12136"/>
              <a:gd name="connsiteX10" fmla="*/ 469 w 12294"/>
              <a:gd name="connsiteY10" fmla="*/ 4476 h 12136"/>
              <a:gd name="connsiteX11" fmla="*/ 119 w 12294"/>
              <a:gd name="connsiteY11" fmla="*/ 3349 h 12136"/>
              <a:gd name="connsiteX12" fmla="*/ 51 w 12294"/>
              <a:gd name="connsiteY12" fmla="*/ 1981 h 12136"/>
              <a:gd name="connsiteX13" fmla="*/ 774 w 12294"/>
              <a:gd name="connsiteY13" fmla="*/ 829 h 12136"/>
              <a:gd name="connsiteX14" fmla="*/ 2237 w 12294"/>
              <a:gd name="connsiteY14" fmla="*/ 176 h 12136"/>
              <a:gd name="connsiteX15" fmla="*/ 4425 w 12294"/>
              <a:gd name="connsiteY15" fmla="*/ 4 h 12136"/>
              <a:gd name="connsiteX16" fmla="*/ 6594 w 12294"/>
              <a:gd name="connsiteY16" fmla="*/ 116 h 12136"/>
              <a:gd name="connsiteX0" fmla="*/ 6577 w 12277"/>
              <a:gd name="connsiteY0" fmla="*/ 116 h 12136"/>
              <a:gd name="connsiteX1" fmla="*/ 9226 w 12277"/>
              <a:gd name="connsiteY1" fmla="*/ 448 h 12136"/>
              <a:gd name="connsiteX2" fmla="*/ 12177 w 12277"/>
              <a:gd name="connsiteY2" fmla="*/ 866 h 12136"/>
              <a:gd name="connsiteX3" fmla="*/ 12247 w 12277"/>
              <a:gd name="connsiteY3" fmla="*/ 4832 h 12136"/>
              <a:gd name="connsiteX4" fmla="*/ 12272 w 12277"/>
              <a:gd name="connsiteY4" fmla="*/ 8153 h 12136"/>
              <a:gd name="connsiteX5" fmla="*/ 12253 w 12277"/>
              <a:gd name="connsiteY5" fmla="*/ 11390 h 12136"/>
              <a:gd name="connsiteX6" fmla="*/ 9656 w 12277"/>
              <a:gd name="connsiteY6" fmla="*/ 12136 h 12136"/>
              <a:gd name="connsiteX7" fmla="*/ 6215 w 12277"/>
              <a:gd name="connsiteY7" fmla="*/ 11446 h 12136"/>
              <a:gd name="connsiteX8" fmla="*/ 2971 w 12277"/>
              <a:gd name="connsiteY8" fmla="*/ 8693 h 12136"/>
              <a:gd name="connsiteX9" fmla="*/ 1638 w 12277"/>
              <a:gd name="connsiteY9" fmla="*/ 6762 h 12136"/>
              <a:gd name="connsiteX10" fmla="*/ 452 w 12277"/>
              <a:gd name="connsiteY10" fmla="*/ 4476 h 12136"/>
              <a:gd name="connsiteX11" fmla="*/ 102 w 12277"/>
              <a:gd name="connsiteY11" fmla="*/ 3349 h 12136"/>
              <a:gd name="connsiteX12" fmla="*/ 60 w 12277"/>
              <a:gd name="connsiteY12" fmla="*/ 1950 h 12136"/>
              <a:gd name="connsiteX13" fmla="*/ 757 w 12277"/>
              <a:gd name="connsiteY13" fmla="*/ 829 h 12136"/>
              <a:gd name="connsiteX14" fmla="*/ 2220 w 12277"/>
              <a:gd name="connsiteY14" fmla="*/ 176 h 12136"/>
              <a:gd name="connsiteX15" fmla="*/ 4408 w 12277"/>
              <a:gd name="connsiteY15" fmla="*/ 4 h 12136"/>
              <a:gd name="connsiteX16" fmla="*/ 6577 w 12277"/>
              <a:gd name="connsiteY16" fmla="*/ 116 h 12136"/>
              <a:gd name="connsiteX0" fmla="*/ 6577 w 12277"/>
              <a:gd name="connsiteY0" fmla="*/ 114 h 12134"/>
              <a:gd name="connsiteX1" fmla="*/ 9226 w 12277"/>
              <a:gd name="connsiteY1" fmla="*/ 446 h 12134"/>
              <a:gd name="connsiteX2" fmla="*/ 12177 w 12277"/>
              <a:gd name="connsiteY2" fmla="*/ 864 h 12134"/>
              <a:gd name="connsiteX3" fmla="*/ 12247 w 12277"/>
              <a:gd name="connsiteY3" fmla="*/ 4830 h 12134"/>
              <a:gd name="connsiteX4" fmla="*/ 12272 w 12277"/>
              <a:gd name="connsiteY4" fmla="*/ 8151 h 12134"/>
              <a:gd name="connsiteX5" fmla="*/ 12253 w 12277"/>
              <a:gd name="connsiteY5" fmla="*/ 11388 h 12134"/>
              <a:gd name="connsiteX6" fmla="*/ 9656 w 12277"/>
              <a:gd name="connsiteY6" fmla="*/ 12134 h 12134"/>
              <a:gd name="connsiteX7" fmla="*/ 6215 w 12277"/>
              <a:gd name="connsiteY7" fmla="*/ 11444 h 12134"/>
              <a:gd name="connsiteX8" fmla="*/ 2971 w 12277"/>
              <a:gd name="connsiteY8" fmla="*/ 8691 h 12134"/>
              <a:gd name="connsiteX9" fmla="*/ 1638 w 12277"/>
              <a:gd name="connsiteY9" fmla="*/ 6760 h 12134"/>
              <a:gd name="connsiteX10" fmla="*/ 452 w 12277"/>
              <a:gd name="connsiteY10" fmla="*/ 4474 h 12134"/>
              <a:gd name="connsiteX11" fmla="*/ 102 w 12277"/>
              <a:gd name="connsiteY11" fmla="*/ 3347 h 12134"/>
              <a:gd name="connsiteX12" fmla="*/ 60 w 12277"/>
              <a:gd name="connsiteY12" fmla="*/ 1948 h 12134"/>
              <a:gd name="connsiteX13" fmla="*/ 757 w 12277"/>
              <a:gd name="connsiteY13" fmla="*/ 827 h 12134"/>
              <a:gd name="connsiteX14" fmla="*/ 2220 w 12277"/>
              <a:gd name="connsiteY14" fmla="*/ 233 h 12134"/>
              <a:gd name="connsiteX15" fmla="*/ 4408 w 12277"/>
              <a:gd name="connsiteY15" fmla="*/ 2 h 12134"/>
              <a:gd name="connsiteX16" fmla="*/ 6577 w 12277"/>
              <a:gd name="connsiteY16" fmla="*/ 114 h 12134"/>
              <a:gd name="connsiteX0" fmla="*/ 6577 w 12277"/>
              <a:gd name="connsiteY0" fmla="*/ 114 h 12135"/>
              <a:gd name="connsiteX1" fmla="*/ 9226 w 12277"/>
              <a:gd name="connsiteY1" fmla="*/ 446 h 12135"/>
              <a:gd name="connsiteX2" fmla="*/ 12177 w 12277"/>
              <a:gd name="connsiteY2" fmla="*/ 864 h 12135"/>
              <a:gd name="connsiteX3" fmla="*/ 12247 w 12277"/>
              <a:gd name="connsiteY3" fmla="*/ 4830 h 12135"/>
              <a:gd name="connsiteX4" fmla="*/ 12272 w 12277"/>
              <a:gd name="connsiteY4" fmla="*/ 8151 h 12135"/>
              <a:gd name="connsiteX5" fmla="*/ 12253 w 12277"/>
              <a:gd name="connsiteY5" fmla="*/ 11388 h 12135"/>
              <a:gd name="connsiteX6" fmla="*/ 9656 w 12277"/>
              <a:gd name="connsiteY6" fmla="*/ 12134 h 12135"/>
              <a:gd name="connsiteX7" fmla="*/ 6163 w 12277"/>
              <a:gd name="connsiteY7" fmla="*/ 11476 h 12135"/>
              <a:gd name="connsiteX8" fmla="*/ 2971 w 12277"/>
              <a:gd name="connsiteY8" fmla="*/ 8691 h 12135"/>
              <a:gd name="connsiteX9" fmla="*/ 1638 w 12277"/>
              <a:gd name="connsiteY9" fmla="*/ 6760 h 12135"/>
              <a:gd name="connsiteX10" fmla="*/ 452 w 12277"/>
              <a:gd name="connsiteY10" fmla="*/ 4474 h 12135"/>
              <a:gd name="connsiteX11" fmla="*/ 102 w 12277"/>
              <a:gd name="connsiteY11" fmla="*/ 3347 h 12135"/>
              <a:gd name="connsiteX12" fmla="*/ 60 w 12277"/>
              <a:gd name="connsiteY12" fmla="*/ 1948 h 12135"/>
              <a:gd name="connsiteX13" fmla="*/ 757 w 12277"/>
              <a:gd name="connsiteY13" fmla="*/ 827 h 12135"/>
              <a:gd name="connsiteX14" fmla="*/ 2220 w 12277"/>
              <a:gd name="connsiteY14" fmla="*/ 233 h 12135"/>
              <a:gd name="connsiteX15" fmla="*/ 4408 w 12277"/>
              <a:gd name="connsiteY15" fmla="*/ 2 h 12135"/>
              <a:gd name="connsiteX16" fmla="*/ 6577 w 12277"/>
              <a:gd name="connsiteY16" fmla="*/ 114 h 12135"/>
              <a:gd name="connsiteX0" fmla="*/ 6577 w 12459"/>
              <a:gd name="connsiteY0" fmla="*/ 114 h 12109"/>
              <a:gd name="connsiteX1" fmla="*/ 9226 w 12459"/>
              <a:gd name="connsiteY1" fmla="*/ 446 h 12109"/>
              <a:gd name="connsiteX2" fmla="*/ 12177 w 12459"/>
              <a:gd name="connsiteY2" fmla="*/ 864 h 12109"/>
              <a:gd name="connsiteX3" fmla="*/ 12247 w 12459"/>
              <a:gd name="connsiteY3" fmla="*/ 4830 h 12109"/>
              <a:gd name="connsiteX4" fmla="*/ 12272 w 12459"/>
              <a:gd name="connsiteY4" fmla="*/ 8151 h 12109"/>
              <a:gd name="connsiteX5" fmla="*/ 12253 w 12459"/>
              <a:gd name="connsiteY5" fmla="*/ 11388 h 12109"/>
              <a:gd name="connsiteX6" fmla="*/ 9552 w 12459"/>
              <a:gd name="connsiteY6" fmla="*/ 12108 h 12109"/>
              <a:gd name="connsiteX7" fmla="*/ 6163 w 12459"/>
              <a:gd name="connsiteY7" fmla="*/ 11476 h 12109"/>
              <a:gd name="connsiteX8" fmla="*/ 2971 w 12459"/>
              <a:gd name="connsiteY8" fmla="*/ 8691 h 12109"/>
              <a:gd name="connsiteX9" fmla="*/ 1638 w 12459"/>
              <a:gd name="connsiteY9" fmla="*/ 6760 h 12109"/>
              <a:gd name="connsiteX10" fmla="*/ 452 w 12459"/>
              <a:gd name="connsiteY10" fmla="*/ 4474 h 12109"/>
              <a:gd name="connsiteX11" fmla="*/ 102 w 12459"/>
              <a:gd name="connsiteY11" fmla="*/ 3347 h 12109"/>
              <a:gd name="connsiteX12" fmla="*/ 60 w 12459"/>
              <a:gd name="connsiteY12" fmla="*/ 1948 h 12109"/>
              <a:gd name="connsiteX13" fmla="*/ 757 w 12459"/>
              <a:gd name="connsiteY13" fmla="*/ 827 h 12109"/>
              <a:gd name="connsiteX14" fmla="*/ 2220 w 12459"/>
              <a:gd name="connsiteY14" fmla="*/ 233 h 12109"/>
              <a:gd name="connsiteX15" fmla="*/ 4408 w 12459"/>
              <a:gd name="connsiteY15" fmla="*/ 2 h 12109"/>
              <a:gd name="connsiteX16" fmla="*/ 6577 w 12459"/>
              <a:gd name="connsiteY16" fmla="*/ 114 h 12109"/>
              <a:gd name="connsiteX0" fmla="*/ 6577 w 12274"/>
              <a:gd name="connsiteY0" fmla="*/ 114 h 12109"/>
              <a:gd name="connsiteX1" fmla="*/ 9226 w 12274"/>
              <a:gd name="connsiteY1" fmla="*/ 446 h 12109"/>
              <a:gd name="connsiteX2" fmla="*/ 12177 w 12274"/>
              <a:gd name="connsiteY2" fmla="*/ 864 h 12109"/>
              <a:gd name="connsiteX3" fmla="*/ 12247 w 12274"/>
              <a:gd name="connsiteY3" fmla="*/ 4830 h 12109"/>
              <a:gd name="connsiteX4" fmla="*/ 12272 w 12274"/>
              <a:gd name="connsiteY4" fmla="*/ 8151 h 12109"/>
              <a:gd name="connsiteX5" fmla="*/ 12253 w 12274"/>
              <a:gd name="connsiteY5" fmla="*/ 11388 h 12109"/>
              <a:gd name="connsiteX6" fmla="*/ 9552 w 12274"/>
              <a:gd name="connsiteY6" fmla="*/ 12108 h 12109"/>
              <a:gd name="connsiteX7" fmla="*/ 6163 w 12274"/>
              <a:gd name="connsiteY7" fmla="*/ 11476 h 12109"/>
              <a:gd name="connsiteX8" fmla="*/ 2971 w 12274"/>
              <a:gd name="connsiteY8" fmla="*/ 8691 h 12109"/>
              <a:gd name="connsiteX9" fmla="*/ 1638 w 12274"/>
              <a:gd name="connsiteY9" fmla="*/ 6760 h 12109"/>
              <a:gd name="connsiteX10" fmla="*/ 452 w 12274"/>
              <a:gd name="connsiteY10" fmla="*/ 4474 h 12109"/>
              <a:gd name="connsiteX11" fmla="*/ 102 w 12274"/>
              <a:gd name="connsiteY11" fmla="*/ 3347 h 12109"/>
              <a:gd name="connsiteX12" fmla="*/ 60 w 12274"/>
              <a:gd name="connsiteY12" fmla="*/ 1948 h 12109"/>
              <a:gd name="connsiteX13" fmla="*/ 757 w 12274"/>
              <a:gd name="connsiteY13" fmla="*/ 827 h 12109"/>
              <a:gd name="connsiteX14" fmla="*/ 2220 w 12274"/>
              <a:gd name="connsiteY14" fmla="*/ 233 h 12109"/>
              <a:gd name="connsiteX15" fmla="*/ 4408 w 12274"/>
              <a:gd name="connsiteY15" fmla="*/ 2 h 12109"/>
              <a:gd name="connsiteX16" fmla="*/ 6577 w 12274"/>
              <a:gd name="connsiteY16" fmla="*/ 114 h 12109"/>
              <a:gd name="connsiteX0" fmla="*/ 6577 w 12278"/>
              <a:gd name="connsiteY0" fmla="*/ 114 h 12109"/>
              <a:gd name="connsiteX1" fmla="*/ 9226 w 12278"/>
              <a:gd name="connsiteY1" fmla="*/ 446 h 12109"/>
              <a:gd name="connsiteX2" fmla="*/ 12177 w 12278"/>
              <a:gd name="connsiteY2" fmla="*/ 864 h 12109"/>
              <a:gd name="connsiteX3" fmla="*/ 12247 w 12278"/>
              <a:gd name="connsiteY3" fmla="*/ 4830 h 12109"/>
              <a:gd name="connsiteX4" fmla="*/ 12272 w 12278"/>
              <a:gd name="connsiteY4" fmla="*/ 8151 h 12109"/>
              <a:gd name="connsiteX5" fmla="*/ 12253 w 12278"/>
              <a:gd name="connsiteY5" fmla="*/ 11388 h 12109"/>
              <a:gd name="connsiteX6" fmla="*/ 9552 w 12278"/>
              <a:gd name="connsiteY6" fmla="*/ 12108 h 12109"/>
              <a:gd name="connsiteX7" fmla="*/ 6163 w 12278"/>
              <a:gd name="connsiteY7" fmla="*/ 11476 h 12109"/>
              <a:gd name="connsiteX8" fmla="*/ 2971 w 12278"/>
              <a:gd name="connsiteY8" fmla="*/ 8691 h 12109"/>
              <a:gd name="connsiteX9" fmla="*/ 1638 w 12278"/>
              <a:gd name="connsiteY9" fmla="*/ 6760 h 12109"/>
              <a:gd name="connsiteX10" fmla="*/ 452 w 12278"/>
              <a:gd name="connsiteY10" fmla="*/ 4474 h 12109"/>
              <a:gd name="connsiteX11" fmla="*/ 102 w 12278"/>
              <a:gd name="connsiteY11" fmla="*/ 3347 h 12109"/>
              <a:gd name="connsiteX12" fmla="*/ 60 w 12278"/>
              <a:gd name="connsiteY12" fmla="*/ 1948 h 12109"/>
              <a:gd name="connsiteX13" fmla="*/ 757 w 12278"/>
              <a:gd name="connsiteY13" fmla="*/ 827 h 12109"/>
              <a:gd name="connsiteX14" fmla="*/ 2220 w 12278"/>
              <a:gd name="connsiteY14" fmla="*/ 233 h 12109"/>
              <a:gd name="connsiteX15" fmla="*/ 4408 w 12278"/>
              <a:gd name="connsiteY15" fmla="*/ 2 h 12109"/>
              <a:gd name="connsiteX16" fmla="*/ 6577 w 12278"/>
              <a:gd name="connsiteY16" fmla="*/ 114 h 12109"/>
              <a:gd name="connsiteX0" fmla="*/ 6577 w 12286"/>
              <a:gd name="connsiteY0" fmla="*/ 114 h 12109"/>
              <a:gd name="connsiteX1" fmla="*/ 9226 w 12286"/>
              <a:gd name="connsiteY1" fmla="*/ 446 h 12109"/>
              <a:gd name="connsiteX2" fmla="*/ 12177 w 12286"/>
              <a:gd name="connsiteY2" fmla="*/ 864 h 12109"/>
              <a:gd name="connsiteX3" fmla="*/ 12247 w 12286"/>
              <a:gd name="connsiteY3" fmla="*/ 4830 h 12109"/>
              <a:gd name="connsiteX4" fmla="*/ 12272 w 12286"/>
              <a:gd name="connsiteY4" fmla="*/ 8151 h 12109"/>
              <a:gd name="connsiteX5" fmla="*/ 12253 w 12286"/>
              <a:gd name="connsiteY5" fmla="*/ 11388 h 12109"/>
              <a:gd name="connsiteX6" fmla="*/ 9552 w 12286"/>
              <a:gd name="connsiteY6" fmla="*/ 12108 h 12109"/>
              <a:gd name="connsiteX7" fmla="*/ 6163 w 12286"/>
              <a:gd name="connsiteY7" fmla="*/ 11476 h 12109"/>
              <a:gd name="connsiteX8" fmla="*/ 2971 w 12286"/>
              <a:gd name="connsiteY8" fmla="*/ 8691 h 12109"/>
              <a:gd name="connsiteX9" fmla="*/ 1638 w 12286"/>
              <a:gd name="connsiteY9" fmla="*/ 6760 h 12109"/>
              <a:gd name="connsiteX10" fmla="*/ 452 w 12286"/>
              <a:gd name="connsiteY10" fmla="*/ 4474 h 12109"/>
              <a:gd name="connsiteX11" fmla="*/ 102 w 12286"/>
              <a:gd name="connsiteY11" fmla="*/ 3347 h 12109"/>
              <a:gd name="connsiteX12" fmla="*/ 60 w 12286"/>
              <a:gd name="connsiteY12" fmla="*/ 1948 h 12109"/>
              <a:gd name="connsiteX13" fmla="*/ 757 w 12286"/>
              <a:gd name="connsiteY13" fmla="*/ 827 h 12109"/>
              <a:gd name="connsiteX14" fmla="*/ 2220 w 12286"/>
              <a:gd name="connsiteY14" fmla="*/ 233 h 12109"/>
              <a:gd name="connsiteX15" fmla="*/ 4408 w 12286"/>
              <a:gd name="connsiteY15" fmla="*/ 2 h 12109"/>
              <a:gd name="connsiteX16" fmla="*/ 6577 w 12286"/>
              <a:gd name="connsiteY16" fmla="*/ 114 h 12109"/>
              <a:gd name="connsiteX0" fmla="*/ 6577 w 12286"/>
              <a:gd name="connsiteY0" fmla="*/ 114 h 12109"/>
              <a:gd name="connsiteX1" fmla="*/ 9226 w 12286"/>
              <a:gd name="connsiteY1" fmla="*/ 446 h 12109"/>
              <a:gd name="connsiteX2" fmla="*/ 12216 w 12286"/>
              <a:gd name="connsiteY2" fmla="*/ 892 h 12109"/>
              <a:gd name="connsiteX3" fmla="*/ 12247 w 12286"/>
              <a:gd name="connsiteY3" fmla="*/ 4830 h 12109"/>
              <a:gd name="connsiteX4" fmla="*/ 12272 w 12286"/>
              <a:gd name="connsiteY4" fmla="*/ 8151 h 12109"/>
              <a:gd name="connsiteX5" fmla="*/ 12253 w 12286"/>
              <a:gd name="connsiteY5" fmla="*/ 11388 h 12109"/>
              <a:gd name="connsiteX6" fmla="*/ 9552 w 12286"/>
              <a:gd name="connsiteY6" fmla="*/ 12108 h 12109"/>
              <a:gd name="connsiteX7" fmla="*/ 6163 w 12286"/>
              <a:gd name="connsiteY7" fmla="*/ 11476 h 12109"/>
              <a:gd name="connsiteX8" fmla="*/ 2971 w 12286"/>
              <a:gd name="connsiteY8" fmla="*/ 8691 h 12109"/>
              <a:gd name="connsiteX9" fmla="*/ 1638 w 12286"/>
              <a:gd name="connsiteY9" fmla="*/ 6760 h 12109"/>
              <a:gd name="connsiteX10" fmla="*/ 452 w 12286"/>
              <a:gd name="connsiteY10" fmla="*/ 4474 h 12109"/>
              <a:gd name="connsiteX11" fmla="*/ 102 w 12286"/>
              <a:gd name="connsiteY11" fmla="*/ 3347 h 12109"/>
              <a:gd name="connsiteX12" fmla="*/ 60 w 12286"/>
              <a:gd name="connsiteY12" fmla="*/ 1948 h 12109"/>
              <a:gd name="connsiteX13" fmla="*/ 757 w 12286"/>
              <a:gd name="connsiteY13" fmla="*/ 827 h 12109"/>
              <a:gd name="connsiteX14" fmla="*/ 2220 w 12286"/>
              <a:gd name="connsiteY14" fmla="*/ 233 h 12109"/>
              <a:gd name="connsiteX15" fmla="*/ 4408 w 12286"/>
              <a:gd name="connsiteY15" fmla="*/ 2 h 12109"/>
              <a:gd name="connsiteX16" fmla="*/ 6577 w 12286"/>
              <a:gd name="connsiteY16" fmla="*/ 114 h 12109"/>
              <a:gd name="connsiteX0" fmla="*/ 6577 w 12286"/>
              <a:gd name="connsiteY0" fmla="*/ 114 h 12109"/>
              <a:gd name="connsiteX1" fmla="*/ 9226 w 12286"/>
              <a:gd name="connsiteY1" fmla="*/ 446 h 12109"/>
              <a:gd name="connsiteX2" fmla="*/ 12216 w 12286"/>
              <a:gd name="connsiteY2" fmla="*/ 892 h 12109"/>
              <a:gd name="connsiteX3" fmla="*/ 12247 w 12286"/>
              <a:gd name="connsiteY3" fmla="*/ 4830 h 12109"/>
              <a:gd name="connsiteX4" fmla="*/ 12272 w 12286"/>
              <a:gd name="connsiteY4" fmla="*/ 8151 h 12109"/>
              <a:gd name="connsiteX5" fmla="*/ 12253 w 12286"/>
              <a:gd name="connsiteY5" fmla="*/ 11388 h 12109"/>
              <a:gd name="connsiteX6" fmla="*/ 9552 w 12286"/>
              <a:gd name="connsiteY6" fmla="*/ 12108 h 12109"/>
              <a:gd name="connsiteX7" fmla="*/ 6163 w 12286"/>
              <a:gd name="connsiteY7" fmla="*/ 11476 h 12109"/>
              <a:gd name="connsiteX8" fmla="*/ 2971 w 12286"/>
              <a:gd name="connsiteY8" fmla="*/ 8691 h 12109"/>
              <a:gd name="connsiteX9" fmla="*/ 1638 w 12286"/>
              <a:gd name="connsiteY9" fmla="*/ 6760 h 12109"/>
              <a:gd name="connsiteX10" fmla="*/ 452 w 12286"/>
              <a:gd name="connsiteY10" fmla="*/ 4474 h 12109"/>
              <a:gd name="connsiteX11" fmla="*/ 102 w 12286"/>
              <a:gd name="connsiteY11" fmla="*/ 3347 h 12109"/>
              <a:gd name="connsiteX12" fmla="*/ 60 w 12286"/>
              <a:gd name="connsiteY12" fmla="*/ 1948 h 12109"/>
              <a:gd name="connsiteX13" fmla="*/ 757 w 12286"/>
              <a:gd name="connsiteY13" fmla="*/ 827 h 12109"/>
              <a:gd name="connsiteX14" fmla="*/ 2220 w 12286"/>
              <a:gd name="connsiteY14" fmla="*/ 233 h 12109"/>
              <a:gd name="connsiteX15" fmla="*/ 4408 w 12286"/>
              <a:gd name="connsiteY15" fmla="*/ 2 h 12109"/>
              <a:gd name="connsiteX16" fmla="*/ 6577 w 12286"/>
              <a:gd name="connsiteY16" fmla="*/ 114 h 12109"/>
              <a:gd name="connsiteX0" fmla="*/ 6577 w 12286"/>
              <a:gd name="connsiteY0" fmla="*/ 114 h 12109"/>
              <a:gd name="connsiteX1" fmla="*/ 9226 w 12286"/>
              <a:gd name="connsiteY1" fmla="*/ 446 h 12109"/>
              <a:gd name="connsiteX2" fmla="*/ 12190 w 12286"/>
              <a:gd name="connsiteY2" fmla="*/ 834 h 12109"/>
              <a:gd name="connsiteX3" fmla="*/ 12247 w 12286"/>
              <a:gd name="connsiteY3" fmla="*/ 4830 h 12109"/>
              <a:gd name="connsiteX4" fmla="*/ 12272 w 12286"/>
              <a:gd name="connsiteY4" fmla="*/ 8151 h 12109"/>
              <a:gd name="connsiteX5" fmla="*/ 12253 w 12286"/>
              <a:gd name="connsiteY5" fmla="*/ 11388 h 12109"/>
              <a:gd name="connsiteX6" fmla="*/ 9552 w 12286"/>
              <a:gd name="connsiteY6" fmla="*/ 12108 h 12109"/>
              <a:gd name="connsiteX7" fmla="*/ 6163 w 12286"/>
              <a:gd name="connsiteY7" fmla="*/ 11476 h 12109"/>
              <a:gd name="connsiteX8" fmla="*/ 2971 w 12286"/>
              <a:gd name="connsiteY8" fmla="*/ 8691 h 12109"/>
              <a:gd name="connsiteX9" fmla="*/ 1638 w 12286"/>
              <a:gd name="connsiteY9" fmla="*/ 6760 h 12109"/>
              <a:gd name="connsiteX10" fmla="*/ 452 w 12286"/>
              <a:gd name="connsiteY10" fmla="*/ 4474 h 12109"/>
              <a:gd name="connsiteX11" fmla="*/ 102 w 12286"/>
              <a:gd name="connsiteY11" fmla="*/ 3347 h 12109"/>
              <a:gd name="connsiteX12" fmla="*/ 60 w 12286"/>
              <a:gd name="connsiteY12" fmla="*/ 1948 h 12109"/>
              <a:gd name="connsiteX13" fmla="*/ 757 w 12286"/>
              <a:gd name="connsiteY13" fmla="*/ 827 h 12109"/>
              <a:gd name="connsiteX14" fmla="*/ 2220 w 12286"/>
              <a:gd name="connsiteY14" fmla="*/ 233 h 12109"/>
              <a:gd name="connsiteX15" fmla="*/ 4408 w 12286"/>
              <a:gd name="connsiteY15" fmla="*/ 2 h 12109"/>
              <a:gd name="connsiteX16" fmla="*/ 6577 w 12286"/>
              <a:gd name="connsiteY16" fmla="*/ 114 h 12109"/>
              <a:gd name="connsiteX0" fmla="*/ 6577 w 12282"/>
              <a:gd name="connsiteY0" fmla="*/ 114 h 12109"/>
              <a:gd name="connsiteX1" fmla="*/ 9226 w 12282"/>
              <a:gd name="connsiteY1" fmla="*/ 446 h 12109"/>
              <a:gd name="connsiteX2" fmla="*/ 12190 w 12282"/>
              <a:gd name="connsiteY2" fmla="*/ 834 h 12109"/>
              <a:gd name="connsiteX3" fmla="*/ 12247 w 12282"/>
              <a:gd name="connsiteY3" fmla="*/ 4830 h 12109"/>
              <a:gd name="connsiteX4" fmla="*/ 12272 w 12282"/>
              <a:gd name="connsiteY4" fmla="*/ 8151 h 12109"/>
              <a:gd name="connsiteX5" fmla="*/ 12253 w 12282"/>
              <a:gd name="connsiteY5" fmla="*/ 11388 h 12109"/>
              <a:gd name="connsiteX6" fmla="*/ 9552 w 12282"/>
              <a:gd name="connsiteY6" fmla="*/ 12108 h 12109"/>
              <a:gd name="connsiteX7" fmla="*/ 6163 w 12282"/>
              <a:gd name="connsiteY7" fmla="*/ 11476 h 12109"/>
              <a:gd name="connsiteX8" fmla="*/ 2971 w 12282"/>
              <a:gd name="connsiteY8" fmla="*/ 8691 h 12109"/>
              <a:gd name="connsiteX9" fmla="*/ 1638 w 12282"/>
              <a:gd name="connsiteY9" fmla="*/ 6760 h 12109"/>
              <a:gd name="connsiteX10" fmla="*/ 452 w 12282"/>
              <a:gd name="connsiteY10" fmla="*/ 4474 h 12109"/>
              <a:gd name="connsiteX11" fmla="*/ 102 w 12282"/>
              <a:gd name="connsiteY11" fmla="*/ 3347 h 12109"/>
              <a:gd name="connsiteX12" fmla="*/ 60 w 12282"/>
              <a:gd name="connsiteY12" fmla="*/ 1948 h 12109"/>
              <a:gd name="connsiteX13" fmla="*/ 757 w 12282"/>
              <a:gd name="connsiteY13" fmla="*/ 827 h 12109"/>
              <a:gd name="connsiteX14" fmla="*/ 2220 w 12282"/>
              <a:gd name="connsiteY14" fmla="*/ 233 h 12109"/>
              <a:gd name="connsiteX15" fmla="*/ 4408 w 12282"/>
              <a:gd name="connsiteY15" fmla="*/ 2 h 12109"/>
              <a:gd name="connsiteX16" fmla="*/ 6577 w 12282"/>
              <a:gd name="connsiteY16" fmla="*/ 114 h 12109"/>
              <a:gd name="connsiteX0" fmla="*/ 6577 w 12295"/>
              <a:gd name="connsiteY0" fmla="*/ 114 h 12109"/>
              <a:gd name="connsiteX1" fmla="*/ 9226 w 12295"/>
              <a:gd name="connsiteY1" fmla="*/ 446 h 12109"/>
              <a:gd name="connsiteX2" fmla="*/ 12190 w 12295"/>
              <a:gd name="connsiteY2" fmla="*/ 834 h 12109"/>
              <a:gd name="connsiteX3" fmla="*/ 12247 w 12295"/>
              <a:gd name="connsiteY3" fmla="*/ 4830 h 12109"/>
              <a:gd name="connsiteX4" fmla="*/ 12272 w 12295"/>
              <a:gd name="connsiteY4" fmla="*/ 8151 h 12109"/>
              <a:gd name="connsiteX5" fmla="*/ 12253 w 12295"/>
              <a:gd name="connsiteY5" fmla="*/ 11388 h 12109"/>
              <a:gd name="connsiteX6" fmla="*/ 9552 w 12295"/>
              <a:gd name="connsiteY6" fmla="*/ 12108 h 12109"/>
              <a:gd name="connsiteX7" fmla="*/ 6163 w 12295"/>
              <a:gd name="connsiteY7" fmla="*/ 11476 h 12109"/>
              <a:gd name="connsiteX8" fmla="*/ 2971 w 12295"/>
              <a:gd name="connsiteY8" fmla="*/ 8691 h 12109"/>
              <a:gd name="connsiteX9" fmla="*/ 1638 w 12295"/>
              <a:gd name="connsiteY9" fmla="*/ 6760 h 12109"/>
              <a:gd name="connsiteX10" fmla="*/ 452 w 12295"/>
              <a:gd name="connsiteY10" fmla="*/ 4474 h 12109"/>
              <a:gd name="connsiteX11" fmla="*/ 102 w 12295"/>
              <a:gd name="connsiteY11" fmla="*/ 3347 h 12109"/>
              <a:gd name="connsiteX12" fmla="*/ 60 w 12295"/>
              <a:gd name="connsiteY12" fmla="*/ 1948 h 12109"/>
              <a:gd name="connsiteX13" fmla="*/ 757 w 12295"/>
              <a:gd name="connsiteY13" fmla="*/ 827 h 12109"/>
              <a:gd name="connsiteX14" fmla="*/ 2220 w 12295"/>
              <a:gd name="connsiteY14" fmla="*/ 233 h 12109"/>
              <a:gd name="connsiteX15" fmla="*/ 4408 w 12295"/>
              <a:gd name="connsiteY15" fmla="*/ 2 h 12109"/>
              <a:gd name="connsiteX16" fmla="*/ 6577 w 12295"/>
              <a:gd name="connsiteY16" fmla="*/ 114 h 12109"/>
              <a:gd name="connsiteX0" fmla="*/ 6577 w 12280"/>
              <a:gd name="connsiteY0" fmla="*/ 114 h 12109"/>
              <a:gd name="connsiteX1" fmla="*/ 9226 w 12280"/>
              <a:gd name="connsiteY1" fmla="*/ 446 h 12109"/>
              <a:gd name="connsiteX2" fmla="*/ 12190 w 12280"/>
              <a:gd name="connsiteY2" fmla="*/ 834 h 12109"/>
              <a:gd name="connsiteX3" fmla="*/ 12247 w 12280"/>
              <a:gd name="connsiteY3" fmla="*/ 4830 h 12109"/>
              <a:gd name="connsiteX4" fmla="*/ 12272 w 12280"/>
              <a:gd name="connsiteY4" fmla="*/ 8151 h 12109"/>
              <a:gd name="connsiteX5" fmla="*/ 12253 w 12280"/>
              <a:gd name="connsiteY5" fmla="*/ 11388 h 12109"/>
              <a:gd name="connsiteX6" fmla="*/ 9552 w 12280"/>
              <a:gd name="connsiteY6" fmla="*/ 12108 h 12109"/>
              <a:gd name="connsiteX7" fmla="*/ 6163 w 12280"/>
              <a:gd name="connsiteY7" fmla="*/ 11476 h 12109"/>
              <a:gd name="connsiteX8" fmla="*/ 2971 w 12280"/>
              <a:gd name="connsiteY8" fmla="*/ 8691 h 12109"/>
              <a:gd name="connsiteX9" fmla="*/ 1638 w 12280"/>
              <a:gd name="connsiteY9" fmla="*/ 6760 h 12109"/>
              <a:gd name="connsiteX10" fmla="*/ 452 w 12280"/>
              <a:gd name="connsiteY10" fmla="*/ 4474 h 12109"/>
              <a:gd name="connsiteX11" fmla="*/ 102 w 12280"/>
              <a:gd name="connsiteY11" fmla="*/ 3347 h 12109"/>
              <a:gd name="connsiteX12" fmla="*/ 60 w 12280"/>
              <a:gd name="connsiteY12" fmla="*/ 1948 h 12109"/>
              <a:gd name="connsiteX13" fmla="*/ 757 w 12280"/>
              <a:gd name="connsiteY13" fmla="*/ 827 h 12109"/>
              <a:gd name="connsiteX14" fmla="*/ 2220 w 12280"/>
              <a:gd name="connsiteY14" fmla="*/ 233 h 12109"/>
              <a:gd name="connsiteX15" fmla="*/ 4408 w 12280"/>
              <a:gd name="connsiteY15" fmla="*/ 2 h 12109"/>
              <a:gd name="connsiteX16" fmla="*/ 6577 w 12280"/>
              <a:gd name="connsiteY16" fmla="*/ 114 h 12109"/>
              <a:gd name="connsiteX0" fmla="*/ 6577 w 12461"/>
              <a:gd name="connsiteY0" fmla="*/ 114 h 12109"/>
              <a:gd name="connsiteX1" fmla="*/ 9226 w 12461"/>
              <a:gd name="connsiteY1" fmla="*/ 446 h 12109"/>
              <a:gd name="connsiteX2" fmla="*/ 12190 w 12461"/>
              <a:gd name="connsiteY2" fmla="*/ 834 h 12109"/>
              <a:gd name="connsiteX3" fmla="*/ 12247 w 12461"/>
              <a:gd name="connsiteY3" fmla="*/ 4830 h 12109"/>
              <a:gd name="connsiteX4" fmla="*/ 12259 w 12461"/>
              <a:gd name="connsiteY4" fmla="*/ 8181 h 12109"/>
              <a:gd name="connsiteX5" fmla="*/ 12253 w 12461"/>
              <a:gd name="connsiteY5" fmla="*/ 11388 h 12109"/>
              <a:gd name="connsiteX6" fmla="*/ 9552 w 12461"/>
              <a:gd name="connsiteY6" fmla="*/ 12108 h 12109"/>
              <a:gd name="connsiteX7" fmla="*/ 6163 w 12461"/>
              <a:gd name="connsiteY7" fmla="*/ 11476 h 12109"/>
              <a:gd name="connsiteX8" fmla="*/ 2971 w 12461"/>
              <a:gd name="connsiteY8" fmla="*/ 8691 h 12109"/>
              <a:gd name="connsiteX9" fmla="*/ 1638 w 12461"/>
              <a:gd name="connsiteY9" fmla="*/ 6760 h 12109"/>
              <a:gd name="connsiteX10" fmla="*/ 452 w 12461"/>
              <a:gd name="connsiteY10" fmla="*/ 4474 h 12109"/>
              <a:gd name="connsiteX11" fmla="*/ 102 w 12461"/>
              <a:gd name="connsiteY11" fmla="*/ 3347 h 12109"/>
              <a:gd name="connsiteX12" fmla="*/ 60 w 12461"/>
              <a:gd name="connsiteY12" fmla="*/ 1948 h 12109"/>
              <a:gd name="connsiteX13" fmla="*/ 757 w 12461"/>
              <a:gd name="connsiteY13" fmla="*/ 827 h 12109"/>
              <a:gd name="connsiteX14" fmla="*/ 2220 w 12461"/>
              <a:gd name="connsiteY14" fmla="*/ 233 h 12109"/>
              <a:gd name="connsiteX15" fmla="*/ 4408 w 12461"/>
              <a:gd name="connsiteY15" fmla="*/ 2 h 12109"/>
              <a:gd name="connsiteX16" fmla="*/ 6577 w 12461"/>
              <a:gd name="connsiteY16" fmla="*/ 114 h 12109"/>
              <a:gd name="connsiteX0" fmla="*/ 6577 w 12460"/>
              <a:gd name="connsiteY0" fmla="*/ 114 h 12109"/>
              <a:gd name="connsiteX1" fmla="*/ 9226 w 12460"/>
              <a:gd name="connsiteY1" fmla="*/ 446 h 12109"/>
              <a:gd name="connsiteX2" fmla="*/ 12190 w 12460"/>
              <a:gd name="connsiteY2" fmla="*/ 834 h 12109"/>
              <a:gd name="connsiteX3" fmla="*/ 12247 w 12460"/>
              <a:gd name="connsiteY3" fmla="*/ 4830 h 12109"/>
              <a:gd name="connsiteX4" fmla="*/ 12259 w 12460"/>
              <a:gd name="connsiteY4" fmla="*/ 8181 h 12109"/>
              <a:gd name="connsiteX5" fmla="*/ 12253 w 12460"/>
              <a:gd name="connsiteY5" fmla="*/ 11388 h 12109"/>
              <a:gd name="connsiteX6" fmla="*/ 9552 w 12460"/>
              <a:gd name="connsiteY6" fmla="*/ 12108 h 12109"/>
              <a:gd name="connsiteX7" fmla="*/ 6163 w 12460"/>
              <a:gd name="connsiteY7" fmla="*/ 11476 h 12109"/>
              <a:gd name="connsiteX8" fmla="*/ 2971 w 12460"/>
              <a:gd name="connsiteY8" fmla="*/ 8691 h 12109"/>
              <a:gd name="connsiteX9" fmla="*/ 1638 w 12460"/>
              <a:gd name="connsiteY9" fmla="*/ 6760 h 12109"/>
              <a:gd name="connsiteX10" fmla="*/ 452 w 12460"/>
              <a:gd name="connsiteY10" fmla="*/ 4474 h 12109"/>
              <a:gd name="connsiteX11" fmla="*/ 102 w 12460"/>
              <a:gd name="connsiteY11" fmla="*/ 3347 h 12109"/>
              <a:gd name="connsiteX12" fmla="*/ 60 w 12460"/>
              <a:gd name="connsiteY12" fmla="*/ 1948 h 12109"/>
              <a:gd name="connsiteX13" fmla="*/ 757 w 12460"/>
              <a:gd name="connsiteY13" fmla="*/ 827 h 12109"/>
              <a:gd name="connsiteX14" fmla="*/ 2220 w 12460"/>
              <a:gd name="connsiteY14" fmla="*/ 233 h 12109"/>
              <a:gd name="connsiteX15" fmla="*/ 4408 w 12460"/>
              <a:gd name="connsiteY15" fmla="*/ 2 h 12109"/>
              <a:gd name="connsiteX16" fmla="*/ 6577 w 12460"/>
              <a:gd name="connsiteY16" fmla="*/ 114 h 12109"/>
              <a:gd name="connsiteX0" fmla="*/ 6577 w 12291"/>
              <a:gd name="connsiteY0" fmla="*/ 114 h 12109"/>
              <a:gd name="connsiteX1" fmla="*/ 9226 w 12291"/>
              <a:gd name="connsiteY1" fmla="*/ 446 h 12109"/>
              <a:gd name="connsiteX2" fmla="*/ 12190 w 12291"/>
              <a:gd name="connsiteY2" fmla="*/ 834 h 12109"/>
              <a:gd name="connsiteX3" fmla="*/ 12247 w 12291"/>
              <a:gd name="connsiteY3" fmla="*/ 4830 h 12109"/>
              <a:gd name="connsiteX4" fmla="*/ 12259 w 12291"/>
              <a:gd name="connsiteY4" fmla="*/ 8181 h 12109"/>
              <a:gd name="connsiteX5" fmla="*/ 12253 w 12291"/>
              <a:gd name="connsiteY5" fmla="*/ 11388 h 12109"/>
              <a:gd name="connsiteX6" fmla="*/ 9552 w 12291"/>
              <a:gd name="connsiteY6" fmla="*/ 12108 h 12109"/>
              <a:gd name="connsiteX7" fmla="*/ 6163 w 12291"/>
              <a:gd name="connsiteY7" fmla="*/ 11476 h 12109"/>
              <a:gd name="connsiteX8" fmla="*/ 2971 w 12291"/>
              <a:gd name="connsiteY8" fmla="*/ 8691 h 12109"/>
              <a:gd name="connsiteX9" fmla="*/ 1638 w 12291"/>
              <a:gd name="connsiteY9" fmla="*/ 6760 h 12109"/>
              <a:gd name="connsiteX10" fmla="*/ 452 w 12291"/>
              <a:gd name="connsiteY10" fmla="*/ 4474 h 12109"/>
              <a:gd name="connsiteX11" fmla="*/ 102 w 12291"/>
              <a:gd name="connsiteY11" fmla="*/ 3347 h 12109"/>
              <a:gd name="connsiteX12" fmla="*/ 60 w 12291"/>
              <a:gd name="connsiteY12" fmla="*/ 1948 h 12109"/>
              <a:gd name="connsiteX13" fmla="*/ 757 w 12291"/>
              <a:gd name="connsiteY13" fmla="*/ 827 h 12109"/>
              <a:gd name="connsiteX14" fmla="*/ 2220 w 12291"/>
              <a:gd name="connsiteY14" fmla="*/ 233 h 12109"/>
              <a:gd name="connsiteX15" fmla="*/ 4408 w 12291"/>
              <a:gd name="connsiteY15" fmla="*/ 2 h 12109"/>
              <a:gd name="connsiteX16" fmla="*/ 6577 w 12291"/>
              <a:gd name="connsiteY16" fmla="*/ 114 h 12109"/>
              <a:gd name="connsiteX0" fmla="*/ 6577 w 12419"/>
              <a:gd name="connsiteY0" fmla="*/ 114 h 12109"/>
              <a:gd name="connsiteX1" fmla="*/ 9226 w 12419"/>
              <a:gd name="connsiteY1" fmla="*/ 446 h 12109"/>
              <a:gd name="connsiteX2" fmla="*/ 12190 w 12419"/>
              <a:gd name="connsiteY2" fmla="*/ 834 h 12109"/>
              <a:gd name="connsiteX3" fmla="*/ 12225 w 12419"/>
              <a:gd name="connsiteY3" fmla="*/ 4856 h 12109"/>
              <a:gd name="connsiteX4" fmla="*/ 12259 w 12419"/>
              <a:gd name="connsiteY4" fmla="*/ 8181 h 12109"/>
              <a:gd name="connsiteX5" fmla="*/ 12253 w 12419"/>
              <a:gd name="connsiteY5" fmla="*/ 11388 h 12109"/>
              <a:gd name="connsiteX6" fmla="*/ 9552 w 12419"/>
              <a:gd name="connsiteY6" fmla="*/ 12108 h 12109"/>
              <a:gd name="connsiteX7" fmla="*/ 6163 w 12419"/>
              <a:gd name="connsiteY7" fmla="*/ 11476 h 12109"/>
              <a:gd name="connsiteX8" fmla="*/ 2971 w 12419"/>
              <a:gd name="connsiteY8" fmla="*/ 8691 h 12109"/>
              <a:gd name="connsiteX9" fmla="*/ 1638 w 12419"/>
              <a:gd name="connsiteY9" fmla="*/ 6760 h 12109"/>
              <a:gd name="connsiteX10" fmla="*/ 452 w 12419"/>
              <a:gd name="connsiteY10" fmla="*/ 4474 h 12109"/>
              <a:gd name="connsiteX11" fmla="*/ 102 w 12419"/>
              <a:gd name="connsiteY11" fmla="*/ 3347 h 12109"/>
              <a:gd name="connsiteX12" fmla="*/ 60 w 12419"/>
              <a:gd name="connsiteY12" fmla="*/ 1948 h 12109"/>
              <a:gd name="connsiteX13" fmla="*/ 757 w 12419"/>
              <a:gd name="connsiteY13" fmla="*/ 827 h 12109"/>
              <a:gd name="connsiteX14" fmla="*/ 2220 w 12419"/>
              <a:gd name="connsiteY14" fmla="*/ 233 h 12109"/>
              <a:gd name="connsiteX15" fmla="*/ 4408 w 12419"/>
              <a:gd name="connsiteY15" fmla="*/ 2 h 12109"/>
              <a:gd name="connsiteX16" fmla="*/ 6577 w 12419"/>
              <a:gd name="connsiteY16" fmla="*/ 114 h 12109"/>
              <a:gd name="connsiteX0" fmla="*/ 6577 w 12285"/>
              <a:gd name="connsiteY0" fmla="*/ 114 h 12109"/>
              <a:gd name="connsiteX1" fmla="*/ 9226 w 12285"/>
              <a:gd name="connsiteY1" fmla="*/ 446 h 12109"/>
              <a:gd name="connsiteX2" fmla="*/ 12190 w 12285"/>
              <a:gd name="connsiteY2" fmla="*/ 834 h 12109"/>
              <a:gd name="connsiteX3" fmla="*/ 12225 w 12285"/>
              <a:gd name="connsiteY3" fmla="*/ 4856 h 12109"/>
              <a:gd name="connsiteX4" fmla="*/ 12259 w 12285"/>
              <a:gd name="connsiteY4" fmla="*/ 8181 h 12109"/>
              <a:gd name="connsiteX5" fmla="*/ 12253 w 12285"/>
              <a:gd name="connsiteY5" fmla="*/ 11388 h 12109"/>
              <a:gd name="connsiteX6" fmla="*/ 9552 w 12285"/>
              <a:gd name="connsiteY6" fmla="*/ 12108 h 12109"/>
              <a:gd name="connsiteX7" fmla="*/ 6163 w 12285"/>
              <a:gd name="connsiteY7" fmla="*/ 11476 h 12109"/>
              <a:gd name="connsiteX8" fmla="*/ 2971 w 12285"/>
              <a:gd name="connsiteY8" fmla="*/ 8691 h 12109"/>
              <a:gd name="connsiteX9" fmla="*/ 1638 w 12285"/>
              <a:gd name="connsiteY9" fmla="*/ 6760 h 12109"/>
              <a:gd name="connsiteX10" fmla="*/ 452 w 12285"/>
              <a:gd name="connsiteY10" fmla="*/ 4474 h 12109"/>
              <a:gd name="connsiteX11" fmla="*/ 102 w 12285"/>
              <a:gd name="connsiteY11" fmla="*/ 3347 h 12109"/>
              <a:gd name="connsiteX12" fmla="*/ 60 w 12285"/>
              <a:gd name="connsiteY12" fmla="*/ 1948 h 12109"/>
              <a:gd name="connsiteX13" fmla="*/ 757 w 12285"/>
              <a:gd name="connsiteY13" fmla="*/ 827 h 12109"/>
              <a:gd name="connsiteX14" fmla="*/ 2220 w 12285"/>
              <a:gd name="connsiteY14" fmla="*/ 233 h 12109"/>
              <a:gd name="connsiteX15" fmla="*/ 4408 w 12285"/>
              <a:gd name="connsiteY15" fmla="*/ 2 h 12109"/>
              <a:gd name="connsiteX16" fmla="*/ 6577 w 12285"/>
              <a:gd name="connsiteY16" fmla="*/ 114 h 12109"/>
              <a:gd name="connsiteX0" fmla="*/ 6577 w 12262"/>
              <a:gd name="connsiteY0" fmla="*/ 114 h 12109"/>
              <a:gd name="connsiteX1" fmla="*/ 9226 w 12262"/>
              <a:gd name="connsiteY1" fmla="*/ 446 h 12109"/>
              <a:gd name="connsiteX2" fmla="*/ 12190 w 12262"/>
              <a:gd name="connsiteY2" fmla="*/ 834 h 12109"/>
              <a:gd name="connsiteX3" fmla="*/ 12225 w 12262"/>
              <a:gd name="connsiteY3" fmla="*/ 4856 h 12109"/>
              <a:gd name="connsiteX4" fmla="*/ 12259 w 12262"/>
              <a:gd name="connsiteY4" fmla="*/ 8181 h 12109"/>
              <a:gd name="connsiteX5" fmla="*/ 12253 w 12262"/>
              <a:gd name="connsiteY5" fmla="*/ 11388 h 12109"/>
              <a:gd name="connsiteX6" fmla="*/ 9552 w 12262"/>
              <a:gd name="connsiteY6" fmla="*/ 12108 h 12109"/>
              <a:gd name="connsiteX7" fmla="*/ 6163 w 12262"/>
              <a:gd name="connsiteY7" fmla="*/ 11476 h 12109"/>
              <a:gd name="connsiteX8" fmla="*/ 2971 w 12262"/>
              <a:gd name="connsiteY8" fmla="*/ 8691 h 12109"/>
              <a:gd name="connsiteX9" fmla="*/ 1638 w 12262"/>
              <a:gd name="connsiteY9" fmla="*/ 6760 h 12109"/>
              <a:gd name="connsiteX10" fmla="*/ 452 w 12262"/>
              <a:gd name="connsiteY10" fmla="*/ 4474 h 12109"/>
              <a:gd name="connsiteX11" fmla="*/ 102 w 12262"/>
              <a:gd name="connsiteY11" fmla="*/ 3347 h 12109"/>
              <a:gd name="connsiteX12" fmla="*/ 60 w 12262"/>
              <a:gd name="connsiteY12" fmla="*/ 1948 h 12109"/>
              <a:gd name="connsiteX13" fmla="*/ 757 w 12262"/>
              <a:gd name="connsiteY13" fmla="*/ 827 h 12109"/>
              <a:gd name="connsiteX14" fmla="*/ 2220 w 12262"/>
              <a:gd name="connsiteY14" fmla="*/ 233 h 12109"/>
              <a:gd name="connsiteX15" fmla="*/ 4408 w 12262"/>
              <a:gd name="connsiteY15" fmla="*/ 2 h 12109"/>
              <a:gd name="connsiteX16" fmla="*/ 6577 w 12262"/>
              <a:gd name="connsiteY16" fmla="*/ 114 h 12109"/>
              <a:gd name="connsiteX0" fmla="*/ 6577 w 12263"/>
              <a:gd name="connsiteY0" fmla="*/ 114 h 12109"/>
              <a:gd name="connsiteX1" fmla="*/ 9226 w 12263"/>
              <a:gd name="connsiteY1" fmla="*/ 446 h 12109"/>
              <a:gd name="connsiteX2" fmla="*/ 12190 w 12263"/>
              <a:gd name="connsiteY2" fmla="*/ 834 h 12109"/>
              <a:gd name="connsiteX3" fmla="*/ 12225 w 12263"/>
              <a:gd name="connsiteY3" fmla="*/ 4856 h 12109"/>
              <a:gd name="connsiteX4" fmla="*/ 12259 w 12263"/>
              <a:gd name="connsiteY4" fmla="*/ 8181 h 12109"/>
              <a:gd name="connsiteX5" fmla="*/ 12253 w 12263"/>
              <a:gd name="connsiteY5" fmla="*/ 11388 h 12109"/>
              <a:gd name="connsiteX6" fmla="*/ 9552 w 12263"/>
              <a:gd name="connsiteY6" fmla="*/ 12108 h 12109"/>
              <a:gd name="connsiteX7" fmla="*/ 6163 w 12263"/>
              <a:gd name="connsiteY7" fmla="*/ 11476 h 12109"/>
              <a:gd name="connsiteX8" fmla="*/ 2971 w 12263"/>
              <a:gd name="connsiteY8" fmla="*/ 8691 h 12109"/>
              <a:gd name="connsiteX9" fmla="*/ 1638 w 12263"/>
              <a:gd name="connsiteY9" fmla="*/ 6760 h 12109"/>
              <a:gd name="connsiteX10" fmla="*/ 452 w 12263"/>
              <a:gd name="connsiteY10" fmla="*/ 4474 h 12109"/>
              <a:gd name="connsiteX11" fmla="*/ 102 w 12263"/>
              <a:gd name="connsiteY11" fmla="*/ 3347 h 12109"/>
              <a:gd name="connsiteX12" fmla="*/ 60 w 12263"/>
              <a:gd name="connsiteY12" fmla="*/ 1948 h 12109"/>
              <a:gd name="connsiteX13" fmla="*/ 757 w 12263"/>
              <a:gd name="connsiteY13" fmla="*/ 827 h 12109"/>
              <a:gd name="connsiteX14" fmla="*/ 2220 w 12263"/>
              <a:gd name="connsiteY14" fmla="*/ 233 h 12109"/>
              <a:gd name="connsiteX15" fmla="*/ 4408 w 12263"/>
              <a:gd name="connsiteY15" fmla="*/ 2 h 12109"/>
              <a:gd name="connsiteX16" fmla="*/ 6577 w 12263"/>
              <a:gd name="connsiteY16" fmla="*/ 114 h 12109"/>
              <a:gd name="connsiteX0" fmla="*/ 6577 w 12264"/>
              <a:gd name="connsiteY0" fmla="*/ 114 h 12109"/>
              <a:gd name="connsiteX1" fmla="*/ 9226 w 12264"/>
              <a:gd name="connsiteY1" fmla="*/ 446 h 12109"/>
              <a:gd name="connsiteX2" fmla="*/ 12190 w 12264"/>
              <a:gd name="connsiteY2" fmla="*/ 834 h 12109"/>
              <a:gd name="connsiteX3" fmla="*/ 12225 w 12264"/>
              <a:gd name="connsiteY3" fmla="*/ 4856 h 12109"/>
              <a:gd name="connsiteX4" fmla="*/ 12259 w 12264"/>
              <a:gd name="connsiteY4" fmla="*/ 8181 h 12109"/>
              <a:gd name="connsiteX5" fmla="*/ 12253 w 12264"/>
              <a:gd name="connsiteY5" fmla="*/ 11388 h 12109"/>
              <a:gd name="connsiteX6" fmla="*/ 9552 w 12264"/>
              <a:gd name="connsiteY6" fmla="*/ 12108 h 12109"/>
              <a:gd name="connsiteX7" fmla="*/ 6163 w 12264"/>
              <a:gd name="connsiteY7" fmla="*/ 11476 h 12109"/>
              <a:gd name="connsiteX8" fmla="*/ 2971 w 12264"/>
              <a:gd name="connsiteY8" fmla="*/ 8691 h 12109"/>
              <a:gd name="connsiteX9" fmla="*/ 1638 w 12264"/>
              <a:gd name="connsiteY9" fmla="*/ 6760 h 12109"/>
              <a:gd name="connsiteX10" fmla="*/ 452 w 12264"/>
              <a:gd name="connsiteY10" fmla="*/ 4474 h 12109"/>
              <a:gd name="connsiteX11" fmla="*/ 102 w 12264"/>
              <a:gd name="connsiteY11" fmla="*/ 3347 h 12109"/>
              <a:gd name="connsiteX12" fmla="*/ 60 w 12264"/>
              <a:gd name="connsiteY12" fmla="*/ 1948 h 12109"/>
              <a:gd name="connsiteX13" fmla="*/ 757 w 12264"/>
              <a:gd name="connsiteY13" fmla="*/ 827 h 12109"/>
              <a:gd name="connsiteX14" fmla="*/ 2220 w 12264"/>
              <a:gd name="connsiteY14" fmla="*/ 233 h 12109"/>
              <a:gd name="connsiteX15" fmla="*/ 4408 w 12264"/>
              <a:gd name="connsiteY15" fmla="*/ 2 h 12109"/>
              <a:gd name="connsiteX16" fmla="*/ 6577 w 12264"/>
              <a:gd name="connsiteY16" fmla="*/ 114 h 12109"/>
              <a:gd name="connsiteX0" fmla="*/ 6577 w 12264"/>
              <a:gd name="connsiteY0" fmla="*/ 114 h 12109"/>
              <a:gd name="connsiteX1" fmla="*/ 9226 w 12264"/>
              <a:gd name="connsiteY1" fmla="*/ 446 h 12109"/>
              <a:gd name="connsiteX2" fmla="*/ 12157 w 12264"/>
              <a:gd name="connsiteY2" fmla="*/ 835 h 12109"/>
              <a:gd name="connsiteX3" fmla="*/ 12225 w 12264"/>
              <a:gd name="connsiteY3" fmla="*/ 4856 h 12109"/>
              <a:gd name="connsiteX4" fmla="*/ 12259 w 12264"/>
              <a:gd name="connsiteY4" fmla="*/ 8181 h 12109"/>
              <a:gd name="connsiteX5" fmla="*/ 12253 w 12264"/>
              <a:gd name="connsiteY5" fmla="*/ 11388 h 12109"/>
              <a:gd name="connsiteX6" fmla="*/ 9552 w 12264"/>
              <a:gd name="connsiteY6" fmla="*/ 12108 h 12109"/>
              <a:gd name="connsiteX7" fmla="*/ 6163 w 12264"/>
              <a:gd name="connsiteY7" fmla="*/ 11476 h 12109"/>
              <a:gd name="connsiteX8" fmla="*/ 2971 w 12264"/>
              <a:gd name="connsiteY8" fmla="*/ 8691 h 12109"/>
              <a:gd name="connsiteX9" fmla="*/ 1638 w 12264"/>
              <a:gd name="connsiteY9" fmla="*/ 6760 h 12109"/>
              <a:gd name="connsiteX10" fmla="*/ 452 w 12264"/>
              <a:gd name="connsiteY10" fmla="*/ 4474 h 12109"/>
              <a:gd name="connsiteX11" fmla="*/ 102 w 12264"/>
              <a:gd name="connsiteY11" fmla="*/ 3347 h 12109"/>
              <a:gd name="connsiteX12" fmla="*/ 60 w 12264"/>
              <a:gd name="connsiteY12" fmla="*/ 1948 h 12109"/>
              <a:gd name="connsiteX13" fmla="*/ 757 w 12264"/>
              <a:gd name="connsiteY13" fmla="*/ 827 h 12109"/>
              <a:gd name="connsiteX14" fmla="*/ 2220 w 12264"/>
              <a:gd name="connsiteY14" fmla="*/ 233 h 12109"/>
              <a:gd name="connsiteX15" fmla="*/ 4408 w 12264"/>
              <a:gd name="connsiteY15" fmla="*/ 2 h 12109"/>
              <a:gd name="connsiteX16" fmla="*/ 6577 w 12264"/>
              <a:gd name="connsiteY16" fmla="*/ 114 h 12109"/>
              <a:gd name="connsiteX0" fmla="*/ 6577 w 12264"/>
              <a:gd name="connsiteY0" fmla="*/ 114 h 12109"/>
              <a:gd name="connsiteX1" fmla="*/ 9226 w 12264"/>
              <a:gd name="connsiteY1" fmla="*/ 446 h 12109"/>
              <a:gd name="connsiteX2" fmla="*/ 12168 w 12264"/>
              <a:gd name="connsiteY2" fmla="*/ 835 h 12109"/>
              <a:gd name="connsiteX3" fmla="*/ 12225 w 12264"/>
              <a:gd name="connsiteY3" fmla="*/ 4856 h 12109"/>
              <a:gd name="connsiteX4" fmla="*/ 12259 w 12264"/>
              <a:gd name="connsiteY4" fmla="*/ 8181 h 12109"/>
              <a:gd name="connsiteX5" fmla="*/ 12253 w 12264"/>
              <a:gd name="connsiteY5" fmla="*/ 11388 h 12109"/>
              <a:gd name="connsiteX6" fmla="*/ 9552 w 12264"/>
              <a:gd name="connsiteY6" fmla="*/ 12108 h 12109"/>
              <a:gd name="connsiteX7" fmla="*/ 6163 w 12264"/>
              <a:gd name="connsiteY7" fmla="*/ 11476 h 12109"/>
              <a:gd name="connsiteX8" fmla="*/ 2971 w 12264"/>
              <a:gd name="connsiteY8" fmla="*/ 8691 h 12109"/>
              <a:gd name="connsiteX9" fmla="*/ 1638 w 12264"/>
              <a:gd name="connsiteY9" fmla="*/ 6760 h 12109"/>
              <a:gd name="connsiteX10" fmla="*/ 452 w 12264"/>
              <a:gd name="connsiteY10" fmla="*/ 4474 h 12109"/>
              <a:gd name="connsiteX11" fmla="*/ 102 w 12264"/>
              <a:gd name="connsiteY11" fmla="*/ 3347 h 12109"/>
              <a:gd name="connsiteX12" fmla="*/ 60 w 12264"/>
              <a:gd name="connsiteY12" fmla="*/ 1948 h 12109"/>
              <a:gd name="connsiteX13" fmla="*/ 757 w 12264"/>
              <a:gd name="connsiteY13" fmla="*/ 827 h 12109"/>
              <a:gd name="connsiteX14" fmla="*/ 2220 w 12264"/>
              <a:gd name="connsiteY14" fmla="*/ 233 h 12109"/>
              <a:gd name="connsiteX15" fmla="*/ 4408 w 12264"/>
              <a:gd name="connsiteY15" fmla="*/ 2 h 12109"/>
              <a:gd name="connsiteX16" fmla="*/ 6577 w 12264"/>
              <a:gd name="connsiteY16" fmla="*/ 114 h 12109"/>
              <a:gd name="connsiteX0" fmla="*/ 6577 w 12264"/>
              <a:gd name="connsiteY0" fmla="*/ 114 h 12109"/>
              <a:gd name="connsiteX1" fmla="*/ 9226 w 12264"/>
              <a:gd name="connsiteY1" fmla="*/ 446 h 12109"/>
              <a:gd name="connsiteX2" fmla="*/ 12179 w 12264"/>
              <a:gd name="connsiteY2" fmla="*/ 809 h 12109"/>
              <a:gd name="connsiteX3" fmla="*/ 12225 w 12264"/>
              <a:gd name="connsiteY3" fmla="*/ 4856 h 12109"/>
              <a:gd name="connsiteX4" fmla="*/ 12259 w 12264"/>
              <a:gd name="connsiteY4" fmla="*/ 8181 h 12109"/>
              <a:gd name="connsiteX5" fmla="*/ 12253 w 12264"/>
              <a:gd name="connsiteY5" fmla="*/ 11388 h 12109"/>
              <a:gd name="connsiteX6" fmla="*/ 9552 w 12264"/>
              <a:gd name="connsiteY6" fmla="*/ 12108 h 12109"/>
              <a:gd name="connsiteX7" fmla="*/ 6163 w 12264"/>
              <a:gd name="connsiteY7" fmla="*/ 11476 h 12109"/>
              <a:gd name="connsiteX8" fmla="*/ 2971 w 12264"/>
              <a:gd name="connsiteY8" fmla="*/ 8691 h 12109"/>
              <a:gd name="connsiteX9" fmla="*/ 1638 w 12264"/>
              <a:gd name="connsiteY9" fmla="*/ 6760 h 12109"/>
              <a:gd name="connsiteX10" fmla="*/ 452 w 12264"/>
              <a:gd name="connsiteY10" fmla="*/ 4474 h 12109"/>
              <a:gd name="connsiteX11" fmla="*/ 102 w 12264"/>
              <a:gd name="connsiteY11" fmla="*/ 3347 h 12109"/>
              <a:gd name="connsiteX12" fmla="*/ 60 w 12264"/>
              <a:gd name="connsiteY12" fmla="*/ 1948 h 12109"/>
              <a:gd name="connsiteX13" fmla="*/ 757 w 12264"/>
              <a:gd name="connsiteY13" fmla="*/ 827 h 12109"/>
              <a:gd name="connsiteX14" fmla="*/ 2220 w 12264"/>
              <a:gd name="connsiteY14" fmla="*/ 233 h 12109"/>
              <a:gd name="connsiteX15" fmla="*/ 4408 w 12264"/>
              <a:gd name="connsiteY15" fmla="*/ 2 h 12109"/>
              <a:gd name="connsiteX16" fmla="*/ 6577 w 12264"/>
              <a:gd name="connsiteY16" fmla="*/ 114 h 12109"/>
              <a:gd name="connsiteX0" fmla="*/ 6577 w 12264"/>
              <a:gd name="connsiteY0" fmla="*/ 114 h 12109"/>
              <a:gd name="connsiteX1" fmla="*/ 9226 w 12264"/>
              <a:gd name="connsiteY1" fmla="*/ 446 h 12109"/>
              <a:gd name="connsiteX2" fmla="*/ 12214 w 12264"/>
              <a:gd name="connsiteY2" fmla="*/ 808 h 12109"/>
              <a:gd name="connsiteX3" fmla="*/ 12225 w 12264"/>
              <a:gd name="connsiteY3" fmla="*/ 4856 h 12109"/>
              <a:gd name="connsiteX4" fmla="*/ 12259 w 12264"/>
              <a:gd name="connsiteY4" fmla="*/ 8181 h 12109"/>
              <a:gd name="connsiteX5" fmla="*/ 12253 w 12264"/>
              <a:gd name="connsiteY5" fmla="*/ 11388 h 12109"/>
              <a:gd name="connsiteX6" fmla="*/ 9552 w 12264"/>
              <a:gd name="connsiteY6" fmla="*/ 12108 h 12109"/>
              <a:gd name="connsiteX7" fmla="*/ 6163 w 12264"/>
              <a:gd name="connsiteY7" fmla="*/ 11476 h 12109"/>
              <a:gd name="connsiteX8" fmla="*/ 2971 w 12264"/>
              <a:gd name="connsiteY8" fmla="*/ 8691 h 12109"/>
              <a:gd name="connsiteX9" fmla="*/ 1638 w 12264"/>
              <a:gd name="connsiteY9" fmla="*/ 6760 h 12109"/>
              <a:gd name="connsiteX10" fmla="*/ 452 w 12264"/>
              <a:gd name="connsiteY10" fmla="*/ 4474 h 12109"/>
              <a:gd name="connsiteX11" fmla="*/ 102 w 12264"/>
              <a:gd name="connsiteY11" fmla="*/ 3347 h 12109"/>
              <a:gd name="connsiteX12" fmla="*/ 60 w 12264"/>
              <a:gd name="connsiteY12" fmla="*/ 1948 h 12109"/>
              <a:gd name="connsiteX13" fmla="*/ 757 w 12264"/>
              <a:gd name="connsiteY13" fmla="*/ 827 h 12109"/>
              <a:gd name="connsiteX14" fmla="*/ 2220 w 12264"/>
              <a:gd name="connsiteY14" fmla="*/ 233 h 12109"/>
              <a:gd name="connsiteX15" fmla="*/ 4408 w 12264"/>
              <a:gd name="connsiteY15" fmla="*/ 2 h 12109"/>
              <a:gd name="connsiteX16" fmla="*/ 6577 w 12264"/>
              <a:gd name="connsiteY16" fmla="*/ 114 h 12109"/>
              <a:gd name="connsiteX0" fmla="*/ 6577 w 12264"/>
              <a:gd name="connsiteY0" fmla="*/ 114 h 12109"/>
              <a:gd name="connsiteX1" fmla="*/ 9226 w 12264"/>
              <a:gd name="connsiteY1" fmla="*/ 446 h 12109"/>
              <a:gd name="connsiteX2" fmla="*/ 12214 w 12264"/>
              <a:gd name="connsiteY2" fmla="*/ 808 h 12109"/>
              <a:gd name="connsiteX3" fmla="*/ 12225 w 12264"/>
              <a:gd name="connsiteY3" fmla="*/ 4856 h 12109"/>
              <a:gd name="connsiteX4" fmla="*/ 12259 w 12264"/>
              <a:gd name="connsiteY4" fmla="*/ 8181 h 12109"/>
              <a:gd name="connsiteX5" fmla="*/ 12253 w 12264"/>
              <a:gd name="connsiteY5" fmla="*/ 11388 h 12109"/>
              <a:gd name="connsiteX6" fmla="*/ 9552 w 12264"/>
              <a:gd name="connsiteY6" fmla="*/ 12108 h 12109"/>
              <a:gd name="connsiteX7" fmla="*/ 6163 w 12264"/>
              <a:gd name="connsiteY7" fmla="*/ 11476 h 12109"/>
              <a:gd name="connsiteX8" fmla="*/ 2971 w 12264"/>
              <a:gd name="connsiteY8" fmla="*/ 8691 h 12109"/>
              <a:gd name="connsiteX9" fmla="*/ 1638 w 12264"/>
              <a:gd name="connsiteY9" fmla="*/ 6760 h 12109"/>
              <a:gd name="connsiteX10" fmla="*/ 452 w 12264"/>
              <a:gd name="connsiteY10" fmla="*/ 4474 h 12109"/>
              <a:gd name="connsiteX11" fmla="*/ 102 w 12264"/>
              <a:gd name="connsiteY11" fmla="*/ 3347 h 12109"/>
              <a:gd name="connsiteX12" fmla="*/ 60 w 12264"/>
              <a:gd name="connsiteY12" fmla="*/ 1948 h 12109"/>
              <a:gd name="connsiteX13" fmla="*/ 757 w 12264"/>
              <a:gd name="connsiteY13" fmla="*/ 827 h 12109"/>
              <a:gd name="connsiteX14" fmla="*/ 2220 w 12264"/>
              <a:gd name="connsiteY14" fmla="*/ 233 h 12109"/>
              <a:gd name="connsiteX15" fmla="*/ 4408 w 12264"/>
              <a:gd name="connsiteY15" fmla="*/ 2 h 12109"/>
              <a:gd name="connsiteX16" fmla="*/ 6577 w 12264"/>
              <a:gd name="connsiteY16" fmla="*/ 114 h 12109"/>
              <a:gd name="connsiteX0" fmla="*/ 6577 w 12264"/>
              <a:gd name="connsiteY0" fmla="*/ 114 h 12109"/>
              <a:gd name="connsiteX1" fmla="*/ 9226 w 12264"/>
              <a:gd name="connsiteY1" fmla="*/ 446 h 12109"/>
              <a:gd name="connsiteX2" fmla="*/ 12226 w 12264"/>
              <a:gd name="connsiteY2" fmla="*/ 808 h 12109"/>
              <a:gd name="connsiteX3" fmla="*/ 12225 w 12264"/>
              <a:gd name="connsiteY3" fmla="*/ 4856 h 12109"/>
              <a:gd name="connsiteX4" fmla="*/ 12259 w 12264"/>
              <a:gd name="connsiteY4" fmla="*/ 8181 h 12109"/>
              <a:gd name="connsiteX5" fmla="*/ 12253 w 12264"/>
              <a:gd name="connsiteY5" fmla="*/ 11388 h 12109"/>
              <a:gd name="connsiteX6" fmla="*/ 9552 w 12264"/>
              <a:gd name="connsiteY6" fmla="*/ 12108 h 12109"/>
              <a:gd name="connsiteX7" fmla="*/ 6163 w 12264"/>
              <a:gd name="connsiteY7" fmla="*/ 11476 h 12109"/>
              <a:gd name="connsiteX8" fmla="*/ 2971 w 12264"/>
              <a:gd name="connsiteY8" fmla="*/ 8691 h 12109"/>
              <a:gd name="connsiteX9" fmla="*/ 1638 w 12264"/>
              <a:gd name="connsiteY9" fmla="*/ 6760 h 12109"/>
              <a:gd name="connsiteX10" fmla="*/ 452 w 12264"/>
              <a:gd name="connsiteY10" fmla="*/ 4474 h 12109"/>
              <a:gd name="connsiteX11" fmla="*/ 102 w 12264"/>
              <a:gd name="connsiteY11" fmla="*/ 3347 h 12109"/>
              <a:gd name="connsiteX12" fmla="*/ 60 w 12264"/>
              <a:gd name="connsiteY12" fmla="*/ 1948 h 12109"/>
              <a:gd name="connsiteX13" fmla="*/ 757 w 12264"/>
              <a:gd name="connsiteY13" fmla="*/ 827 h 12109"/>
              <a:gd name="connsiteX14" fmla="*/ 2220 w 12264"/>
              <a:gd name="connsiteY14" fmla="*/ 233 h 12109"/>
              <a:gd name="connsiteX15" fmla="*/ 4408 w 12264"/>
              <a:gd name="connsiteY15" fmla="*/ 2 h 12109"/>
              <a:gd name="connsiteX16" fmla="*/ 6577 w 12264"/>
              <a:gd name="connsiteY16" fmla="*/ 114 h 12109"/>
              <a:gd name="connsiteX0" fmla="*/ 6577 w 12264"/>
              <a:gd name="connsiteY0" fmla="*/ 114 h 12109"/>
              <a:gd name="connsiteX1" fmla="*/ 9226 w 12264"/>
              <a:gd name="connsiteY1" fmla="*/ 446 h 12109"/>
              <a:gd name="connsiteX2" fmla="*/ 12226 w 12264"/>
              <a:gd name="connsiteY2" fmla="*/ 808 h 12109"/>
              <a:gd name="connsiteX3" fmla="*/ 12225 w 12264"/>
              <a:gd name="connsiteY3" fmla="*/ 4856 h 12109"/>
              <a:gd name="connsiteX4" fmla="*/ 12259 w 12264"/>
              <a:gd name="connsiteY4" fmla="*/ 8181 h 12109"/>
              <a:gd name="connsiteX5" fmla="*/ 12253 w 12264"/>
              <a:gd name="connsiteY5" fmla="*/ 11388 h 12109"/>
              <a:gd name="connsiteX6" fmla="*/ 9552 w 12264"/>
              <a:gd name="connsiteY6" fmla="*/ 12108 h 12109"/>
              <a:gd name="connsiteX7" fmla="*/ 6163 w 12264"/>
              <a:gd name="connsiteY7" fmla="*/ 11476 h 12109"/>
              <a:gd name="connsiteX8" fmla="*/ 2971 w 12264"/>
              <a:gd name="connsiteY8" fmla="*/ 8691 h 12109"/>
              <a:gd name="connsiteX9" fmla="*/ 1638 w 12264"/>
              <a:gd name="connsiteY9" fmla="*/ 6760 h 12109"/>
              <a:gd name="connsiteX10" fmla="*/ 452 w 12264"/>
              <a:gd name="connsiteY10" fmla="*/ 4474 h 12109"/>
              <a:gd name="connsiteX11" fmla="*/ 102 w 12264"/>
              <a:gd name="connsiteY11" fmla="*/ 3347 h 12109"/>
              <a:gd name="connsiteX12" fmla="*/ 60 w 12264"/>
              <a:gd name="connsiteY12" fmla="*/ 1948 h 12109"/>
              <a:gd name="connsiteX13" fmla="*/ 757 w 12264"/>
              <a:gd name="connsiteY13" fmla="*/ 827 h 12109"/>
              <a:gd name="connsiteX14" fmla="*/ 2220 w 12264"/>
              <a:gd name="connsiteY14" fmla="*/ 233 h 12109"/>
              <a:gd name="connsiteX15" fmla="*/ 4408 w 12264"/>
              <a:gd name="connsiteY15" fmla="*/ 2 h 12109"/>
              <a:gd name="connsiteX16" fmla="*/ 6577 w 12264"/>
              <a:gd name="connsiteY16" fmla="*/ 114 h 12109"/>
              <a:gd name="connsiteX0" fmla="*/ 6577 w 12264"/>
              <a:gd name="connsiteY0" fmla="*/ 114 h 12108"/>
              <a:gd name="connsiteX1" fmla="*/ 9226 w 12264"/>
              <a:gd name="connsiteY1" fmla="*/ 446 h 12108"/>
              <a:gd name="connsiteX2" fmla="*/ 12226 w 12264"/>
              <a:gd name="connsiteY2" fmla="*/ 808 h 12108"/>
              <a:gd name="connsiteX3" fmla="*/ 12225 w 12264"/>
              <a:gd name="connsiteY3" fmla="*/ 4856 h 12108"/>
              <a:gd name="connsiteX4" fmla="*/ 12259 w 12264"/>
              <a:gd name="connsiteY4" fmla="*/ 8181 h 12108"/>
              <a:gd name="connsiteX5" fmla="*/ 12253 w 12264"/>
              <a:gd name="connsiteY5" fmla="*/ 11388 h 12108"/>
              <a:gd name="connsiteX6" fmla="*/ 9552 w 12264"/>
              <a:gd name="connsiteY6" fmla="*/ 12108 h 12108"/>
              <a:gd name="connsiteX7" fmla="*/ 6163 w 12264"/>
              <a:gd name="connsiteY7" fmla="*/ 11476 h 12108"/>
              <a:gd name="connsiteX8" fmla="*/ 3404 w 12264"/>
              <a:gd name="connsiteY8" fmla="*/ 9180 h 12108"/>
              <a:gd name="connsiteX9" fmla="*/ 1638 w 12264"/>
              <a:gd name="connsiteY9" fmla="*/ 6760 h 12108"/>
              <a:gd name="connsiteX10" fmla="*/ 452 w 12264"/>
              <a:gd name="connsiteY10" fmla="*/ 4474 h 12108"/>
              <a:gd name="connsiteX11" fmla="*/ 102 w 12264"/>
              <a:gd name="connsiteY11" fmla="*/ 3347 h 12108"/>
              <a:gd name="connsiteX12" fmla="*/ 60 w 12264"/>
              <a:gd name="connsiteY12" fmla="*/ 1948 h 12108"/>
              <a:gd name="connsiteX13" fmla="*/ 757 w 12264"/>
              <a:gd name="connsiteY13" fmla="*/ 827 h 12108"/>
              <a:gd name="connsiteX14" fmla="*/ 2220 w 12264"/>
              <a:gd name="connsiteY14" fmla="*/ 233 h 12108"/>
              <a:gd name="connsiteX15" fmla="*/ 4408 w 12264"/>
              <a:gd name="connsiteY15" fmla="*/ 2 h 12108"/>
              <a:gd name="connsiteX16" fmla="*/ 6577 w 12264"/>
              <a:gd name="connsiteY16" fmla="*/ 114 h 12108"/>
              <a:gd name="connsiteX0" fmla="*/ 6577 w 12264"/>
              <a:gd name="connsiteY0" fmla="*/ 114 h 12108"/>
              <a:gd name="connsiteX1" fmla="*/ 9226 w 12264"/>
              <a:gd name="connsiteY1" fmla="*/ 446 h 12108"/>
              <a:gd name="connsiteX2" fmla="*/ 12226 w 12264"/>
              <a:gd name="connsiteY2" fmla="*/ 808 h 12108"/>
              <a:gd name="connsiteX3" fmla="*/ 12225 w 12264"/>
              <a:gd name="connsiteY3" fmla="*/ 4856 h 12108"/>
              <a:gd name="connsiteX4" fmla="*/ 12259 w 12264"/>
              <a:gd name="connsiteY4" fmla="*/ 8181 h 12108"/>
              <a:gd name="connsiteX5" fmla="*/ 12253 w 12264"/>
              <a:gd name="connsiteY5" fmla="*/ 11388 h 12108"/>
              <a:gd name="connsiteX6" fmla="*/ 9552 w 12264"/>
              <a:gd name="connsiteY6" fmla="*/ 12108 h 12108"/>
              <a:gd name="connsiteX7" fmla="*/ 6163 w 12264"/>
              <a:gd name="connsiteY7" fmla="*/ 11476 h 12108"/>
              <a:gd name="connsiteX8" fmla="*/ 3404 w 12264"/>
              <a:gd name="connsiteY8" fmla="*/ 9180 h 12108"/>
              <a:gd name="connsiteX9" fmla="*/ 1638 w 12264"/>
              <a:gd name="connsiteY9" fmla="*/ 6760 h 12108"/>
              <a:gd name="connsiteX10" fmla="*/ 452 w 12264"/>
              <a:gd name="connsiteY10" fmla="*/ 4474 h 12108"/>
              <a:gd name="connsiteX11" fmla="*/ 102 w 12264"/>
              <a:gd name="connsiteY11" fmla="*/ 3347 h 12108"/>
              <a:gd name="connsiteX12" fmla="*/ 60 w 12264"/>
              <a:gd name="connsiteY12" fmla="*/ 1948 h 12108"/>
              <a:gd name="connsiteX13" fmla="*/ 757 w 12264"/>
              <a:gd name="connsiteY13" fmla="*/ 827 h 12108"/>
              <a:gd name="connsiteX14" fmla="*/ 2220 w 12264"/>
              <a:gd name="connsiteY14" fmla="*/ 233 h 12108"/>
              <a:gd name="connsiteX15" fmla="*/ 4408 w 12264"/>
              <a:gd name="connsiteY15" fmla="*/ 2 h 12108"/>
              <a:gd name="connsiteX16" fmla="*/ 6577 w 12264"/>
              <a:gd name="connsiteY16" fmla="*/ 114 h 12108"/>
              <a:gd name="connsiteX0" fmla="*/ 6577 w 12264"/>
              <a:gd name="connsiteY0" fmla="*/ 114 h 12108"/>
              <a:gd name="connsiteX1" fmla="*/ 9226 w 12264"/>
              <a:gd name="connsiteY1" fmla="*/ 446 h 12108"/>
              <a:gd name="connsiteX2" fmla="*/ 12226 w 12264"/>
              <a:gd name="connsiteY2" fmla="*/ 808 h 12108"/>
              <a:gd name="connsiteX3" fmla="*/ 12225 w 12264"/>
              <a:gd name="connsiteY3" fmla="*/ 4856 h 12108"/>
              <a:gd name="connsiteX4" fmla="*/ 12259 w 12264"/>
              <a:gd name="connsiteY4" fmla="*/ 8181 h 12108"/>
              <a:gd name="connsiteX5" fmla="*/ 12253 w 12264"/>
              <a:gd name="connsiteY5" fmla="*/ 11388 h 12108"/>
              <a:gd name="connsiteX6" fmla="*/ 9552 w 12264"/>
              <a:gd name="connsiteY6" fmla="*/ 12108 h 12108"/>
              <a:gd name="connsiteX7" fmla="*/ 6163 w 12264"/>
              <a:gd name="connsiteY7" fmla="*/ 11476 h 12108"/>
              <a:gd name="connsiteX8" fmla="*/ 3405 w 12264"/>
              <a:gd name="connsiteY8" fmla="*/ 9287 h 12108"/>
              <a:gd name="connsiteX9" fmla="*/ 1638 w 12264"/>
              <a:gd name="connsiteY9" fmla="*/ 6760 h 12108"/>
              <a:gd name="connsiteX10" fmla="*/ 452 w 12264"/>
              <a:gd name="connsiteY10" fmla="*/ 4474 h 12108"/>
              <a:gd name="connsiteX11" fmla="*/ 102 w 12264"/>
              <a:gd name="connsiteY11" fmla="*/ 3347 h 12108"/>
              <a:gd name="connsiteX12" fmla="*/ 60 w 12264"/>
              <a:gd name="connsiteY12" fmla="*/ 1948 h 12108"/>
              <a:gd name="connsiteX13" fmla="*/ 757 w 12264"/>
              <a:gd name="connsiteY13" fmla="*/ 827 h 12108"/>
              <a:gd name="connsiteX14" fmla="*/ 2220 w 12264"/>
              <a:gd name="connsiteY14" fmla="*/ 233 h 12108"/>
              <a:gd name="connsiteX15" fmla="*/ 4408 w 12264"/>
              <a:gd name="connsiteY15" fmla="*/ 2 h 12108"/>
              <a:gd name="connsiteX16" fmla="*/ 6577 w 12264"/>
              <a:gd name="connsiteY16" fmla="*/ 114 h 12108"/>
              <a:gd name="connsiteX0" fmla="*/ 6577 w 12264"/>
              <a:gd name="connsiteY0" fmla="*/ 114 h 12108"/>
              <a:gd name="connsiteX1" fmla="*/ 9226 w 12264"/>
              <a:gd name="connsiteY1" fmla="*/ 446 h 12108"/>
              <a:gd name="connsiteX2" fmla="*/ 12226 w 12264"/>
              <a:gd name="connsiteY2" fmla="*/ 808 h 12108"/>
              <a:gd name="connsiteX3" fmla="*/ 12225 w 12264"/>
              <a:gd name="connsiteY3" fmla="*/ 4856 h 12108"/>
              <a:gd name="connsiteX4" fmla="*/ 12259 w 12264"/>
              <a:gd name="connsiteY4" fmla="*/ 8181 h 12108"/>
              <a:gd name="connsiteX5" fmla="*/ 12253 w 12264"/>
              <a:gd name="connsiteY5" fmla="*/ 11388 h 12108"/>
              <a:gd name="connsiteX6" fmla="*/ 9552 w 12264"/>
              <a:gd name="connsiteY6" fmla="*/ 12108 h 12108"/>
              <a:gd name="connsiteX7" fmla="*/ 6163 w 12264"/>
              <a:gd name="connsiteY7" fmla="*/ 11476 h 12108"/>
              <a:gd name="connsiteX8" fmla="*/ 3405 w 12264"/>
              <a:gd name="connsiteY8" fmla="*/ 9287 h 12108"/>
              <a:gd name="connsiteX9" fmla="*/ 1638 w 12264"/>
              <a:gd name="connsiteY9" fmla="*/ 6760 h 12108"/>
              <a:gd name="connsiteX10" fmla="*/ 452 w 12264"/>
              <a:gd name="connsiteY10" fmla="*/ 4474 h 12108"/>
              <a:gd name="connsiteX11" fmla="*/ 102 w 12264"/>
              <a:gd name="connsiteY11" fmla="*/ 3347 h 12108"/>
              <a:gd name="connsiteX12" fmla="*/ 60 w 12264"/>
              <a:gd name="connsiteY12" fmla="*/ 1948 h 12108"/>
              <a:gd name="connsiteX13" fmla="*/ 757 w 12264"/>
              <a:gd name="connsiteY13" fmla="*/ 827 h 12108"/>
              <a:gd name="connsiteX14" fmla="*/ 2220 w 12264"/>
              <a:gd name="connsiteY14" fmla="*/ 233 h 12108"/>
              <a:gd name="connsiteX15" fmla="*/ 4408 w 12264"/>
              <a:gd name="connsiteY15" fmla="*/ 2 h 12108"/>
              <a:gd name="connsiteX16" fmla="*/ 6577 w 12264"/>
              <a:gd name="connsiteY16" fmla="*/ 114 h 12108"/>
              <a:gd name="connsiteX0" fmla="*/ 6577 w 12264"/>
              <a:gd name="connsiteY0" fmla="*/ 114 h 12108"/>
              <a:gd name="connsiteX1" fmla="*/ 9226 w 12264"/>
              <a:gd name="connsiteY1" fmla="*/ 446 h 12108"/>
              <a:gd name="connsiteX2" fmla="*/ 12226 w 12264"/>
              <a:gd name="connsiteY2" fmla="*/ 808 h 12108"/>
              <a:gd name="connsiteX3" fmla="*/ 12225 w 12264"/>
              <a:gd name="connsiteY3" fmla="*/ 4856 h 12108"/>
              <a:gd name="connsiteX4" fmla="*/ 12259 w 12264"/>
              <a:gd name="connsiteY4" fmla="*/ 8181 h 12108"/>
              <a:gd name="connsiteX5" fmla="*/ 12253 w 12264"/>
              <a:gd name="connsiteY5" fmla="*/ 11388 h 12108"/>
              <a:gd name="connsiteX6" fmla="*/ 9552 w 12264"/>
              <a:gd name="connsiteY6" fmla="*/ 12108 h 12108"/>
              <a:gd name="connsiteX7" fmla="*/ 6163 w 12264"/>
              <a:gd name="connsiteY7" fmla="*/ 11476 h 12108"/>
              <a:gd name="connsiteX8" fmla="*/ 3416 w 12264"/>
              <a:gd name="connsiteY8" fmla="*/ 9233 h 12108"/>
              <a:gd name="connsiteX9" fmla="*/ 1638 w 12264"/>
              <a:gd name="connsiteY9" fmla="*/ 6760 h 12108"/>
              <a:gd name="connsiteX10" fmla="*/ 452 w 12264"/>
              <a:gd name="connsiteY10" fmla="*/ 4474 h 12108"/>
              <a:gd name="connsiteX11" fmla="*/ 102 w 12264"/>
              <a:gd name="connsiteY11" fmla="*/ 3347 h 12108"/>
              <a:gd name="connsiteX12" fmla="*/ 60 w 12264"/>
              <a:gd name="connsiteY12" fmla="*/ 1948 h 12108"/>
              <a:gd name="connsiteX13" fmla="*/ 757 w 12264"/>
              <a:gd name="connsiteY13" fmla="*/ 827 h 12108"/>
              <a:gd name="connsiteX14" fmla="*/ 2220 w 12264"/>
              <a:gd name="connsiteY14" fmla="*/ 233 h 12108"/>
              <a:gd name="connsiteX15" fmla="*/ 4408 w 12264"/>
              <a:gd name="connsiteY15" fmla="*/ 2 h 12108"/>
              <a:gd name="connsiteX16" fmla="*/ 6577 w 12264"/>
              <a:gd name="connsiteY16" fmla="*/ 114 h 12108"/>
              <a:gd name="connsiteX0" fmla="*/ 6577 w 12264"/>
              <a:gd name="connsiteY0" fmla="*/ 114 h 12128"/>
              <a:gd name="connsiteX1" fmla="*/ 9226 w 12264"/>
              <a:gd name="connsiteY1" fmla="*/ 446 h 12128"/>
              <a:gd name="connsiteX2" fmla="*/ 12226 w 12264"/>
              <a:gd name="connsiteY2" fmla="*/ 808 h 12128"/>
              <a:gd name="connsiteX3" fmla="*/ 12225 w 12264"/>
              <a:gd name="connsiteY3" fmla="*/ 4856 h 12128"/>
              <a:gd name="connsiteX4" fmla="*/ 12259 w 12264"/>
              <a:gd name="connsiteY4" fmla="*/ 8181 h 12128"/>
              <a:gd name="connsiteX5" fmla="*/ 12253 w 12264"/>
              <a:gd name="connsiteY5" fmla="*/ 11388 h 12128"/>
              <a:gd name="connsiteX6" fmla="*/ 9552 w 12264"/>
              <a:gd name="connsiteY6" fmla="*/ 12108 h 12128"/>
              <a:gd name="connsiteX7" fmla="*/ 6163 w 12264"/>
              <a:gd name="connsiteY7" fmla="*/ 11476 h 12128"/>
              <a:gd name="connsiteX8" fmla="*/ 3416 w 12264"/>
              <a:gd name="connsiteY8" fmla="*/ 9233 h 12128"/>
              <a:gd name="connsiteX9" fmla="*/ 1638 w 12264"/>
              <a:gd name="connsiteY9" fmla="*/ 6760 h 12128"/>
              <a:gd name="connsiteX10" fmla="*/ 452 w 12264"/>
              <a:gd name="connsiteY10" fmla="*/ 4474 h 12128"/>
              <a:gd name="connsiteX11" fmla="*/ 102 w 12264"/>
              <a:gd name="connsiteY11" fmla="*/ 3347 h 12128"/>
              <a:gd name="connsiteX12" fmla="*/ 60 w 12264"/>
              <a:gd name="connsiteY12" fmla="*/ 1948 h 12128"/>
              <a:gd name="connsiteX13" fmla="*/ 757 w 12264"/>
              <a:gd name="connsiteY13" fmla="*/ 827 h 12128"/>
              <a:gd name="connsiteX14" fmla="*/ 2220 w 12264"/>
              <a:gd name="connsiteY14" fmla="*/ 233 h 12128"/>
              <a:gd name="connsiteX15" fmla="*/ 4408 w 12264"/>
              <a:gd name="connsiteY15" fmla="*/ 2 h 12128"/>
              <a:gd name="connsiteX16" fmla="*/ 6577 w 12264"/>
              <a:gd name="connsiteY16" fmla="*/ 114 h 12128"/>
              <a:gd name="connsiteX0" fmla="*/ 6577 w 12264"/>
              <a:gd name="connsiteY0" fmla="*/ 114 h 12145"/>
              <a:gd name="connsiteX1" fmla="*/ 9226 w 12264"/>
              <a:gd name="connsiteY1" fmla="*/ 446 h 12145"/>
              <a:gd name="connsiteX2" fmla="*/ 12226 w 12264"/>
              <a:gd name="connsiteY2" fmla="*/ 808 h 12145"/>
              <a:gd name="connsiteX3" fmla="*/ 12225 w 12264"/>
              <a:gd name="connsiteY3" fmla="*/ 4856 h 12145"/>
              <a:gd name="connsiteX4" fmla="*/ 12259 w 12264"/>
              <a:gd name="connsiteY4" fmla="*/ 8181 h 12145"/>
              <a:gd name="connsiteX5" fmla="*/ 12253 w 12264"/>
              <a:gd name="connsiteY5" fmla="*/ 11388 h 12145"/>
              <a:gd name="connsiteX6" fmla="*/ 9552 w 12264"/>
              <a:gd name="connsiteY6" fmla="*/ 12108 h 12145"/>
              <a:gd name="connsiteX7" fmla="*/ 6163 w 12264"/>
              <a:gd name="connsiteY7" fmla="*/ 11476 h 12145"/>
              <a:gd name="connsiteX8" fmla="*/ 3416 w 12264"/>
              <a:gd name="connsiteY8" fmla="*/ 9233 h 12145"/>
              <a:gd name="connsiteX9" fmla="*/ 1638 w 12264"/>
              <a:gd name="connsiteY9" fmla="*/ 6760 h 12145"/>
              <a:gd name="connsiteX10" fmla="*/ 452 w 12264"/>
              <a:gd name="connsiteY10" fmla="*/ 4474 h 12145"/>
              <a:gd name="connsiteX11" fmla="*/ 102 w 12264"/>
              <a:gd name="connsiteY11" fmla="*/ 3347 h 12145"/>
              <a:gd name="connsiteX12" fmla="*/ 60 w 12264"/>
              <a:gd name="connsiteY12" fmla="*/ 1948 h 12145"/>
              <a:gd name="connsiteX13" fmla="*/ 757 w 12264"/>
              <a:gd name="connsiteY13" fmla="*/ 827 h 12145"/>
              <a:gd name="connsiteX14" fmla="*/ 2220 w 12264"/>
              <a:gd name="connsiteY14" fmla="*/ 233 h 12145"/>
              <a:gd name="connsiteX15" fmla="*/ 4408 w 12264"/>
              <a:gd name="connsiteY15" fmla="*/ 2 h 12145"/>
              <a:gd name="connsiteX16" fmla="*/ 6577 w 12264"/>
              <a:gd name="connsiteY16" fmla="*/ 114 h 12145"/>
              <a:gd name="connsiteX0" fmla="*/ 6577 w 12455"/>
              <a:gd name="connsiteY0" fmla="*/ 114 h 12170"/>
              <a:gd name="connsiteX1" fmla="*/ 9226 w 12455"/>
              <a:gd name="connsiteY1" fmla="*/ 446 h 12170"/>
              <a:gd name="connsiteX2" fmla="*/ 12226 w 12455"/>
              <a:gd name="connsiteY2" fmla="*/ 808 h 12170"/>
              <a:gd name="connsiteX3" fmla="*/ 12225 w 12455"/>
              <a:gd name="connsiteY3" fmla="*/ 4856 h 12170"/>
              <a:gd name="connsiteX4" fmla="*/ 12259 w 12455"/>
              <a:gd name="connsiteY4" fmla="*/ 8181 h 12170"/>
              <a:gd name="connsiteX5" fmla="*/ 12253 w 12455"/>
              <a:gd name="connsiteY5" fmla="*/ 11388 h 12170"/>
              <a:gd name="connsiteX6" fmla="*/ 9564 w 12455"/>
              <a:gd name="connsiteY6" fmla="*/ 12134 h 12170"/>
              <a:gd name="connsiteX7" fmla="*/ 6163 w 12455"/>
              <a:gd name="connsiteY7" fmla="*/ 11476 h 12170"/>
              <a:gd name="connsiteX8" fmla="*/ 3416 w 12455"/>
              <a:gd name="connsiteY8" fmla="*/ 9233 h 12170"/>
              <a:gd name="connsiteX9" fmla="*/ 1638 w 12455"/>
              <a:gd name="connsiteY9" fmla="*/ 6760 h 12170"/>
              <a:gd name="connsiteX10" fmla="*/ 452 w 12455"/>
              <a:gd name="connsiteY10" fmla="*/ 4474 h 12170"/>
              <a:gd name="connsiteX11" fmla="*/ 102 w 12455"/>
              <a:gd name="connsiteY11" fmla="*/ 3347 h 12170"/>
              <a:gd name="connsiteX12" fmla="*/ 60 w 12455"/>
              <a:gd name="connsiteY12" fmla="*/ 1948 h 12170"/>
              <a:gd name="connsiteX13" fmla="*/ 757 w 12455"/>
              <a:gd name="connsiteY13" fmla="*/ 827 h 12170"/>
              <a:gd name="connsiteX14" fmla="*/ 2220 w 12455"/>
              <a:gd name="connsiteY14" fmla="*/ 233 h 12170"/>
              <a:gd name="connsiteX15" fmla="*/ 4408 w 12455"/>
              <a:gd name="connsiteY15" fmla="*/ 2 h 12170"/>
              <a:gd name="connsiteX16" fmla="*/ 6577 w 12455"/>
              <a:gd name="connsiteY16" fmla="*/ 114 h 12170"/>
              <a:gd name="connsiteX0" fmla="*/ 6577 w 12455"/>
              <a:gd name="connsiteY0" fmla="*/ 114 h 12170"/>
              <a:gd name="connsiteX1" fmla="*/ 9226 w 12455"/>
              <a:gd name="connsiteY1" fmla="*/ 446 h 12170"/>
              <a:gd name="connsiteX2" fmla="*/ 12226 w 12455"/>
              <a:gd name="connsiteY2" fmla="*/ 808 h 12170"/>
              <a:gd name="connsiteX3" fmla="*/ 12225 w 12455"/>
              <a:gd name="connsiteY3" fmla="*/ 4856 h 12170"/>
              <a:gd name="connsiteX4" fmla="*/ 12259 w 12455"/>
              <a:gd name="connsiteY4" fmla="*/ 8181 h 12170"/>
              <a:gd name="connsiteX5" fmla="*/ 12253 w 12455"/>
              <a:gd name="connsiteY5" fmla="*/ 11388 h 12170"/>
              <a:gd name="connsiteX6" fmla="*/ 9564 w 12455"/>
              <a:gd name="connsiteY6" fmla="*/ 12134 h 12170"/>
              <a:gd name="connsiteX7" fmla="*/ 6163 w 12455"/>
              <a:gd name="connsiteY7" fmla="*/ 11476 h 12170"/>
              <a:gd name="connsiteX8" fmla="*/ 3416 w 12455"/>
              <a:gd name="connsiteY8" fmla="*/ 9233 h 12170"/>
              <a:gd name="connsiteX9" fmla="*/ 1638 w 12455"/>
              <a:gd name="connsiteY9" fmla="*/ 6760 h 12170"/>
              <a:gd name="connsiteX10" fmla="*/ 453 w 12455"/>
              <a:gd name="connsiteY10" fmla="*/ 4554 h 12170"/>
              <a:gd name="connsiteX11" fmla="*/ 102 w 12455"/>
              <a:gd name="connsiteY11" fmla="*/ 3347 h 12170"/>
              <a:gd name="connsiteX12" fmla="*/ 60 w 12455"/>
              <a:gd name="connsiteY12" fmla="*/ 1948 h 12170"/>
              <a:gd name="connsiteX13" fmla="*/ 757 w 12455"/>
              <a:gd name="connsiteY13" fmla="*/ 827 h 12170"/>
              <a:gd name="connsiteX14" fmla="*/ 2220 w 12455"/>
              <a:gd name="connsiteY14" fmla="*/ 233 h 12170"/>
              <a:gd name="connsiteX15" fmla="*/ 4408 w 12455"/>
              <a:gd name="connsiteY15" fmla="*/ 2 h 12170"/>
              <a:gd name="connsiteX16" fmla="*/ 6577 w 12455"/>
              <a:gd name="connsiteY16" fmla="*/ 114 h 12170"/>
              <a:gd name="connsiteX0" fmla="*/ 6577 w 12451"/>
              <a:gd name="connsiteY0" fmla="*/ 114 h 12218"/>
              <a:gd name="connsiteX1" fmla="*/ 9226 w 12451"/>
              <a:gd name="connsiteY1" fmla="*/ 446 h 12218"/>
              <a:gd name="connsiteX2" fmla="*/ 12226 w 12451"/>
              <a:gd name="connsiteY2" fmla="*/ 808 h 12218"/>
              <a:gd name="connsiteX3" fmla="*/ 12225 w 12451"/>
              <a:gd name="connsiteY3" fmla="*/ 4856 h 12218"/>
              <a:gd name="connsiteX4" fmla="*/ 12259 w 12451"/>
              <a:gd name="connsiteY4" fmla="*/ 8181 h 12218"/>
              <a:gd name="connsiteX5" fmla="*/ 12253 w 12451"/>
              <a:gd name="connsiteY5" fmla="*/ 11388 h 12218"/>
              <a:gd name="connsiteX6" fmla="*/ 9611 w 12451"/>
              <a:gd name="connsiteY6" fmla="*/ 12185 h 12218"/>
              <a:gd name="connsiteX7" fmla="*/ 6163 w 12451"/>
              <a:gd name="connsiteY7" fmla="*/ 11476 h 12218"/>
              <a:gd name="connsiteX8" fmla="*/ 3416 w 12451"/>
              <a:gd name="connsiteY8" fmla="*/ 9233 h 12218"/>
              <a:gd name="connsiteX9" fmla="*/ 1638 w 12451"/>
              <a:gd name="connsiteY9" fmla="*/ 6760 h 12218"/>
              <a:gd name="connsiteX10" fmla="*/ 453 w 12451"/>
              <a:gd name="connsiteY10" fmla="*/ 4554 h 12218"/>
              <a:gd name="connsiteX11" fmla="*/ 102 w 12451"/>
              <a:gd name="connsiteY11" fmla="*/ 3347 h 12218"/>
              <a:gd name="connsiteX12" fmla="*/ 60 w 12451"/>
              <a:gd name="connsiteY12" fmla="*/ 1948 h 12218"/>
              <a:gd name="connsiteX13" fmla="*/ 757 w 12451"/>
              <a:gd name="connsiteY13" fmla="*/ 827 h 12218"/>
              <a:gd name="connsiteX14" fmla="*/ 2220 w 12451"/>
              <a:gd name="connsiteY14" fmla="*/ 233 h 12218"/>
              <a:gd name="connsiteX15" fmla="*/ 4408 w 12451"/>
              <a:gd name="connsiteY15" fmla="*/ 2 h 12218"/>
              <a:gd name="connsiteX16" fmla="*/ 6577 w 12451"/>
              <a:gd name="connsiteY16" fmla="*/ 114 h 12218"/>
              <a:gd name="connsiteX0" fmla="*/ 6577 w 12373"/>
              <a:gd name="connsiteY0" fmla="*/ 114 h 12189"/>
              <a:gd name="connsiteX1" fmla="*/ 9226 w 12373"/>
              <a:gd name="connsiteY1" fmla="*/ 446 h 12189"/>
              <a:gd name="connsiteX2" fmla="*/ 12226 w 12373"/>
              <a:gd name="connsiteY2" fmla="*/ 808 h 12189"/>
              <a:gd name="connsiteX3" fmla="*/ 12225 w 12373"/>
              <a:gd name="connsiteY3" fmla="*/ 4856 h 12189"/>
              <a:gd name="connsiteX4" fmla="*/ 12259 w 12373"/>
              <a:gd name="connsiteY4" fmla="*/ 8181 h 12189"/>
              <a:gd name="connsiteX5" fmla="*/ 12147 w 12373"/>
              <a:gd name="connsiteY5" fmla="*/ 11206 h 12189"/>
              <a:gd name="connsiteX6" fmla="*/ 9611 w 12373"/>
              <a:gd name="connsiteY6" fmla="*/ 12185 h 12189"/>
              <a:gd name="connsiteX7" fmla="*/ 6163 w 12373"/>
              <a:gd name="connsiteY7" fmla="*/ 11476 h 12189"/>
              <a:gd name="connsiteX8" fmla="*/ 3416 w 12373"/>
              <a:gd name="connsiteY8" fmla="*/ 9233 h 12189"/>
              <a:gd name="connsiteX9" fmla="*/ 1638 w 12373"/>
              <a:gd name="connsiteY9" fmla="*/ 6760 h 12189"/>
              <a:gd name="connsiteX10" fmla="*/ 453 w 12373"/>
              <a:gd name="connsiteY10" fmla="*/ 4554 h 12189"/>
              <a:gd name="connsiteX11" fmla="*/ 102 w 12373"/>
              <a:gd name="connsiteY11" fmla="*/ 3347 h 12189"/>
              <a:gd name="connsiteX12" fmla="*/ 60 w 12373"/>
              <a:gd name="connsiteY12" fmla="*/ 1948 h 12189"/>
              <a:gd name="connsiteX13" fmla="*/ 757 w 12373"/>
              <a:gd name="connsiteY13" fmla="*/ 827 h 12189"/>
              <a:gd name="connsiteX14" fmla="*/ 2220 w 12373"/>
              <a:gd name="connsiteY14" fmla="*/ 233 h 12189"/>
              <a:gd name="connsiteX15" fmla="*/ 4408 w 12373"/>
              <a:gd name="connsiteY15" fmla="*/ 2 h 12189"/>
              <a:gd name="connsiteX16" fmla="*/ 6577 w 12373"/>
              <a:gd name="connsiteY16" fmla="*/ 114 h 12189"/>
              <a:gd name="connsiteX0" fmla="*/ 6577 w 12450"/>
              <a:gd name="connsiteY0" fmla="*/ 114 h 12187"/>
              <a:gd name="connsiteX1" fmla="*/ 9226 w 12450"/>
              <a:gd name="connsiteY1" fmla="*/ 446 h 12187"/>
              <a:gd name="connsiteX2" fmla="*/ 12226 w 12450"/>
              <a:gd name="connsiteY2" fmla="*/ 808 h 12187"/>
              <a:gd name="connsiteX3" fmla="*/ 12225 w 12450"/>
              <a:gd name="connsiteY3" fmla="*/ 4856 h 12187"/>
              <a:gd name="connsiteX4" fmla="*/ 12259 w 12450"/>
              <a:gd name="connsiteY4" fmla="*/ 8181 h 12187"/>
              <a:gd name="connsiteX5" fmla="*/ 12252 w 12450"/>
              <a:gd name="connsiteY5" fmla="*/ 11308 h 12187"/>
              <a:gd name="connsiteX6" fmla="*/ 9611 w 12450"/>
              <a:gd name="connsiteY6" fmla="*/ 12185 h 12187"/>
              <a:gd name="connsiteX7" fmla="*/ 6163 w 12450"/>
              <a:gd name="connsiteY7" fmla="*/ 11476 h 12187"/>
              <a:gd name="connsiteX8" fmla="*/ 3416 w 12450"/>
              <a:gd name="connsiteY8" fmla="*/ 9233 h 12187"/>
              <a:gd name="connsiteX9" fmla="*/ 1638 w 12450"/>
              <a:gd name="connsiteY9" fmla="*/ 6760 h 12187"/>
              <a:gd name="connsiteX10" fmla="*/ 453 w 12450"/>
              <a:gd name="connsiteY10" fmla="*/ 4554 h 12187"/>
              <a:gd name="connsiteX11" fmla="*/ 102 w 12450"/>
              <a:gd name="connsiteY11" fmla="*/ 3347 h 12187"/>
              <a:gd name="connsiteX12" fmla="*/ 60 w 12450"/>
              <a:gd name="connsiteY12" fmla="*/ 1948 h 12187"/>
              <a:gd name="connsiteX13" fmla="*/ 757 w 12450"/>
              <a:gd name="connsiteY13" fmla="*/ 827 h 12187"/>
              <a:gd name="connsiteX14" fmla="*/ 2220 w 12450"/>
              <a:gd name="connsiteY14" fmla="*/ 233 h 12187"/>
              <a:gd name="connsiteX15" fmla="*/ 4408 w 12450"/>
              <a:gd name="connsiteY15" fmla="*/ 2 h 12187"/>
              <a:gd name="connsiteX16" fmla="*/ 6577 w 12450"/>
              <a:gd name="connsiteY16" fmla="*/ 114 h 12187"/>
              <a:gd name="connsiteX0" fmla="*/ 6577 w 12277"/>
              <a:gd name="connsiteY0" fmla="*/ 114 h 12187"/>
              <a:gd name="connsiteX1" fmla="*/ 9226 w 12277"/>
              <a:gd name="connsiteY1" fmla="*/ 446 h 12187"/>
              <a:gd name="connsiteX2" fmla="*/ 12226 w 12277"/>
              <a:gd name="connsiteY2" fmla="*/ 808 h 12187"/>
              <a:gd name="connsiteX3" fmla="*/ 12225 w 12277"/>
              <a:gd name="connsiteY3" fmla="*/ 4856 h 12187"/>
              <a:gd name="connsiteX4" fmla="*/ 12259 w 12277"/>
              <a:gd name="connsiteY4" fmla="*/ 8181 h 12187"/>
              <a:gd name="connsiteX5" fmla="*/ 12252 w 12277"/>
              <a:gd name="connsiteY5" fmla="*/ 11308 h 12187"/>
              <a:gd name="connsiteX6" fmla="*/ 9611 w 12277"/>
              <a:gd name="connsiteY6" fmla="*/ 12185 h 12187"/>
              <a:gd name="connsiteX7" fmla="*/ 6163 w 12277"/>
              <a:gd name="connsiteY7" fmla="*/ 11476 h 12187"/>
              <a:gd name="connsiteX8" fmla="*/ 3416 w 12277"/>
              <a:gd name="connsiteY8" fmla="*/ 9233 h 12187"/>
              <a:gd name="connsiteX9" fmla="*/ 1638 w 12277"/>
              <a:gd name="connsiteY9" fmla="*/ 6760 h 12187"/>
              <a:gd name="connsiteX10" fmla="*/ 453 w 12277"/>
              <a:gd name="connsiteY10" fmla="*/ 4554 h 12187"/>
              <a:gd name="connsiteX11" fmla="*/ 102 w 12277"/>
              <a:gd name="connsiteY11" fmla="*/ 3347 h 12187"/>
              <a:gd name="connsiteX12" fmla="*/ 60 w 12277"/>
              <a:gd name="connsiteY12" fmla="*/ 1948 h 12187"/>
              <a:gd name="connsiteX13" fmla="*/ 757 w 12277"/>
              <a:gd name="connsiteY13" fmla="*/ 827 h 12187"/>
              <a:gd name="connsiteX14" fmla="*/ 2220 w 12277"/>
              <a:gd name="connsiteY14" fmla="*/ 233 h 12187"/>
              <a:gd name="connsiteX15" fmla="*/ 4408 w 12277"/>
              <a:gd name="connsiteY15" fmla="*/ 2 h 12187"/>
              <a:gd name="connsiteX16" fmla="*/ 6577 w 12277"/>
              <a:gd name="connsiteY16" fmla="*/ 114 h 12187"/>
              <a:gd name="connsiteX0" fmla="*/ 6577 w 12277"/>
              <a:gd name="connsiteY0" fmla="*/ 114 h 12200"/>
              <a:gd name="connsiteX1" fmla="*/ 9226 w 12277"/>
              <a:gd name="connsiteY1" fmla="*/ 446 h 12200"/>
              <a:gd name="connsiteX2" fmla="*/ 12226 w 12277"/>
              <a:gd name="connsiteY2" fmla="*/ 808 h 12200"/>
              <a:gd name="connsiteX3" fmla="*/ 12225 w 12277"/>
              <a:gd name="connsiteY3" fmla="*/ 4856 h 12200"/>
              <a:gd name="connsiteX4" fmla="*/ 12259 w 12277"/>
              <a:gd name="connsiteY4" fmla="*/ 8181 h 12200"/>
              <a:gd name="connsiteX5" fmla="*/ 12252 w 12277"/>
              <a:gd name="connsiteY5" fmla="*/ 11308 h 12200"/>
              <a:gd name="connsiteX6" fmla="*/ 9611 w 12277"/>
              <a:gd name="connsiteY6" fmla="*/ 12185 h 12200"/>
              <a:gd name="connsiteX7" fmla="*/ 6163 w 12277"/>
              <a:gd name="connsiteY7" fmla="*/ 11476 h 12200"/>
              <a:gd name="connsiteX8" fmla="*/ 3416 w 12277"/>
              <a:gd name="connsiteY8" fmla="*/ 9233 h 12200"/>
              <a:gd name="connsiteX9" fmla="*/ 1638 w 12277"/>
              <a:gd name="connsiteY9" fmla="*/ 6760 h 12200"/>
              <a:gd name="connsiteX10" fmla="*/ 453 w 12277"/>
              <a:gd name="connsiteY10" fmla="*/ 4554 h 12200"/>
              <a:gd name="connsiteX11" fmla="*/ 102 w 12277"/>
              <a:gd name="connsiteY11" fmla="*/ 3347 h 12200"/>
              <a:gd name="connsiteX12" fmla="*/ 60 w 12277"/>
              <a:gd name="connsiteY12" fmla="*/ 1948 h 12200"/>
              <a:gd name="connsiteX13" fmla="*/ 757 w 12277"/>
              <a:gd name="connsiteY13" fmla="*/ 827 h 12200"/>
              <a:gd name="connsiteX14" fmla="*/ 2220 w 12277"/>
              <a:gd name="connsiteY14" fmla="*/ 233 h 12200"/>
              <a:gd name="connsiteX15" fmla="*/ 4408 w 12277"/>
              <a:gd name="connsiteY15" fmla="*/ 2 h 12200"/>
              <a:gd name="connsiteX16" fmla="*/ 6577 w 12277"/>
              <a:gd name="connsiteY16" fmla="*/ 114 h 12200"/>
              <a:gd name="connsiteX0" fmla="*/ 6577 w 12277"/>
              <a:gd name="connsiteY0" fmla="*/ 114 h 12192"/>
              <a:gd name="connsiteX1" fmla="*/ 9226 w 12277"/>
              <a:gd name="connsiteY1" fmla="*/ 446 h 12192"/>
              <a:gd name="connsiteX2" fmla="*/ 12226 w 12277"/>
              <a:gd name="connsiteY2" fmla="*/ 808 h 12192"/>
              <a:gd name="connsiteX3" fmla="*/ 12225 w 12277"/>
              <a:gd name="connsiteY3" fmla="*/ 4856 h 12192"/>
              <a:gd name="connsiteX4" fmla="*/ 12259 w 12277"/>
              <a:gd name="connsiteY4" fmla="*/ 8181 h 12192"/>
              <a:gd name="connsiteX5" fmla="*/ 12252 w 12277"/>
              <a:gd name="connsiteY5" fmla="*/ 11308 h 12192"/>
              <a:gd name="connsiteX6" fmla="*/ 9611 w 12277"/>
              <a:gd name="connsiteY6" fmla="*/ 12185 h 12192"/>
              <a:gd name="connsiteX7" fmla="*/ 6163 w 12277"/>
              <a:gd name="connsiteY7" fmla="*/ 11476 h 12192"/>
              <a:gd name="connsiteX8" fmla="*/ 3416 w 12277"/>
              <a:gd name="connsiteY8" fmla="*/ 9233 h 12192"/>
              <a:gd name="connsiteX9" fmla="*/ 1638 w 12277"/>
              <a:gd name="connsiteY9" fmla="*/ 6760 h 12192"/>
              <a:gd name="connsiteX10" fmla="*/ 453 w 12277"/>
              <a:gd name="connsiteY10" fmla="*/ 4554 h 12192"/>
              <a:gd name="connsiteX11" fmla="*/ 102 w 12277"/>
              <a:gd name="connsiteY11" fmla="*/ 3347 h 12192"/>
              <a:gd name="connsiteX12" fmla="*/ 60 w 12277"/>
              <a:gd name="connsiteY12" fmla="*/ 1948 h 12192"/>
              <a:gd name="connsiteX13" fmla="*/ 757 w 12277"/>
              <a:gd name="connsiteY13" fmla="*/ 827 h 12192"/>
              <a:gd name="connsiteX14" fmla="*/ 2220 w 12277"/>
              <a:gd name="connsiteY14" fmla="*/ 233 h 12192"/>
              <a:gd name="connsiteX15" fmla="*/ 4408 w 12277"/>
              <a:gd name="connsiteY15" fmla="*/ 2 h 12192"/>
              <a:gd name="connsiteX16" fmla="*/ 6577 w 12277"/>
              <a:gd name="connsiteY16" fmla="*/ 114 h 12192"/>
              <a:gd name="connsiteX0" fmla="*/ 6577 w 12270"/>
              <a:gd name="connsiteY0" fmla="*/ 114 h 12185"/>
              <a:gd name="connsiteX1" fmla="*/ 9226 w 12270"/>
              <a:gd name="connsiteY1" fmla="*/ 446 h 12185"/>
              <a:gd name="connsiteX2" fmla="*/ 12226 w 12270"/>
              <a:gd name="connsiteY2" fmla="*/ 808 h 12185"/>
              <a:gd name="connsiteX3" fmla="*/ 12225 w 12270"/>
              <a:gd name="connsiteY3" fmla="*/ 4856 h 12185"/>
              <a:gd name="connsiteX4" fmla="*/ 12259 w 12270"/>
              <a:gd name="connsiteY4" fmla="*/ 8181 h 12185"/>
              <a:gd name="connsiteX5" fmla="*/ 12241 w 12270"/>
              <a:gd name="connsiteY5" fmla="*/ 11415 h 12185"/>
              <a:gd name="connsiteX6" fmla="*/ 9611 w 12270"/>
              <a:gd name="connsiteY6" fmla="*/ 12185 h 12185"/>
              <a:gd name="connsiteX7" fmla="*/ 6163 w 12270"/>
              <a:gd name="connsiteY7" fmla="*/ 11476 h 12185"/>
              <a:gd name="connsiteX8" fmla="*/ 3416 w 12270"/>
              <a:gd name="connsiteY8" fmla="*/ 9233 h 12185"/>
              <a:gd name="connsiteX9" fmla="*/ 1638 w 12270"/>
              <a:gd name="connsiteY9" fmla="*/ 6760 h 12185"/>
              <a:gd name="connsiteX10" fmla="*/ 453 w 12270"/>
              <a:gd name="connsiteY10" fmla="*/ 4554 h 12185"/>
              <a:gd name="connsiteX11" fmla="*/ 102 w 12270"/>
              <a:gd name="connsiteY11" fmla="*/ 3347 h 12185"/>
              <a:gd name="connsiteX12" fmla="*/ 60 w 12270"/>
              <a:gd name="connsiteY12" fmla="*/ 1948 h 12185"/>
              <a:gd name="connsiteX13" fmla="*/ 757 w 12270"/>
              <a:gd name="connsiteY13" fmla="*/ 827 h 12185"/>
              <a:gd name="connsiteX14" fmla="*/ 2220 w 12270"/>
              <a:gd name="connsiteY14" fmla="*/ 233 h 12185"/>
              <a:gd name="connsiteX15" fmla="*/ 4408 w 12270"/>
              <a:gd name="connsiteY15" fmla="*/ 2 h 12185"/>
              <a:gd name="connsiteX16" fmla="*/ 6577 w 12270"/>
              <a:gd name="connsiteY16" fmla="*/ 114 h 12185"/>
              <a:gd name="connsiteX0" fmla="*/ 6577 w 12286"/>
              <a:gd name="connsiteY0" fmla="*/ 114 h 12185"/>
              <a:gd name="connsiteX1" fmla="*/ 9226 w 12286"/>
              <a:gd name="connsiteY1" fmla="*/ 446 h 12185"/>
              <a:gd name="connsiteX2" fmla="*/ 12226 w 12286"/>
              <a:gd name="connsiteY2" fmla="*/ 808 h 12185"/>
              <a:gd name="connsiteX3" fmla="*/ 12225 w 12286"/>
              <a:gd name="connsiteY3" fmla="*/ 4856 h 12185"/>
              <a:gd name="connsiteX4" fmla="*/ 12259 w 12286"/>
              <a:gd name="connsiteY4" fmla="*/ 8181 h 12185"/>
              <a:gd name="connsiteX5" fmla="*/ 12264 w 12286"/>
              <a:gd name="connsiteY5" fmla="*/ 11414 h 12185"/>
              <a:gd name="connsiteX6" fmla="*/ 9611 w 12286"/>
              <a:gd name="connsiteY6" fmla="*/ 12185 h 12185"/>
              <a:gd name="connsiteX7" fmla="*/ 6163 w 12286"/>
              <a:gd name="connsiteY7" fmla="*/ 11476 h 12185"/>
              <a:gd name="connsiteX8" fmla="*/ 3416 w 12286"/>
              <a:gd name="connsiteY8" fmla="*/ 9233 h 12185"/>
              <a:gd name="connsiteX9" fmla="*/ 1638 w 12286"/>
              <a:gd name="connsiteY9" fmla="*/ 6760 h 12185"/>
              <a:gd name="connsiteX10" fmla="*/ 453 w 12286"/>
              <a:gd name="connsiteY10" fmla="*/ 4554 h 12185"/>
              <a:gd name="connsiteX11" fmla="*/ 102 w 12286"/>
              <a:gd name="connsiteY11" fmla="*/ 3347 h 12185"/>
              <a:gd name="connsiteX12" fmla="*/ 60 w 12286"/>
              <a:gd name="connsiteY12" fmla="*/ 1948 h 12185"/>
              <a:gd name="connsiteX13" fmla="*/ 757 w 12286"/>
              <a:gd name="connsiteY13" fmla="*/ 827 h 12185"/>
              <a:gd name="connsiteX14" fmla="*/ 2220 w 12286"/>
              <a:gd name="connsiteY14" fmla="*/ 233 h 12185"/>
              <a:gd name="connsiteX15" fmla="*/ 4408 w 12286"/>
              <a:gd name="connsiteY15" fmla="*/ 2 h 12185"/>
              <a:gd name="connsiteX16" fmla="*/ 6577 w 12286"/>
              <a:gd name="connsiteY16" fmla="*/ 114 h 12185"/>
              <a:gd name="connsiteX0" fmla="*/ 6577 w 12286"/>
              <a:gd name="connsiteY0" fmla="*/ 114 h 12196"/>
              <a:gd name="connsiteX1" fmla="*/ 9226 w 12286"/>
              <a:gd name="connsiteY1" fmla="*/ 446 h 12196"/>
              <a:gd name="connsiteX2" fmla="*/ 12226 w 12286"/>
              <a:gd name="connsiteY2" fmla="*/ 808 h 12196"/>
              <a:gd name="connsiteX3" fmla="*/ 12225 w 12286"/>
              <a:gd name="connsiteY3" fmla="*/ 4856 h 12196"/>
              <a:gd name="connsiteX4" fmla="*/ 12259 w 12286"/>
              <a:gd name="connsiteY4" fmla="*/ 8181 h 12196"/>
              <a:gd name="connsiteX5" fmla="*/ 12264 w 12286"/>
              <a:gd name="connsiteY5" fmla="*/ 11414 h 12196"/>
              <a:gd name="connsiteX6" fmla="*/ 9611 w 12286"/>
              <a:gd name="connsiteY6" fmla="*/ 12185 h 12196"/>
              <a:gd name="connsiteX7" fmla="*/ 6163 w 12286"/>
              <a:gd name="connsiteY7" fmla="*/ 11476 h 12196"/>
              <a:gd name="connsiteX8" fmla="*/ 3416 w 12286"/>
              <a:gd name="connsiteY8" fmla="*/ 9233 h 12196"/>
              <a:gd name="connsiteX9" fmla="*/ 1638 w 12286"/>
              <a:gd name="connsiteY9" fmla="*/ 6760 h 12196"/>
              <a:gd name="connsiteX10" fmla="*/ 453 w 12286"/>
              <a:gd name="connsiteY10" fmla="*/ 4554 h 12196"/>
              <a:gd name="connsiteX11" fmla="*/ 102 w 12286"/>
              <a:gd name="connsiteY11" fmla="*/ 3347 h 12196"/>
              <a:gd name="connsiteX12" fmla="*/ 60 w 12286"/>
              <a:gd name="connsiteY12" fmla="*/ 1948 h 12196"/>
              <a:gd name="connsiteX13" fmla="*/ 757 w 12286"/>
              <a:gd name="connsiteY13" fmla="*/ 827 h 12196"/>
              <a:gd name="connsiteX14" fmla="*/ 2220 w 12286"/>
              <a:gd name="connsiteY14" fmla="*/ 233 h 12196"/>
              <a:gd name="connsiteX15" fmla="*/ 4408 w 12286"/>
              <a:gd name="connsiteY15" fmla="*/ 2 h 12196"/>
              <a:gd name="connsiteX16" fmla="*/ 6577 w 12286"/>
              <a:gd name="connsiteY16" fmla="*/ 114 h 12196"/>
              <a:gd name="connsiteX0" fmla="*/ 6577 w 12286"/>
              <a:gd name="connsiteY0" fmla="*/ 114 h 12196"/>
              <a:gd name="connsiteX1" fmla="*/ 9226 w 12286"/>
              <a:gd name="connsiteY1" fmla="*/ 446 h 12196"/>
              <a:gd name="connsiteX2" fmla="*/ 12226 w 12286"/>
              <a:gd name="connsiteY2" fmla="*/ 808 h 12196"/>
              <a:gd name="connsiteX3" fmla="*/ 12225 w 12286"/>
              <a:gd name="connsiteY3" fmla="*/ 4856 h 12196"/>
              <a:gd name="connsiteX4" fmla="*/ 12259 w 12286"/>
              <a:gd name="connsiteY4" fmla="*/ 8181 h 12196"/>
              <a:gd name="connsiteX5" fmla="*/ 12264 w 12286"/>
              <a:gd name="connsiteY5" fmla="*/ 11414 h 12196"/>
              <a:gd name="connsiteX6" fmla="*/ 9611 w 12286"/>
              <a:gd name="connsiteY6" fmla="*/ 12185 h 12196"/>
              <a:gd name="connsiteX7" fmla="*/ 6163 w 12286"/>
              <a:gd name="connsiteY7" fmla="*/ 11476 h 12196"/>
              <a:gd name="connsiteX8" fmla="*/ 3416 w 12286"/>
              <a:gd name="connsiteY8" fmla="*/ 9233 h 12196"/>
              <a:gd name="connsiteX9" fmla="*/ 1638 w 12286"/>
              <a:gd name="connsiteY9" fmla="*/ 6760 h 12196"/>
              <a:gd name="connsiteX10" fmla="*/ 453 w 12286"/>
              <a:gd name="connsiteY10" fmla="*/ 4554 h 12196"/>
              <a:gd name="connsiteX11" fmla="*/ 102 w 12286"/>
              <a:gd name="connsiteY11" fmla="*/ 3347 h 12196"/>
              <a:gd name="connsiteX12" fmla="*/ 60 w 12286"/>
              <a:gd name="connsiteY12" fmla="*/ 1948 h 12196"/>
              <a:gd name="connsiteX13" fmla="*/ 757 w 12286"/>
              <a:gd name="connsiteY13" fmla="*/ 827 h 12196"/>
              <a:gd name="connsiteX14" fmla="*/ 2220 w 12286"/>
              <a:gd name="connsiteY14" fmla="*/ 233 h 12196"/>
              <a:gd name="connsiteX15" fmla="*/ 4408 w 12286"/>
              <a:gd name="connsiteY15" fmla="*/ 2 h 12196"/>
              <a:gd name="connsiteX16" fmla="*/ 6577 w 12286"/>
              <a:gd name="connsiteY16" fmla="*/ 114 h 12196"/>
              <a:gd name="connsiteX0" fmla="*/ 6577 w 12286"/>
              <a:gd name="connsiteY0" fmla="*/ 114 h 12195"/>
              <a:gd name="connsiteX1" fmla="*/ 9226 w 12286"/>
              <a:gd name="connsiteY1" fmla="*/ 446 h 12195"/>
              <a:gd name="connsiteX2" fmla="*/ 12226 w 12286"/>
              <a:gd name="connsiteY2" fmla="*/ 808 h 12195"/>
              <a:gd name="connsiteX3" fmla="*/ 12225 w 12286"/>
              <a:gd name="connsiteY3" fmla="*/ 4856 h 12195"/>
              <a:gd name="connsiteX4" fmla="*/ 12259 w 12286"/>
              <a:gd name="connsiteY4" fmla="*/ 8181 h 12195"/>
              <a:gd name="connsiteX5" fmla="*/ 12264 w 12286"/>
              <a:gd name="connsiteY5" fmla="*/ 11414 h 12195"/>
              <a:gd name="connsiteX6" fmla="*/ 9611 w 12286"/>
              <a:gd name="connsiteY6" fmla="*/ 12185 h 12195"/>
              <a:gd name="connsiteX7" fmla="*/ 6163 w 12286"/>
              <a:gd name="connsiteY7" fmla="*/ 11476 h 12195"/>
              <a:gd name="connsiteX8" fmla="*/ 3440 w 12286"/>
              <a:gd name="connsiteY8" fmla="*/ 9339 h 12195"/>
              <a:gd name="connsiteX9" fmla="*/ 1638 w 12286"/>
              <a:gd name="connsiteY9" fmla="*/ 6760 h 12195"/>
              <a:gd name="connsiteX10" fmla="*/ 453 w 12286"/>
              <a:gd name="connsiteY10" fmla="*/ 4554 h 12195"/>
              <a:gd name="connsiteX11" fmla="*/ 102 w 12286"/>
              <a:gd name="connsiteY11" fmla="*/ 3347 h 12195"/>
              <a:gd name="connsiteX12" fmla="*/ 60 w 12286"/>
              <a:gd name="connsiteY12" fmla="*/ 1948 h 12195"/>
              <a:gd name="connsiteX13" fmla="*/ 757 w 12286"/>
              <a:gd name="connsiteY13" fmla="*/ 827 h 12195"/>
              <a:gd name="connsiteX14" fmla="*/ 2220 w 12286"/>
              <a:gd name="connsiteY14" fmla="*/ 233 h 12195"/>
              <a:gd name="connsiteX15" fmla="*/ 4408 w 12286"/>
              <a:gd name="connsiteY15" fmla="*/ 2 h 12195"/>
              <a:gd name="connsiteX16" fmla="*/ 6577 w 12286"/>
              <a:gd name="connsiteY16" fmla="*/ 114 h 12195"/>
              <a:gd name="connsiteX0" fmla="*/ 6577 w 12296"/>
              <a:gd name="connsiteY0" fmla="*/ 114 h 12185"/>
              <a:gd name="connsiteX1" fmla="*/ 9226 w 12296"/>
              <a:gd name="connsiteY1" fmla="*/ 446 h 12185"/>
              <a:gd name="connsiteX2" fmla="*/ 12226 w 12296"/>
              <a:gd name="connsiteY2" fmla="*/ 808 h 12185"/>
              <a:gd name="connsiteX3" fmla="*/ 12225 w 12296"/>
              <a:gd name="connsiteY3" fmla="*/ 4856 h 12185"/>
              <a:gd name="connsiteX4" fmla="*/ 12259 w 12296"/>
              <a:gd name="connsiteY4" fmla="*/ 8181 h 12185"/>
              <a:gd name="connsiteX5" fmla="*/ 12276 w 12296"/>
              <a:gd name="connsiteY5" fmla="*/ 11414 h 12185"/>
              <a:gd name="connsiteX6" fmla="*/ 9611 w 12296"/>
              <a:gd name="connsiteY6" fmla="*/ 12185 h 12185"/>
              <a:gd name="connsiteX7" fmla="*/ 6163 w 12296"/>
              <a:gd name="connsiteY7" fmla="*/ 11476 h 12185"/>
              <a:gd name="connsiteX8" fmla="*/ 3440 w 12296"/>
              <a:gd name="connsiteY8" fmla="*/ 9339 h 12185"/>
              <a:gd name="connsiteX9" fmla="*/ 1638 w 12296"/>
              <a:gd name="connsiteY9" fmla="*/ 6760 h 12185"/>
              <a:gd name="connsiteX10" fmla="*/ 453 w 12296"/>
              <a:gd name="connsiteY10" fmla="*/ 4554 h 12185"/>
              <a:gd name="connsiteX11" fmla="*/ 102 w 12296"/>
              <a:gd name="connsiteY11" fmla="*/ 3347 h 12185"/>
              <a:gd name="connsiteX12" fmla="*/ 60 w 12296"/>
              <a:gd name="connsiteY12" fmla="*/ 1948 h 12185"/>
              <a:gd name="connsiteX13" fmla="*/ 757 w 12296"/>
              <a:gd name="connsiteY13" fmla="*/ 827 h 12185"/>
              <a:gd name="connsiteX14" fmla="*/ 2220 w 12296"/>
              <a:gd name="connsiteY14" fmla="*/ 233 h 12185"/>
              <a:gd name="connsiteX15" fmla="*/ 4408 w 12296"/>
              <a:gd name="connsiteY15" fmla="*/ 2 h 12185"/>
              <a:gd name="connsiteX16" fmla="*/ 6577 w 12296"/>
              <a:gd name="connsiteY16" fmla="*/ 114 h 12185"/>
              <a:gd name="connsiteX0" fmla="*/ 6577 w 12296"/>
              <a:gd name="connsiteY0" fmla="*/ 114 h 12185"/>
              <a:gd name="connsiteX1" fmla="*/ 9226 w 12296"/>
              <a:gd name="connsiteY1" fmla="*/ 446 h 12185"/>
              <a:gd name="connsiteX2" fmla="*/ 12203 w 12296"/>
              <a:gd name="connsiteY2" fmla="*/ 782 h 12185"/>
              <a:gd name="connsiteX3" fmla="*/ 12225 w 12296"/>
              <a:gd name="connsiteY3" fmla="*/ 4856 h 12185"/>
              <a:gd name="connsiteX4" fmla="*/ 12259 w 12296"/>
              <a:gd name="connsiteY4" fmla="*/ 8181 h 12185"/>
              <a:gd name="connsiteX5" fmla="*/ 12276 w 12296"/>
              <a:gd name="connsiteY5" fmla="*/ 11414 h 12185"/>
              <a:gd name="connsiteX6" fmla="*/ 9611 w 12296"/>
              <a:gd name="connsiteY6" fmla="*/ 12185 h 12185"/>
              <a:gd name="connsiteX7" fmla="*/ 6163 w 12296"/>
              <a:gd name="connsiteY7" fmla="*/ 11476 h 12185"/>
              <a:gd name="connsiteX8" fmla="*/ 3440 w 12296"/>
              <a:gd name="connsiteY8" fmla="*/ 9339 h 12185"/>
              <a:gd name="connsiteX9" fmla="*/ 1638 w 12296"/>
              <a:gd name="connsiteY9" fmla="*/ 6760 h 12185"/>
              <a:gd name="connsiteX10" fmla="*/ 453 w 12296"/>
              <a:gd name="connsiteY10" fmla="*/ 4554 h 12185"/>
              <a:gd name="connsiteX11" fmla="*/ 102 w 12296"/>
              <a:gd name="connsiteY11" fmla="*/ 3347 h 12185"/>
              <a:gd name="connsiteX12" fmla="*/ 60 w 12296"/>
              <a:gd name="connsiteY12" fmla="*/ 1948 h 12185"/>
              <a:gd name="connsiteX13" fmla="*/ 757 w 12296"/>
              <a:gd name="connsiteY13" fmla="*/ 827 h 12185"/>
              <a:gd name="connsiteX14" fmla="*/ 2220 w 12296"/>
              <a:gd name="connsiteY14" fmla="*/ 233 h 12185"/>
              <a:gd name="connsiteX15" fmla="*/ 4408 w 12296"/>
              <a:gd name="connsiteY15" fmla="*/ 2 h 12185"/>
              <a:gd name="connsiteX16" fmla="*/ 6577 w 12296"/>
              <a:gd name="connsiteY16" fmla="*/ 114 h 12185"/>
              <a:gd name="connsiteX0" fmla="*/ 6577 w 12296"/>
              <a:gd name="connsiteY0" fmla="*/ 114 h 12185"/>
              <a:gd name="connsiteX1" fmla="*/ 9226 w 12296"/>
              <a:gd name="connsiteY1" fmla="*/ 446 h 12185"/>
              <a:gd name="connsiteX2" fmla="*/ 12203 w 12296"/>
              <a:gd name="connsiteY2" fmla="*/ 782 h 12185"/>
              <a:gd name="connsiteX3" fmla="*/ 12225 w 12296"/>
              <a:gd name="connsiteY3" fmla="*/ 4856 h 12185"/>
              <a:gd name="connsiteX4" fmla="*/ 12259 w 12296"/>
              <a:gd name="connsiteY4" fmla="*/ 8181 h 12185"/>
              <a:gd name="connsiteX5" fmla="*/ 12276 w 12296"/>
              <a:gd name="connsiteY5" fmla="*/ 11414 h 12185"/>
              <a:gd name="connsiteX6" fmla="*/ 9611 w 12296"/>
              <a:gd name="connsiteY6" fmla="*/ 12185 h 12185"/>
              <a:gd name="connsiteX7" fmla="*/ 6163 w 12296"/>
              <a:gd name="connsiteY7" fmla="*/ 11476 h 12185"/>
              <a:gd name="connsiteX8" fmla="*/ 3440 w 12296"/>
              <a:gd name="connsiteY8" fmla="*/ 9339 h 12185"/>
              <a:gd name="connsiteX9" fmla="*/ 1638 w 12296"/>
              <a:gd name="connsiteY9" fmla="*/ 6760 h 12185"/>
              <a:gd name="connsiteX10" fmla="*/ 453 w 12296"/>
              <a:gd name="connsiteY10" fmla="*/ 4554 h 12185"/>
              <a:gd name="connsiteX11" fmla="*/ 102 w 12296"/>
              <a:gd name="connsiteY11" fmla="*/ 3347 h 12185"/>
              <a:gd name="connsiteX12" fmla="*/ 60 w 12296"/>
              <a:gd name="connsiteY12" fmla="*/ 1948 h 12185"/>
              <a:gd name="connsiteX13" fmla="*/ 757 w 12296"/>
              <a:gd name="connsiteY13" fmla="*/ 827 h 12185"/>
              <a:gd name="connsiteX14" fmla="*/ 2220 w 12296"/>
              <a:gd name="connsiteY14" fmla="*/ 233 h 12185"/>
              <a:gd name="connsiteX15" fmla="*/ 4408 w 12296"/>
              <a:gd name="connsiteY15" fmla="*/ 2 h 12185"/>
              <a:gd name="connsiteX16" fmla="*/ 6577 w 12296"/>
              <a:gd name="connsiteY16" fmla="*/ 114 h 12185"/>
              <a:gd name="connsiteX0" fmla="*/ 6567 w 12286"/>
              <a:gd name="connsiteY0" fmla="*/ 114 h 12185"/>
              <a:gd name="connsiteX1" fmla="*/ 9216 w 12286"/>
              <a:gd name="connsiteY1" fmla="*/ 446 h 12185"/>
              <a:gd name="connsiteX2" fmla="*/ 12193 w 12286"/>
              <a:gd name="connsiteY2" fmla="*/ 782 h 12185"/>
              <a:gd name="connsiteX3" fmla="*/ 12215 w 12286"/>
              <a:gd name="connsiteY3" fmla="*/ 4856 h 12185"/>
              <a:gd name="connsiteX4" fmla="*/ 12249 w 12286"/>
              <a:gd name="connsiteY4" fmla="*/ 8181 h 12185"/>
              <a:gd name="connsiteX5" fmla="*/ 12266 w 12286"/>
              <a:gd name="connsiteY5" fmla="*/ 11414 h 12185"/>
              <a:gd name="connsiteX6" fmla="*/ 9601 w 12286"/>
              <a:gd name="connsiteY6" fmla="*/ 12185 h 12185"/>
              <a:gd name="connsiteX7" fmla="*/ 6153 w 12286"/>
              <a:gd name="connsiteY7" fmla="*/ 11476 h 12185"/>
              <a:gd name="connsiteX8" fmla="*/ 3430 w 12286"/>
              <a:gd name="connsiteY8" fmla="*/ 9339 h 12185"/>
              <a:gd name="connsiteX9" fmla="*/ 1628 w 12286"/>
              <a:gd name="connsiteY9" fmla="*/ 6760 h 12185"/>
              <a:gd name="connsiteX10" fmla="*/ 443 w 12286"/>
              <a:gd name="connsiteY10" fmla="*/ 4554 h 12185"/>
              <a:gd name="connsiteX11" fmla="*/ 92 w 12286"/>
              <a:gd name="connsiteY11" fmla="*/ 3347 h 12185"/>
              <a:gd name="connsiteX12" fmla="*/ 50 w 12286"/>
              <a:gd name="connsiteY12" fmla="*/ 1948 h 12185"/>
              <a:gd name="connsiteX13" fmla="*/ 747 w 12286"/>
              <a:gd name="connsiteY13" fmla="*/ 827 h 12185"/>
              <a:gd name="connsiteX14" fmla="*/ 2210 w 12286"/>
              <a:gd name="connsiteY14" fmla="*/ 233 h 12185"/>
              <a:gd name="connsiteX15" fmla="*/ 4398 w 12286"/>
              <a:gd name="connsiteY15" fmla="*/ 2 h 12185"/>
              <a:gd name="connsiteX16" fmla="*/ 6567 w 12286"/>
              <a:gd name="connsiteY16" fmla="*/ 114 h 12185"/>
              <a:gd name="connsiteX0" fmla="*/ 6567 w 12267"/>
              <a:gd name="connsiteY0" fmla="*/ 114 h 12185"/>
              <a:gd name="connsiteX1" fmla="*/ 9216 w 12267"/>
              <a:gd name="connsiteY1" fmla="*/ 446 h 12185"/>
              <a:gd name="connsiteX2" fmla="*/ 12193 w 12267"/>
              <a:gd name="connsiteY2" fmla="*/ 782 h 12185"/>
              <a:gd name="connsiteX3" fmla="*/ 12215 w 12267"/>
              <a:gd name="connsiteY3" fmla="*/ 4856 h 12185"/>
              <a:gd name="connsiteX4" fmla="*/ 12249 w 12267"/>
              <a:gd name="connsiteY4" fmla="*/ 8181 h 12185"/>
              <a:gd name="connsiteX5" fmla="*/ 12266 w 12267"/>
              <a:gd name="connsiteY5" fmla="*/ 11414 h 12185"/>
              <a:gd name="connsiteX6" fmla="*/ 9601 w 12267"/>
              <a:gd name="connsiteY6" fmla="*/ 12185 h 12185"/>
              <a:gd name="connsiteX7" fmla="*/ 6153 w 12267"/>
              <a:gd name="connsiteY7" fmla="*/ 11476 h 12185"/>
              <a:gd name="connsiteX8" fmla="*/ 3430 w 12267"/>
              <a:gd name="connsiteY8" fmla="*/ 9339 h 12185"/>
              <a:gd name="connsiteX9" fmla="*/ 1628 w 12267"/>
              <a:gd name="connsiteY9" fmla="*/ 6760 h 12185"/>
              <a:gd name="connsiteX10" fmla="*/ 443 w 12267"/>
              <a:gd name="connsiteY10" fmla="*/ 4554 h 12185"/>
              <a:gd name="connsiteX11" fmla="*/ 92 w 12267"/>
              <a:gd name="connsiteY11" fmla="*/ 3347 h 12185"/>
              <a:gd name="connsiteX12" fmla="*/ 50 w 12267"/>
              <a:gd name="connsiteY12" fmla="*/ 1948 h 12185"/>
              <a:gd name="connsiteX13" fmla="*/ 747 w 12267"/>
              <a:gd name="connsiteY13" fmla="*/ 827 h 12185"/>
              <a:gd name="connsiteX14" fmla="*/ 2210 w 12267"/>
              <a:gd name="connsiteY14" fmla="*/ 233 h 12185"/>
              <a:gd name="connsiteX15" fmla="*/ 4398 w 12267"/>
              <a:gd name="connsiteY15" fmla="*/ 2 h 12185"/>
              <a:gd name="connsiteX16" fmla="*/ 6567 w 12267"/>
              <a:gd name="connsiteY16" fmla="*/ 114 h 12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2267" h="12185" extrusionOk="0">
                <a:moveTo>
                  <a:pt x="6567" y="114"/>
                </a:moveTo>
                <a:lnTo>
                  <a:pt x="9216" y="446"/>
                </a:lnTo>
                <a:lnTo>
                  <a:pt x="12193" y="782"/>
                </a:lnTo>
                <a:cubicBezTo>
                  <a:pt x="12180" y="782"/>
                  <a:pt x="12206" y="3623"/>
                  <a:pt x="12215" y="4856"/>
                </a:cubicBezTo>
                <a:cubicBezTo>
                  <a:pt x="12224" y="6089"/>
                  <a:pt x="12241" y="7088"/>
                  <a:pt x="12249" y="8181"/>
                </a:cubicBezTo>
                <a:cubicBezTo>
                  <a:pt x="12258" y="9274"/>
                  <a:pt x="12271" y="11403"/>
                  <a:pt x="12266" y="11414"/>
                </a:cubicBezTo>
                <a:cubicBezTo>
                  <a:pt x="12261" y="11425"/>
                  <a:pt x="10620" y="12175"/>
                  <a:pt x="9601" y="12185"/>
                </a:cubicBezTo>
                <a:cubicBezTo>
                  <a:pt x="8582" y="12195"/>
                  <a:pt x="7403" y="12101"/>
                  <a:pt x="6153" y="11476"/>
                </a:cubicBezTo>
                <a:cubicBezTo>
                  <a:pt x="5140" y="10970"/>
                  <a:pt x="4065" y="9998"/>
                  <a:pt x="3430" y="9339"/>
                </a:cubicBezTo>
                <a:cubicBezTo>
                  <a:pt x="2578" y="8454"/>
                  <a:pt x="2126" y="7558"/>
                  <a:pt x="1628" y="6760"/>
                </a:cubicBezTo>
                <a:cubicBezTo>
                  <a:pt x="1130" y="5963"/>
                  <a:pt x="792" y="5437"/>
                  <a:pt x="443" y="4554"/>
                </a:cubicBezTo>
                <a:cubicBezTo>
                  <a:pt x="307" y="4211"/>
                  <a:pt x="180" y="3764"/>
                  <a:pt x="92" y="3347"/>
                </a:cubicBezTo>
                <a:cubicBezTo>
                  <a:pt x="-2" y="2906"/>
                  <a:pt x="-37" y="2373"/>
                  <a:pt x="50" y="1948"/>
                </a:cubicBezTo>
                <a:cubicBezTo>
                  <a:pt x="169" y="1368"/>
                  <a:pt x="387" y="1113"/>
                  <a:pt x="747" y="827"/>
                </a:cubicBezTo>
                <a:cubicBezTo>
                  <a:pt x="1107" y="541"/>
                  <a:pt x="1716" y="349"/>
                  <a:pt x="2210" y="233"/>
                </a:cubicBezTo>
                <a:cubicBezTo>
                  <a:pt x="2937" y="63"/>
                  <a:pt x="3668" y="-10"/>
                  <a:pt x="4398" y="2"/>
                </a:cubicBezTo>
                <a:cubicBezTo>
                  <a:pt x="5121" y="13"/>
                  <a:pt x="5844" y="50"/>
                  <a:pt x="6567" y="114"/>
                </a:cubicBezTo>
                <a:close/>
              </a:path>
            </a:pathLst>
          </a:cu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25400">
            <a:noFill/>
            <a:miter lim="400000"/>
          </a:ln>
        </p:spPr>
        <p:txBody>
          <a:bodyPr lIns="25400" tIns="25400" rIns="25400" bIns="25400" anchor="ctr"/>
          <a:lstStyle/>
          <a:p>
            <a:endParaRPr sz="6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FF2E1AB-3873-5D40-E9DE-CDBE7B120F9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5A18A9-FB90-4F92-9633-9A2FCB4DF4A0}" type="slidenum">
              <a:rPr lang="pt-PT" smtClean="0"/>
              <a:pPr/>
              <a:t>‹nº›</a:t>
            </a:fld>
            <a:endParaRPr lang="pt-PT" dirty="0"/>
          </a:p>
        </p:txBody>
      </p:sp>
      <p:sp>
        <p:nvSpPr>
          <p:cNvPr id="6" name="Marcador de Posição do Texto 2">
            <a:extLst>
              <a:ext uri="{FF2B5EF4-FFF2-40B4-BE49-F238E27FC236}">
                <a16:creationId xmlns:a16="http://schemas.microsoft.com/office/drawing/2014/main" id="{7D5DA25B-3DA3-EEE1-CEA6-930FC9FBF76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4317" y="2281107"/>
            <a:ext cx="4153056" cy="2445035"/>
          </a:xfrm>
          <a:prstGeom prst="rect">
            <a:avLst/>
          </a:prstGeom>
        </p:spPr>
        <p:txBody>
          <a:bodyPr vert="horz" wrap="none" lIns="0" tIns="45720" rIns="0" bIns="45720" rtlCol="0" anchor="t" anchorCtr="0">
            <a:noAutofit/>
          </a:bodyPr>
          <a:lstStyle>
            <a:lvl1pPr marL="0" indent="0">
              <a:lnSpc>
                <a:spcPts val="3860"/>
              </a:lnSpc>
              <a:buNone/>
              <a:defRPr lang="pt-PT" sz="3200" b="1" baseline="0" dirty="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166682" lvl="0" indent="-342891">
              <a:spcBef>
                <a:spcPct val="0"/>
              </a:spcBef>
            </a:pPr>
            <a:r>
              <a:rPr lang="pt-PT" dirty="0"/>
              <a:t>Título do Separador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67F3695-FE9B-EA6B-B95F-9D8AC05F81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7798" t="16131" r="31092" b="23427"/>
          <a:stretch/>
        </p:blipFill>
        <p:spPr>
          <a:xfrm>
            <a:off x="4884516" y="-50337"/>
            <a:ext cx="7319059" cy="6929396"/>
          </a:xfrm>
          <a:prstGeom prst="rect">
            <a:avLst/>
          </a:prstGeom>
        </p:spPr>
      </p:pic>
      <p:sp useBgFill="1">
        <p:nvSpPr>
          <p:cNvPr id="5" name="Marcador de Posição do Texto 2">
            <a:extLst>
              <a:ext uri="{FF2B5EF4-FFF2-40B4-BE49-F238E27FC236}">
                <a16:creationId xmlns:a16="http://schemas.microsoft.com/office/drawing/2014/main" id="{AB8767C9-DD47-5643-1FE2-FF86A3DECCE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6835" y="253243"/>
            <a:ext cx="1771431" cy="1876776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pt-PT" sz="15000" b="1" i="0" baseline="0" dirty="0">
                <a:ln w="22225">
                  <a:solidFill>
                    <a:srgbClr val="1B93BE"/>
                  </a:solidFill>
                </a:ln>
                <a:noFill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pt-PT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694263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dor 4_branco_sem imag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FF2E1AB-3873-5D40-E9DE-CDBE7B120F9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5A18A9-FB90-4F92-9633-9A2FCB4DF4A0}" type="slidenum">
              <a:rPr lang="pt-PT" smtClean="0"/>
              <a:pPr/>
              <a:t>‹nº›</a:t>
            </a:fld>
            <a:endParaRPr lang="pt-PT" dirty="0"/>
          </a:p>
        </p:txBody>
      </p:sp>
      <p:sp>
        <p:nvSpPr>
          <p:cNvPr id="6" name="Marcador de Posição do Texto 2">
            <a:extLst>
              <a:ext uri="{FF2B5EF4-FFF2-40B4-BE49-F238E27FC236}">
                <a16:creationId xmlns:a16="http://schemas.microsoft.com/office/drawing/2014/main" id="{7D5DA25B-3DA3-EEE1-CEA6-930FC9FBF76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4317" y="2281107"/>
            <a:ext cx="4153056" cy="2445035"/>
          </a:xfrm>
          <a:prstGeom prst="rect">
            <a:avLst/>
          </a:prstGeom>
        </p:spPr>
        <p:txBody>
          <a:bodyPr vert="horz" wrap="none" lIns="0" tIns="45720" rIns="0" bIns="45720" rtlCol="0" anchor="t" anchorCtr="0">
            <a:noAutofit/>
          </a:bodyPr>
          <a:lstStyle>
            <a:lvl1pPr marL="0" indent="0">
              <a:lnSpc>
                <a:spcPts val="3860"/>
              </a:lnSpc>
              <a:buNone/>
              <a:defRPr lang="pt-PT" sz="3200" b="1" baseline="0" dirty="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166682" lvl="0" indent="-342891">
              <a:spcBef>
                <a:spcPct val="0"/>
              </a:spcBef>
            </a:pPr>
            <a:r>
              <a:rPr lang="pt-PT" dirty="0"/>
              <a:t>Título do Separador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67F3695-FE9B-EA6B-B95F-9D8AC05F81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7798" t="16131" r="31092" b="23427"/>
          <a:stretch/>
        </p:blipFill>
        <p:spPr>
          <a:xfrm>
            <a:off x="4884516" y="-50337"/>
            <a:ext cx="7319059" cy="6929396"/>
          </a:xfrm>
          <a:prstGeom prst="rect">
            <a:avLst/>
          </a:prstGeom>
        </p:spPr>
      </p:pic>
      <p:sp useBgFill="1">
        <p:nvSpPr>
          <p:cNvPr id="5" name="Marcador de Posição do Texto 2">
            <a:extLst>
              <a:ext uri="{FF2B5EF4-FFF2-40B4-BE49-F238E27FC236}">
                <a16:creationId xmlns:a16="http://schemas.microsoft.com/office/drawing/2014/main" id="{0182B747-D228-8661-DDC1-2495AF678A5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6835" y="253243"/>
            <a:ext cx="1771431" cy="1876776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pt-PT" sz="15000" b="1" i="0" baseline="0" dirty="0">
                <a:ln w="22225">
                  <a:solidFill>
                    <a:srgbClr val="1B93BE"/>
                  </a:solidFill>
                </a:ln>
                <a:noFill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pt-PT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74490647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brigado_pre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3">
            <a:extLst>
              <a:ext uri="{FF2B5EF4-FFF2-40B4-BE49-F238E27FC236}">
                <a16:creationId xmlns:a16="http://schemas.microsoft.com/office/drawing/2014/main" id="{C09152B7-0A95-8501-4CE1-FA691E41A34E}"/>
              </a:ext>
            </a:extLst>
          </p:cNvPr>
          <p:cNvSpPr txBox="1">
            <a:spLocks/>
          </p:cNvSpPr>
          <p:nvPr userDrawn="1"/>
        </p:nvSpPr>
        <p:spPr>
          <a:xfrm>
            <a:off x="10111995" y="5786359"/>
            <a:ext cx="1622805" cy="604800"/>
          </a:xfrm>
          <a:prstGeom prst="rect">
            <a:avLst/>
          </a:prstGeom>
        </p:spPr>
        <p:txBody>
          <a:bodyPr vert="horz" wrap="none" lIns="36000" tIns="45720" rIns="0" bIns="4572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 cap="all" spc="15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pt-PT" sz="3200" b="1" i="0" cap="none" spc="0" baseline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brigado</a:t>
            </a:r>
            <a:endParaRPr lang="en-GB" sz="3200" b="1" i="0" cap="none" spc="0" baseline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9" name="Image" descr="Image">
            <a:extLst>
              <a:ext uri="{FF2B5EF4-FFF2-40B4-BE49-F238E27FC236}">
                <a16:creationId xmlns:a16="http://schemas.microsoft.com/office/drawing/2014/main" id="{42987913-B2F8-6F62-ABF0-6F2A33E546B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85439" y="583103"/>
            <a:ext cx="2549361" cy="632749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40706863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226" userDrawn="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brigado_Branc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" descr="Image">
            <a:extLst>
              <a:ext uri="{FF2B5EF4-FFF2-40B4-BE49-F238E27FC236}">
                <a16:creationId xmlns:a16="http://schemas.microsoft.com/office/drawing/2014/main" id="{4DEE89FC-FE81-C88E-B2A6-FCB6C0DA347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85439" y="583102"/>
            <a:ext cx="2549364" cy="632750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Título 3">
            <a:extLst>
              <a:ext uri="{FF2B5EF4-FFF2-40B4-BE49-F238E27FC236}">
                <a16:creationId xmlns:a16="http://schemas.microsoft.com/office/drawing/2014/main" id="{24766A44-DB7A-D63A-CC7A-D0205DF4A675}"/>
              </a:ext>
            </a:extLst>
          </p:cNvPr>
          <p:cNvSpPr txBox="1">
            <a:spLocks/>
          </p:cNvSpPr>
          <p:nvPr userDrawn="1"/>
        </p:nvSpPr>
        <p:spPr>
          <a:xfrm>
            <a:off x="10111995" y="5786359"/>
            <a:ext cx="1622805" cy="604800"/>
          </a:xfrm>
          <a:prstGeom prst="rect">
            <a:avLst/>
          </a:prstGeom>
        </p:spPr>
        <p:txBody>
          <a:bodyPr vert="horz" wrap="none" lIns="36000" tIns="45720" rIns="0" bIns="4572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 cap="all" spc="15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pt-PT" sz="3200" b="1" i="0" cap="none" spc="0" baseline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brigado</a:t>
            </a:r>
            <a:endParaRPr lang="en-GB" sz="3200" b="1" i="0" cap="none" spc="0" baseline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95981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226" userDrawn="1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Diapositivo de títul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5145310" y="2849151"/>
            <a:ext cx="6498933" cy="1470025"/>
          </a:xfrm>
          <a:prstGeom prst="rect">
            <a:avLst/>
          </a:prstGeom>
        </p:spPr>
        <p:txBody>
          <a:bodyPr>
            <a:normAutofit/>
          </a:bodyPr>
          <a:lstStyle>
            <a:lvl1pPr algn="r">
              <a:defRPr sz="3600">
                <a:solidFill>
                  <a:schemeClr val="bg2"/>
                </a:solidFill>
              </a:defRPr>
            </a:lvl1pPr>
          </a:lstStyle>
          <a:p>
            <a:r>
              <a:rPr lang="pt-PT" dirty="0"/>
              <a:t>Clique para editar o estilo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5145310" y="4344195"/>
            <a:ext cx="6498933" cy="988660"/>
          </a:xfrm>
        </p:spPr>
        <p:txBody>
          <a:bodyPr>
            <a:normAutofit/>
          </a:bodyPr>
          <a:lstStyle>
            <a:lvl1pPr marL="0" indent="0" algn="r">
              <a:buNone/>
              <a:defRPr sz="2400">
                <a:solidFill>
                  <a:schemeClr val="tx2">
                    <a:lumMod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PT"/>
              <a:t>Faça clique para editar o estilo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1103445" y="5620490"/>
            <a:ext cx="240026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4400" i="1" dirty="0">
                <a:solidFill>
                  <a:schemeClr val="bg1"/>
                </a:solidFill>
              </a:rPr>
              <a:t>DRH</a:t>
            </a:r>
            <a:endParaRPr lang="pt-PT" sz="3600" i="1" dirty="0">
              <a:solidFill>
                <a:schemeClr val="bg1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45227" y="5157192"/>
            <a:ext cx="3648405" cy="1467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09417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21" userDrawn="1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Texto do título"/>
          <p:cNvSpPr txBox="1">
            <a:spLocks noGrp="1"/>
          </p:cNvSpPr>
          <p:nvPr>
            <p:ph type="title"/>
          </p:nvPr>
        </p:nvSpPr>
        <p:spPr>
          <a:xfrm>
            <a:off x="839787" y="457200"/>
            <a:ext cx="3932239" cy="1600200"/>
          </a:xfrm>
          <a:prstGeom prst="rect">
            <a:avLst/>
          </a:prstGeom>
        </p:spPr>
        <p:txBody>
          <a:bodyPr anchor="b"/>
          <a:lstStyle>
            <a:lvl1pPr>
              <a:defRPr sz="2400"/>
            </a:lvl1pPr>
          </a:lstStyle>
          <a:p>
            <a:r>
              <a:t>Texto do título</a:t>
            </a:r>
          </a:p>
        </p:txBody>
      </p:sp>
      <p:sp>
        <p:nvSpPr>
          <p:cNvPr id="83" name="Marcador de Posição da Imagem 2"/>
          <p:cNvSpPr>
            <a:spLocks noGrp="1"/>
          </p:cNvSpPr>
          <p:nvPr>
            <p:ph type="pic" sz="half" idx="13"/>
          </p:nvPr>
        </p:nvSpPr>
        <p:spPr>
          <a:xfrm>
            <a:off x="5183187" y="987427"/>
            <a:ext cx="6172201" cy="4873626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pPr lvl="0"/>
            <a:endParaRPr noProof="0">
              <a:sym typeface="Calibri"/>
            </a:endParaRPr>
          </a:p>
        </p:txBody>
      </p:sp>
      <p:sp>
        <p:nvSpPr>
          <p:cNvPr id="84" name="Nível um…"/>
          <p:cNvSpPr txBox="1">
            <a:spLocks noGrp="1"/>
          </p:cNvSpPr>
          <p:nvPr>
            <p:ph type="body" sz="quarter" idx="1"/>
          </p:nvPr>
        </p:nvSpPr>
        <p:spPr>
          <a:xfrm>
            <a:off x="839787" y="2057400"/>
            <a:ext cx="3932239" cy="3811588"/>
          </a:xfrm>
          <a:prstGeom prst="rect">
            <a:avLst/>
          </a:prstGeom>
        </p:spPr>
        <p:txBody>
          <a:bodyPr/>
          <a:lstStyle>
            <a:lvl1pPr marL="0" indent="0">
              <a:buSzTx/>
              <a:buFontTx/>
              <a:buNone/>
              <a:defRPr sz="1200"/>
            </a:lvl1pPr>
            <a:lvl2pPr marL="0" indent="342900">
              <a:buSzTx/>
              <a:buFontTx/>
              <a:buNone/>
              <a:defRPr sz="1200"/>
            </a:lvl2pPr>
            <a:lvl3pPr marL="0" indent="685800">
              <a:buSzTx/>
              <a:buFontTx/>
              <a:buNone/>
              <a:defRPr sz="1200"/>
            </a:lvl3pPr>
            <a:lvl4pPr marL="0" indent="1028700">
              <a:buSzTx/>
              <a:buFontTx/>
              <a:buNone/>
              <a:defRPr sz="1200"/>
            </a:lvl4pPr>
            <a:lvl5pPr marL="0" indent="1371600">
              <a:buSzTx/>
              <a:buFontTx/>
              <a:buNone/>
              <a:defRPr sz="1200"/>
            </a:lvl5pPr>
          </a:lstStyle>
          <a:p>
            <a:r>
              <a:t>Nível um</a:t>
            </a:r>
          </a:p>
          <a:p>
            <a:pPr lvl="1"/>
            <a:r>
              <a:t>Nível dois</a:t>
            </a:r>
          </a:p>
          <a:p>
            <a:pPr lvl="2"/>
            <a:r>
              <a:t>Nível três</a:t>
            </a:r>
          </a:p>
          <a:p>
            <a:pPr lvl="3"/>
            <a:r>
              <a:t>Nível quatro</a:t>
            </a:r>
          </a:p>
          <a:p>
            <a:pPr lvl="4"/>
            <a:r>
              <a:t>Nível cinco</a:t>
            </a:r>
          </a:p>
        </p:txBody>
      </p:sp>
      <p:sp>
        <p:nvSpPr>
          <p:cNvPr id="2" name="Número do diapositivo">
            <a:extLst>
              <a:ext uri="{FF2B5EF4-FFF2-40B4-BE49-F238E27FC236}">
                <a16:creationId xmlns:a16="http://schemas.microsoft.com/office/drawing/2014/main" id="{18F38DA9-B34E-AF37-115C-0E18AEC7B7BE}"/>
              </a:ext>
            </a:extLst>
          </p:cNvPr>
          <p:cNvSpPr txBox="1">
            <a:spLocks noGrp="1" noChangeArrowheads="1"/>
          </p:cNvSpPr>
          <p:nvPr>
            <p:ph type="sldNum" sz="quarter" idx="14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6E47D44-BBD4-4999-B842-68C39189A2E1}" type="slidenum">
              <a:rPr lang="pt-PT" altLang="pt-PT"/>
              <a:pPr>
                <a:defRPr/>
              </a:pPr>
              <a:t>‹nº›</a:t>
            </a:fld>
            <a:endParaRPr lang="pt-PT" altLang="pt-PT"/>
          </a:p>
        </p:txBody>
      </p:sp>
    </p:spTree>
    <p:extLst>
      <p:ext uri="{BB962C8B-B14F-4D97-AF65-F5344CB8AC3E}">
        <p14:creationId xmlns:p14="http://schemas.microsoft.com/office/powerpoint/2010/main" val="3024909036"/>
      </p:ext>
    </p:extLst>
  </p:cSld>
  <p:clrMapOvr>
    <a:masterClrMapping/>
  </p:clrMapOvr>
  <p:transition spd="med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14CAF8-7F37-404B-A3F0-9D103005DC2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C93ACAC-11AB-F066-2709-2AAC3C59B79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pt-PT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37E8FBD-FAAA-F519-D394-70C73B1A54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6295D9-B701-44CE-B3F7-80275B4234DA}" type="datetimeFigureOut">
              <a:rPr lang="pt-PT" smtClean="0"/>
              <a:t>20/10/2023</a:t>
            </a:fld>
            <a:endParaRPr lang="pt-P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0D91DE7-4A33-0525-98A6-DA52F78A59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185AF09-910C-FFA3-6477-D39CE78773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16681C-C935-401D-B41D-1EEE5A6BC244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76212519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34380A-1E21-7814-9063-FBE7043869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262236D-AB41-FE7A-72E0-1BCD53CD788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252E200-6A95-0826-AC7C-70B1387AB3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6295D9-B701-44CE-B3F7-80275B4234DA}" type="datetimeFigureOut">
              <a:rPr lang="pt-PT" smtClean="0"/>
              <a:t>20/10/2023</a:t>
            </a:fld>
            <a:endParaRPr lang="pt-P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47FC71-B13B-2302-4C84-98FAD5C7DA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0705E8-71BC-CEF2-9F0C-4545AEFDE5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16681C-C935-401D-B41D-1EEE5A6BC244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45195096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0286D7-46D1-A084-1B38-85124F2C49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B33F080-9129-B3F1-656E-61C967BBEF0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9700911-3A1D-040D-55A7-B85E599D11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6295D9-B701-44CE-B3F7-80275B4234DA}" type="datetimeFigureOut">
              <a:rPr lang="pt-PT" smtClean="0"/>
              <a:t>20/10/2023</a:t>
            </a:fld>
            <a:endParaRPr lang="pt-P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02984AE-AC45-567F-5200-5F4768789D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FFF751-10FD-08F6-6755-32E354A970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16681C-C935-401D-B41D-1EEE5A6BC244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41166606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776B9A-7D13-AADF-33DC-98339FD0DE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D7C3551-C816-2089-5DFC-7B307E844DC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5A18A9-FB90-4F92-9633-9A2FCB4DF4A0}" type="slidenum">
              <a:rPr lang="pt-PT" smtClean="0"/>
              <a:pPr/>
              <a:t>‹nº›</a:t>
            </a:fld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245215550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8BB4CD-944F-7B45-E875-C77C706315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5AEA568-D14A-F917-35C4-060892FBF6B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2F5BE7D-4FA6-8E08-0FA6-AB8FB983C05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EA31106-6FA0-38BE-6DD5-6BEF35F984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6295D9-B701-44CE-B3F7-80275B4234DA}" type="datetimeFigureOut">
              <a:rPr lang="pt-PT" smtClean="0"/>
              <a:t>20/10/2023</a:t>
            </a:fld>
            <a:endParaRPr lang="pt-PT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5DDB702-72A4-4D02-E0DF-5933C80F37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51614E4-7AC1-E005-8A74-3194C66D30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16681C-C935-401D-B41D-1EEE5A6BC244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64760933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0ACA69-2583-58B7-2135-A3F4E2C02D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6D6F0D4-E2AF-2152-3969-4FAC1CB4ED7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12DFCED-F644-6C9C-9140-B38AF554F77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A73902E-BE95-8187-4DD6-8DA630A8AF1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B919541-FDCE-FEF9-D3E6-FA72AF114C5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648E7BF-99C1-22CC-71EA-D187246956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6295D9-B701-44CE-B3F7-80275B4234DA}" type="datetimeFigureOut">
              <a:rPr lang="pt-PT" smtClean="0"/>
              <a:t>20/10/2023</a:t>
            </a:fld>
            <a:endParaRPr lang="pt-PT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01C3ECB-13A6-2DD0-B8C1-9B35ADEAA3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A0F6886-CA65-62F8-DCEB-E810781437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16681C-C935-401D-B41D-1EEE5A6BC244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28689833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D217F1-EEB6-134A-664E-FDC4AD4BE5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BA3C5F3-F698-DE1E-96EA-8C877C21E6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6295D9-B701-44CE-B3F7-80275B4234DA}" type="datetimeFigureOut">
              <a:rPr lang="pt-PT" smtClean="0"/>
              <a:t>20/10/2023</a:t>
            </a:fld>
            <a:endParaRPr lang="pt-PT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48C6284-556C-CC81-CE3B-9CA62D3C92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08D71B3-9B82-F58B-C751-C7F2190BB1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16681C-C935-401D-B41D-1EEE5A6BC244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68058885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DACDF63-C498-67B8-3AF1-9F8D2F6DBD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6295D9-B701-44CE-B3F7-80275B4234DA}" type="datetimeFigureOut">
              <a:rPr lang="pt-PT" smtClean="0"/>
              <a:t>20/10/2023</a:t>
            </a:fld>
            <a:endParaRPr lang="pt-PT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CBE3705-CFAD-884A-60FD-7D74127F5D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1D1F2F-87E5-C156-6789-8DBA8D07D8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16681C-C935-401D-B41D-1EEE5A6BC244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97461724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66912C-E431-F56D-F346-A62F8855FC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50B8DD-276D-83D5-5A5A-255E85E11A9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4B36D03-615D-28E4-442C-3D2A5140CDB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C80EB98-7473-B5BA-B8A5-D86CB995F0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6295D9-B701-44CE-B3F7-80275B4234DA}" type="datetimeFigureOut">
              <a:rPr lang="pt-PT" smtClean="0"/>
              <a:t>20/10/2023</a:t>
            </a:fld>
            <a:endParaRPr lang="pt-PT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3E809D3-24F6-ACE4-236D-6EC8DC3102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5447C28-652E-8242-40A5-DA2579C0A3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16681C-C935-401D-B41D-1EEE5A6BC244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45324666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0C56D6-43D5-370D-9D22-373EF6D58E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0CA39AF-58FF-BAF2-8489-9D0AC2526E5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PT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194AC4D-FA3A-F33C-EFA3-26C3FDF43E2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642D224-0BF0-9136-1B2B-CA1071D472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6295D9-B701-44CE-B3F7-80275B4234DA}" type="datetimeFigureOut">
              <a:rPr lang="pt-PT" smtClean="0"/>
              <a:t>20/10/2023</a:t>
            </a:fld>
            <a:endParaRPr lang="pt-PT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7E3C142-BAC6-491B-1DFE-D9FB53C637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9AE03D1-23C0-EE64-49CB-794198CBE2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16681C-C935-401D-B41D-1EEE5A6BC244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72461712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B9491F-6077-2AF6-05FF-428D3194C2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34EB25C-4B96-434D-436F-E02CAEEE0AF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642D917-A524-FA93-969C-E48AD844D2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6295D9-B701-44CE-B3F7-80275B4234DA}" type="datetimeFigureOut">
              <a:rPr lang="pt-PT" smtClean="0"/>
              <a:t>20/10/2023</a:t>
            </a:fld>
            <a:endParaRPr lang="pt-P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476B25F-2F92-65FB-4A7F-627E6E4598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CF5784C-071A-B92E-74E5-D5941D4E86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16681C-C935-401D-B41D-1EEE5A6BC244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23037515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2972A2C-55BA-D382-CFEC-395D1CC92D8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EB8D518-7A3A-1615-7E53-060D1031B34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D661FBA-0C81-E6E3-EC09-7B990E5DB3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6295D9-B701-44CE-B3F7-80275B4234DA}" type="datetimeFigureOut">
              <a:rPr lang="pt-PT" smtClean="0"/>
              <a:t>20/10/2023</a:t>
            </a:fld>
            <a:endParaRPr lang="pt-P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ED32CD0-04A3-F28F-013F-15A3C14BD4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B64A888-850C-DBD3-1C29-0AD015F210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16681C-C935-401D-B41D-1EEE5A6BC244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69700091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2A1C53-E76E-6750-7120-A10B1B8235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032DC04-6EC4-1C4A-842E-B89024F6B9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6295D9-B701-44CE-B3F7-80275B4234DA}" type="datetimeFigureOut">
              <a:rPr lang="pt-PT" smtClean="0"/>
              <a:t>20/10/2023</a:t>
            </a:fld>
            <a:endParaRPr lang="pt-PT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C7000BF-D458-72B8-60D7-586B76DC87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E79188C-866A-B3F4-5287-9EF2C91C42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16681C-C935-401D-B41D-1EEE5A6BC244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3571296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Pre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16B3D84-9E87-63D9-ABC0-06C62F80F60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5A18A9-FB90-4F92-9633-9A2FCB4DF4A0}" type="slidenum">
              <a:rPr lang="pt-PT" smtClean="0"/>
              <a:pPr/>
              <a:t>‹nº›</a:t>
            </a:fld>
            <a:endParaRPr lang="pt-PT" dirty="0"/>
          </a:p>
        </p:txBody>
      </p:sp>
      <p:pic>
        <p:nvPicPr>
          <p:cNvPr id="6" name="Image" descr="Image">
            <a:extLst>
              <a:ext uri="{FF2B5EF4-FFF2-40B4-BE49-F238E27FC236}">
                <a16:creationId xmlns:a16="http://schemas.microsoft.com/office/drawing/2014/main" id="{3BE7E261-535B-3167-77C0-DED5382DD9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5637" y="409975"/>
            <a:ext cx="1157293" cy="190501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Marcador de Posição de Conteúdo 3">
            <a:extLst>
              <a:ext uri="{FF2B5EF4-FFF2-40B4-BE49-F238E27FC236}">
                <a16:creationId xmlns:a16="http://schemas.microsoft.com/office/drawing/2014/main" id="{6076FEED-7358-8409-CEF1-1E7506FFFC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68461" y="1624329"/>
            <a:ext cx="7739295" cy="4278757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defRPr sz="2400" b="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06388" indent="0">
              <a:lnSpc>
                <a:spcPct val="100000"/>
              </a:lnSpc>
              <a:spcBef>
                <a:spcPts val="600"/>
              </a:spcBef>
              <a:buNone/>
              <a:defRPr sz="2200" b="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354012" indent="0">
              <a:buNone/>
              <a:defRPr sz="1800" b="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936625" indent="0">
              <a:buNone/>
              <a:defRPr sz="1600" b="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382713" indent="0">
              <a:buNone/>
              <a:defRPr sz="1400" b="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pt-PT" dirty="0"/>
              <a:t>1. Clique para editar os estilos do texto de Modelo Global</a:t>
            </a:r>
          </a:p>
          <a:p>
            <a:pPr lvl="1"/>
            <a:r>
              <a:rPr lang="pt-PT" dirty="0"/>
              <a:t>  Segundo nível</a:t>
            </a:r>
          </a:p>
          <a:p>
            <a:pPr lvl="2"/>
            <a:r>
              <a:rPr lang="pt-PT" dirty="0"/>
              <a:t>     Terceiro nível</a:t>
            </a:r>
          </a:p>
          <a:p>
            <a:pPr lvl="3"/>
            <a:r>
              <a:rPr lang="pt-PT" dirty="0"/>
              <a:t>Quarto nível</a:t>
            </a:r>
          </a:p>
          <a:p>
            <a:pPr lvl="4"/>
            <a:r>
              <a:rPr lang="pt-PT" dirty="0"/>
              <a:t>Quinto nível</a:t>
            </a:r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6FF6AAD-89FF-508C-6860-6D935EE1394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4222" t="13656" r="41792" b="13414"/>
          <a:stretch/>
        </p:blipFill>
        <p:spPr>
          <a:xfrm>
            <a:off x="8624329" y="-10758"/>
            <a:ext cx="3567671" cy="6876000"/>
          </a:xfrm>
          <a:prstGeom prst="rect">
            <a:avLst/>
          </a:prstGeom>
        </p:spPr>
      </p:pic>
      <p:sp>
        <p:nvSpPr>
          <p:cNvPr id="7" name="Título 3">
            <a:extLst>
              <a:ext uri="{FF2B5EF4-FFF2-40B4-BE49-F238E27FC236}">
                <a16:creationId xmlns:a16="http://schemas.microsoft.com/office/drawing/2014/main" id="{0AAA8948-7AB9-EF34-AF48-ADA698B6D710}"/>
              </a:ext>
            </a:extLst>
          </p:cNvPr>
          <p:cNvSpPr txBox="1">
            <a:spLocks/>
          </p:cNvSpPr>
          <p:nvPr userDrawn="1"/>
        </p:nvSpPr>
        <p:spPr>
          <a:xfrm>
            <a:off x="468461" y="570892"/>
            <a:ext cx="1368547" cy="604800"/>
          </a:xfrm>
          <a:prstGeom prst="rect">
            <a:avLst/>
          </a:prstGeom>
        </p:spPr>
        <p:txBody>
          <a:bodyPr vert="horz" wrap="none" lIns="36000" tIns="45720" rIns="0" bIns="4572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 cap="all" spc="15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pt-PT" sz="3200" b="1" i="0" cap="none" spc="0" baseline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genda</a:t>
            </a:r>
            <a:endParaRPr lang="en-GB" sz="3200" b="1" i="0" cap="none" spc="0" baseline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95638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dor 1_preto_com imagem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hape">
            <a:extLst>
              <a:ext uri="{FF2B5EF4-FFF2-40B4-BE49-F238E27FC236}">
                <a16:creationId xmlns:a16="http://schemas.microsoft.com/office/drawing/2014/main" id="{A4DE5740-F370-66FC-35F4-96DF6A0B5D27}"/>
              </a:ext>
            </a:extLst>
          </p:cNvPr>
          <p:cNvSpPr/>
          <p:nvPr userDrawn="1"/>
        </p:nvSpPr>
        <p:spPr>
          <a:xfrm rot="47089">
            <a:off x="5152438" y="947395"/>
            <a:ext cx="6562965" cy="439047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31" h="21417" extrusionOk="0">
                <a:moveTo>
                  <a:pt x="4390" y="9299"/>
                </a:moveTo>
                <a:cubicBezTo>
                  <a:pt x="3525" y="10557"/>
                  <a:pt x="2724" y="11907"/>
                  <a:pt x="1993" y="13339"/>
                </a:cubicBezTo>
                <a:cubicBezTo>
                  <a:pt x="1552" y="14113"/>
                  <a:pt x="1159" y="14944"/>
                  <a:pt x="816" y="15821"/>
                </a:cubicBezTo>
                <a:cubicBezTo>
                  <a:pt x="552" y="16497"/>
                  <a:pt x="318" y="17201"/>
                  <a:pt x="162" y="17948"/>
                </a:cubicBezTo>
                <a:cubicBezTo>
                  <a:pt x="71" y="18388"/>
                  <a:pt x="10" y="18826"/>
                  <a:pt x="1" y="19265"/>
                </a:cubicBezTo>
                <a:cubicBezTo>
                  <a:pt x="-7" y="19657"/>
                  <a:pt x="26" y="20060"/>
                  <a:pt x="153" y="20413"/>
                </a:cubicBezTo>
                <a:cubicBezTo>
                  <a:pt x="238" y="20648"/>
                  <a:pt x="361" y="20847"/>
                  <a:pt x="508" y="21001"/>
                </a:cubicBezTo>
                <a:cubicBezTo>
                  <a:pt x="852" y="21359"/>
                  <a:pt x="1250" y="21439"/>
                  <a:pt x="1661" y="21413"/>
                </a:cubicBezTo>
                <a:cubicBezTo>
                  <a:pt x="2075" y="21386"/>
                  <a:pt x="2510" y="21256"/>
                  <a:pt x="2925" y="21103"/>
                </a:cubicBezTo>
                <a:cubicBezTo>
                  <a:pt x="3533" y="20878"/>
                  <a:pt x="4145" y="20624"/>
                  <a:pt x="4741" y="20313"/>
                </a:cubicBezTo>
                <a:cubicBezTo>
                  <a:pt x="5640" y="19841"/>
                  <a:pt x="6503" y="19236"/>
                  <a:pt x="7359" y="18613"/>
                </a:cubicBezTo>
                <a:cubicBezTo>
                  <a:pt x="8382" y="17870"/>
                  <a:pt x="9394" y="17098"/>
                  <a:pt x="10389" y="16276"/>
                </a:cubicBezTo>
                <a:cubicBezTo>
                  <a:pt x="11357" y="15477"/>
                  <a:pt x="12306" y="14631"/>
                  <a:pt x="13245" y="13761"/>
                </a:cubicBezTo>
                <a:cubicBezTo>
                  <a:pt x="15007" y="12128"/>
                  <a:pt x="16735" y="10406"/>
                  <a:pt x="18311" y="8397"/>
                </a:cubicBezTo>
                <a:cubicBezTo>
                  <a:pt x="18824" y="7743"/>
                  <a:pt x="19322" y="7057"/>
                  <a:pt x="19787" y="6334"/>
                </a:cubicBezTo>
                <a:cubicBezTo>
                  <a:pt x="20144" y="5779"/>
                  <a:pt x="20486" y="5194"/>
                  <a:pt x="20805" y="4598"/>
                </a:cubicBezTo>
                <a:cubicBezTo>
                  <a:pt x="21027" y="4141"/>
                  <a:pt x="21209" y="3658"/>
                  <a:pt x="21352" y="3158"/>
                </a:cubicBezTo>
                <a:cubicBezTo>
                  <a:pt x="21485" y="2689"/>
                  <a:pt x="21593" y="2170"/>
                  <a:pt x="21489" y="1655"/>
                </a:cubicBezTo>
                <a:cubicBezTo>
                  <a:pt x="21373" y="1078"/>
                  <a:pt x="21020" y="711"/>
                  <a:pt x="20646" y="473"/>
                </a:cubicBezTo>
                <a:cubicBezTo>
                  <a:pt x="20302" y="254"/>
                  <a:pt x="19936" y="124"/>
                  <a:pt x="19563" y="90"/>
                </a:cubicBezTo>
                <a:cubicBezTo>
                  <a:pt x="17608" y="-161"/>
                  <a:pt x="15638" y="114"/>
                  <a:pt x="13748" y="901"/>
                </a:cubicBezTo>
                <a:cubicBezTo>
                  <a:pt x="11927" y="1660"/>
                  <a:pt x="10225" y="2868"/>
                  <a:pt x="8633" y="4345"/>
                </a:cubicBezTo>
                <a:cubicBezTo>
                  <a:pt x="7110" y="5757"/>
                  <a:pt x="5682" y="7419"/>
                  <a:pt x="4390" y="9299"/>
                </a:cubicBezTo>
                <a:close/>
              </a:path>
            </a:pathLst>
          </a:cu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25400">
            <a:noFill/>
            <a:miter lim="400000"/>
          </a:ln>
        </p:spPr>
        <p:txBody>
          <a:bodyPr lIns="25400" tIns="25400" rIns="25400" bIns="25400" anchor="ctr"/>
          <a:lstStyle/>
          <a:p>
            <a:endParaRPr sz="6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3343D74-B0DA-80C8-C17A-700F36542CF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080" t="16519" r="23571" b="24724"/>
          <a:stretch/>
        </p:blipFill>
        <p:spPr>
          <a:xfrm>
            <a:off x="4953965" y="0"/>
            <a:ext cx="7238036" cy="6857787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16B3D84-9E87-63D9-ABC0-06C62F80F60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5A18A9-FB90-4F92-9633-9A2FCB4DF4A0}" type="slidenum">
              <a:rPr lang="pt-PT" smtClean="0"/>
              <a:pPr/>
              <a:t>‹nº›</a:t>
            </a:fld>
            <a:endParaRPr lang="pt-PT" dirty="0"/>
          </a:p>
        </p:txBody>
      </p:sp>
      <p:pic>
        <p:nvPicPr>
          <p:cNvPr id="6" name="Image" descr="Image">
            <a:extLst>
              <a:ext uri="{FF2B5EF4-FFF2-40B4-BE49-F238E27FC236}">
                <a16:creationId xmlns:a16="http://schemas.microsoft.com/office/drawing/2014/main" id="{3BE7E261-535B-3167-77C0-DED5382DD91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5637" y="409975"/>
            <a:ext cx="1157293" cy="190501"/>
          </a:xfrm>
          <a:prstGeom prst="rect">
            <a:avLst/>
          </a:prstGeom>
          <a:ln w="12700">
            <a:miter lim="400000"/>
          </a:ln>
        </p:spPr>
      </p:pic>
      <p:sp>
        <p:nvSpPr>
          <p:cNvPr id="9" name="Marcador de Posição do Texto 2">
            <a:extLst>
              <a:ext uri="{FF2B5EF4-FFF2-40B4-BE49-F238E27FC236}">
                <a16:creationId xmlns:a16="http://schemas.microsoft.com/office/drawing/2014/main" id="{8B1DCFE6-9A94-789A-E4DC-51494F92E36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4317" y="2281107"/>
            <a:ext cx="4153056" cy="2445035"/>
          </a:xfrm>
          <a:prstGeom prst="rect">
            <a:avLst/>
          </a:prstGeom>
        </p:spPr>
        <p:txBody>
          <a:bodyPr vert="horz" wrap="none" lIns="0" tIns="45720" rIns="0" bIns="45720" rtlCol="0" anchor="t" anchorCtr="0">
            <a:noAutofit/>
          </a:bodyPr>
          <a:lstStyle>
            <a:lvl1pPr marL="0" indent="0">
              <a:lnSpc>
                <a:spcPts val="3860"/>
              </a:lnSpc>
              <a:buNone/>
              <a:defRPr lang="pt-PT" sz="3200" b="1" baseline="0" dirty="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166682" lvl="0" indent="-342891">
              <a:spcBef>
                <a:spcPct val="0"/>
              </a:spcBef>
            </a:pPr>
            <a:r>
              <a:rPr lang="pt-PT" dirty="0"/>
              <a:t>Título do Separador</a:t>
            </a:r>
          </a:p>
        </p:txBody>
      </p:sp>
      <p:sp useBgFill="1">
        <p:nvSpPr>
          <p:cNvPr id="12" name="Marcador de Posição do Texto 2">
            <a:extLst>
              <a:ext uri="{FF2B5EF4-FFF2-40B4-BE49-F238E27FC236}">
                <a16:creationId xmlns:a16="http://schemas.microsoft.com/office/drawing/2014/main" id="{76232CD6-C395-F87E-2079-8C82E68B65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6835" y="253243"/>
            <a:ext cx="1771431" cy="1876776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pt-PT" sz="15000" b="1" i="0" baseline="0" dirty="0">
                <a:ln w="22225">
                  <a:solidFill>
                    <a:schemeClr val="accent1"/>
                  </a:solidFill>
                </a:ln>
                <a:noFill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pt-PT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060247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C111F0-D262-B60F-6DEC-FE38C424CC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/>
              <a:t>Clique para editar o estilo de título do Modelo Global</a:t>
            </a:r>
            <a:endParaRPr lang="en-PT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9A88FF7-4413-0F33-32F7-AE36352071E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5A18A9-FB90-4F92-9633-9A2FCB4DF4A0}" type="slidenum">
              <a:rPr lang="pt-PT" smtClean="0"/>
              <a:pPr/>
              <a:t>‹nº›</a:t>
            </a:fld>
            <a:endParaRPr lang="pt-PT" dirty="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938E706-5394-84FE-26A3-64FAA34AC087}"/>
              </a:ext>
            </a:extLst>
          </p:cNvPr>
          <p:cNvCxnSpPr/>
          <p:nvPr userDrawn="1"/>
        </p:nvCxnSpPr>
        <p:spPr>
          <a:xfrm>
            <a:off x="370393" y="335666"/>
            <a:ext cx="0" cy="706056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653408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+ Subtítulo +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C111F0-D262-B60F-6DEC-FE38C424CC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/>
              <a:t>Clique para editar o estilo de título do Modelo Global</a:t>
            </a:r>
            <a:endParaRPr lang="en-PT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9A88FF7-4413-0F33-32F7-AE36352071E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5A18A9-FB90-4F92-9633-9A2FCB4DF4A0}" type="slidenum">
              <a:rPr lang="pt-PT" smtClean="0"/>
              <a:pPr/>
              <a:t>‹nº›</a:t>
            </a:fld>
            <a:endParaRPr lang="pt-PT" dirty="0"/>
          </a:p>
        </p:txBody>
      </p:sp>
      <p:sp>
        <p:nvSpPr>
          <p:cNvPr id="4" name="Marcador de Posição do Texto 7">
            <a:extLst>
              <a:ext uri="{FF2B5EF4-FFF2-40B4-BE49-F238E27FC236}">
                <a16:creationId xmlns:a16="http://schemas.microsoft.com/office/drawing/2014/main" id="{A8A38F78-B311-CB23-09D1-2AE965D58B6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4318" y="737786"/>
            <a:ext cx="9899997" cy="510098"/>
          </a:xfrm>
          <a:prstGeom prst="rect">
            <a:avLst/>
          </a:prstGeom>
        </p:spPr>
        <p:txBody>
          <a:bodyPr vert="horz" wrap="square" lIns="0" tIns="45720" rIns="0" bIns="45720" rtlCol="0" anchor="t" anchorCtr="0">
            <a:noAutofit/>
          </a:bodyPr>
          <a:lstStyle>
            <a:lvl1pPr>
              <a:buNone/>
              <a:defRPr lang="pt-PT" sz="2400" b="0" i="0" baseline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  <a:lvl2pPr>
              <a:buNone/>
              <a:defRPr lang="pt-PT" sz="1800" smtClean="0"/>
            </a:lvl2pPr>
            <a:lvl3pPr>
              <a:defRPr lang="pt-PT" sz="1800" smtClean="0"/>
            </a:lvl3pPr>
            <a:lvl4pPr>
              <a:defRPr lang="pt-PT" smtClean="0"/>
            </a:lvl4pPr>
            <a:lvl5pPr>
              <a:defRPr lang="en-GB"/>
            </a:lvl5pPr>
          </a:lstStyle>
          <a:p>
            <a:pPr marL="166687" lvl="0" indent="-342900">
              <a:spcBef>
                <a:spcPct val="0"/>
              </a:spcBef>
            </a:pPr>
            <a:r>
              <a:rPr lang="pt-PT" dirty="0"/>
              <a:t>Clique para editar o estilo do </a:t>
            </a:r>
            <a:r>
              <a:rPr lang="pt-PT" dirty="0" err="1"/>
              <a:t>sub-título</a:t>
            </a:r>
            <a:r>
              <a:rPr lang="pt-PT" dirty="0"/>
              <a:t> do Modelo Globa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938E706-5394-84FE-26A3-64FAA34AC087}"/>
              </a:ext>
            </a:extLst>
          </p:cNvPr>
          <p:cNvCxnSpPr/>
          <p:nvPr userDrawn="1"/>
        </p:nvCxnSpPr>
        <p:spPr>
          <a:xfrm>
            <a:off x="370393" y="335666"/>
            <a:ext cx="0" cy="706056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25">
            <a:extLst>
              <a:ext uri="{FF2B5EF4-FFF2-40B4-BE49-F238E27FC236}">
                <a16:creationId xmlns:a16="http://schemas.microsoft.com/office/drawing/2014/main" id="{D6B415F8-0C08-A5B4-4217-D1E43EC93C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316" y="1625601"/>
            <a:ext cx="11160868" cy="459621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>
              <a:lnSpc>
                <a:spcPts val="2300"/>
              </a:lnSpc>
              <a:buSzPct val="70000"/>
              <a:buFont typeface="Arial"/>
              <a:buNone/>
              <a:defRPr sz="1600" b="0" i="0">
                <a:solidFill>
                  <a:srgbClr val="39393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500">
                <a:solidFill>
                  <a:srgbClr val="39393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pt-PT" dirty="0"/>
              <a:t>Clique para editar</a:t>
            </a:r>
          </a:p>
        </p:txBody>
      </p:sp>
    </p:spTree>
    <p:extLst>
      <p:ext uri="{BB962C8B-B14F-4D97-AF65-F5344CB8AC3E}">
        <p14:creationId xmlns:p14="http://schemas.microsoft.com/office/powerpoint/2010/main" val="41483220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+ Subtítulo + Texto + Conclus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C111F0-D262-B60F-6DEC-FE38C424CC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t-PT" dirty="0"/>
              <a:t>Clique para editar o estilo de título do Modelo Global</a:t>
            </a:r>
            <a:endParaRPr lang="en-PT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9A88FF7-4413-0F33-32F7-AE36352071E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5A18A9-FB90-4F92-9633-9A2FCB4DF4A0}" type="slidenum">
              <a:rPr lang="pt-PT" smtClean="0"/>
              <a:pPr/>
              <a:t>‹nº›</a:t>
            </a:fld>
            <a:endParaRPr lang="pt-PT" dirty="0"/>
          </a:p>
        </p:txBody>
      </p:sp>
      <p:sp>
        <p:nvSpPr>
          <p:cNvPr id="4" name="Marcador de Posição do Texto 7">
            <a:extLst>
              <a:ext uri="{FF2B5EF4-FFF2-40B4-BE49-F238E27FC236}">
                <a16:creationId xmlns:a16="http://schemas.microsoft.com/office/drawing/2014/main" id="{A8A38F78-B311-CB23-09D1-2AE965D58B6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4318" y="737786"/>
            <a:ext cx="9899997" cy="510098"/>
          </a:xfrm>
          <a:prstGeom prst="rect">
            <a:avLst/>
          </a:prstGeom>
        </p:spPr>
        <p:txBody>
          <a:bodyPr vert="horz" wrap="square" lIns="0" tIns="45720" rIns="0" bIns="45720" rtlCol="0" anchor="t" anchorCtr="0">
            <a:noAutofit/>
          </a:bodyPr>
          <a:lstStyle>
            <a:lvl1pPr>
              <a:buNone/>
              <a:defRPr lang="pt-PT" sz="2400" b="0" i="0" baseline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  <a:lvl2pPr>
              <a:buNone/>
              <a:defRPr lang="pt-PT" sz="1800" smtClean="0"/>
            </a:lvl2pPr>
            <a:lvl3pPr>
              <a:defRPr lang="pt-PT" sz="1800" smtClean="0"/>
            </a:lvl3pPr>
            <a:lvl4pPr>
              <a:defRPr lang="pt-PT" smtClean="0"/>
            </a:lvl4pPr>
            <a:lvl5pPr>
              <a:defRPr lang="en-GB"/>
            </a:lvl5pPr>
          </a:lstStyle>
          <a:p>
            <a:pPr marL="166687" lvl="0" indent="-342900">
              <a:spcBef>
                <a:spcPct val="0"/>
              </a:spcBef>
            </a:pPr>
            <a:r>
              <a:rPr lang="pt-PT" dirty="0"/>
              <a:t>Clique para editar o estilo do </a:t>
            </a:r>
            <a:r>
              <a:rPr lang="pt-PT" dirty="0" err="1"/>
              <a:t>sub-título</a:t>
            </a:r>
            <a:r>
              <a:rPr lang="pt-PT" dirty="0"/>
              <a:t> do Modelo Globa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938E706-5394-84FE-26A3-64FAA34AC087}"/>
              </a:ext>
            </a:extLst>
          </p:cNvPr>
          <p:cNvCxnSpPr/>
          <p:nvPr userDrawn="1"/>
        </p:nvCxnSpPr>
        <p:spPr>
          <a:xfrm>
            <a:off x="370393" y="335666"/>
            <a:ext cx="0" cy="706056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25">
            <a:extLst>
              <a:ext uri="{FF2B5EF4-FFF2-40B4-BE49-F238E27FC236}">
                <a16:creationId xmlns:a16="http://schemas.microsoft.com/office/drawing/2014/main" id="{D6B415F8-0C08-A5B4-4217-D1E43EC93C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316" y="1625601"/>
            <a:ext cx="11160868" cy="4114800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>
              <a:lnSpc>
                <a:spcPts val="2300"/>
              </a:lnSpc>
              <a:buSzPct val="70000"/>
              <a:buFont typeface="Arial"/>
              <a:buNone/>
              <a:defRPr sz="1600" b="0" i="0">
                <a:solidFill>
                  <a:srgbClr val="39393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500">
                <a:solidFill>
                  <a:srgbClr val="39393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</a:lstStyle>
          <a:p>
            <a:pPr lvl="0"/>
            <a:r>
              <a:rPr lang="pt-PT" dirty="0"/>
              <a:t>Clique para editar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2AB1BF71-89FB-9486-537F-A1F0A8C29C1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4316" y="6050382"/>
            <a:ext cx="11160868" cy="391886"/>
          </a:xfrm>
          <a:prstGeom prst="rect">
            <a:avLst/>
          </a:prstGeom>
          <a:noFill/>
        </p:spPr>
        <p:txBody>
          <a:bodyPr vert="horz" anchor="t" anchorCtr="0">
            <a:normAutofit/>
          </a:bodyPr>
          <a:lstStyle>
            <a:lvl1pPr marL="0" marR="0" indent="0" algn="l" defTabSz="34289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400" b="0">
                <a:solidFill>
                  <a:srgbClr val="1B93BE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marL="0" marR="0" lvl="0" indent="0" algn="l" defTabSz="34289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pt-PT" dirty="0"/>
              <a:t>Clique para editar o estilo</a:t>
            </a:r>
          </a:p>
        </p:txBody>
      </p:sp>
    </p:spTree>
    <p:extLst>
      <p:ext uri="{BB962C8B-B14F-4D97-AF65-F5344CB8AC3E}">
        <p14:creationId xmlns:p14="http://schemas.microsoft.com/office/powerpoint/2010/main" val="10465503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ags" Target="../tags/tag2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heme" Target="../theme/theme1.xml"/><Relationship Id="rId40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" descr="Image">
            <a:extLst>
              <a:ext uri="{FF2B5EF4-FFF2-40B4-BE49-F238E27FC236}">
                <a16:creationId xmlns:a16="http://schemas.microsoft.com/office/drawing/2014/main" id="{C3D0349B-1ADF-98D4-FEB6-BF5DFD9E35D5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1752" y="410632"/>
            <a:ext cx="1157293" cy="190501"/>
          </a:xfrm>
          <a:prstGeom prst="rect">
            <a:avLst/>
          </a:prstGeom>
          <a:ln w="12700">
            <a:miter lim="400000"/>
          </a:ln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6C74DE5F-F8A6-0D8B-E205-F8293C13EDEB}"/>
              </a:ext>
            </a:extLst>
          </p:cNvPr>
          <p:cNvSpPr txBox="1"/>
          <p:nvPr userDrawn="1"/>
        </p:nvSpPr>
        <p:spPr>
          <a:xfrm>
            <a:off x="412433" y="6551892"/>
            <a:ext cx="1000950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PT" sz="900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orkshop APCAP | #Painel 4: Segurança Rodoviária | Inovação e Melhores Práticas | Trabalhos na Estrada – Presente e Futuro, Novos Equipamentos </a:t>
            </a: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42DA0C4-26EE-4EDF-B133-D554ECB401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9"/>
            </p:custDataLst>
            <p:extLst>
              <p:ext uri="{D42A27DB-BD31-4B8C-83A1-F6EECF244321}">
                <p14:modId xmlns:p14="http://schemas.microsoft.com/office/powerpoint/2010/main" val="975364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1" imgW="395" imgH="394" progId="TCLayout.ActiveDocument.1">
                  <p:embed/>
                </p:oleObj>
              </mc:Choice>
              <mc:Fallback>
                <p:oleObj name="think-cell Slide" r:id="rId41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42DA0C4-26EE-4EDF-B133-D554ECB401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Posição do Título 1">
            <a:extLst>
              <a:ext uri="{FF2B5EF4-FFF2-40B4-BE49-F238E27FC236}">
                <a16:creationId xmlns:a16="http://schemas.microsoft.com/office/drawing/2014/main" id="{406C7A96-7368-476C-BCBD-75B9A6B7EF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317" y="209226"/>
            <a:ext cx="9907620" cy="60470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pt-PT" dirty="0"/>
              <a:t>Clique para editar o estilo de título do Modelo Global</a:t>
            </a:r>
            <a:endParaRPr lang="en-GB" dirty="0"/>
          </a:p>
        </p:txBody>
      </p:sp>
      <p:sp>
        <p:nvSpPr>
          <p:cNvPr id="3" name="Marcador de Posição do Texto 2">
            <a:extLst>
              <a:ext uri="{FF2B5EF4-FFF2-40B4-BE49-F238E27FC236}">
                <a16:creationId xmlns:a16="http://schemas.microsoft.com/office/drawing/2014/main" id="{40A58166-57BD-4F2E-B57B-CD285B094F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1937" y="1402610"/>
            <a:ext cx="9900000" cy="486577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pt-PT" dirty="0"/>
              <a:t>Clique para editar os estilos do texto de Modelo Global</a:t>
            </a:r>
          </a:p>
          <a:p>
            <a:pPr lvl="1"/>
            <a:r>
              <a:rPr lang="pt-PT" dirty="0"/>
              <a:t>    Segundo nível</a:t>
            </a:r>
          </a:p>
          <a:p>
            <a:pPr lvl="2"/>
            <a:r>
              <a:rPr lang="pt-PT" dirty="0"/>
              <a:t>    Terceiro nível</a:t>
            </a:r>
          </a:p>
          <a:p>
            <a:pPr lvl="3"/>
            <a:r>
              <a:rPr lang="pt-PT" dirty="0"/>
              <a:t>Quarto nível</a:t>
            </a:r>
          </a:p>
          <a:p>
            <a:pPr lvl="4"/>
            <a:r>
              <a:rPr lang="pt-PT" dirty="0"/>
              <a:t>Quinto nível</a:t>
            </a:r>
            <a:endParaRPr lang="en-GB" dirty="0"/>
          </a:p>
        </p:txBody>
      </p:sp>
      <p:sp>
        <p:nvSpPr>
          <p:cNvPr id="6" name="Marcador de Posição do Número do Diapositivo 5">
            <a:extLst>
              <a:ext uri="{FF2B5EF4-FFF2-40B4-BE49-F238E27FC236}">
                <a16:creationId xmlns:a16="http://schemas.microsoft.com/office/drawing/2014/main" id="{54DC1B23-ECF6-4A0D-BC69-5DDBBAAA280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0009" y="6495002"/>
            <a:ext cx="377520" cy="360000"/>
          </a:xfrm>
          <a:prstGeom prst="rect">
            <a:avLst/>
          </a:prstGeom>
          <a:noFill/>
        </p:spPr>
        <p:txBody>
          <a:bodyPr vert="horz" wrap="none" lIns="36000" tIns="36000" rIns="0" bIns="36000" rtlCol="0" anchor="ctr" anchorCtr="0">
            <a:noAutofit/>
          </a:bodyPr>
          <a:lstStyle>
            <a:lvl1pPr algn="r">
              <a:defRPr lang="en-GB" sz="900" baseline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D45A18A9-FB90-4F92-9633-9A2FCB4DF4A0}" type="slidenum">
              <a:rPr lang="pt-PT" smtClean="0"/>
              <a:pPr/>
              <a:t>‹nº›</a:t>
            </a:fld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34035273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1" r:id="rId1"/>
    <p:sldLayoutId id="2147483915" r:id="rId2"/>
    <p:sldLayoutId id="2147483931" r:id="rId3"/>
    <p:sldLayoutId id="2147484320" r:id="rId4"/>
    <p:sldLayoutId id="2147483932" r:id="rId5"/>
    <p:sldLayoutId id="2147483913" r:id="rId6"/>
    <p:sldLayoutId id="2147483935" r:id="rId7"/>
    <p:sldLayoutId id="2147483912" r:id="rId8"/>
    <p:sldLayoutId id="2147483936" r:id="rId9"/>
    <p:sldLayoutId id="2147483942" r:id="rId10"/>
    <p:sldLayoutId id="2147483943" r:id="rId11"/>
    <p:sldLayoutId id="2147483937" r:id="rId12"/>
    <p:sldLayoutId id="2147483934" r:id="rId13"/>
    <p:sldLayoutId id="2147483939" r:id="rId14"/>
    <p:sldLayoutId id="2147483938" r:id="rId15"/>
    <p:sldLayoutId id="2147484305" r:id="rId16"/>
    <p:sldLayoutId id="2147483933" r:id="rId17"/>
    <p:sldLayoutId id="2147483916" r:id="rId18"/>
    <p:sldLayoutId id="2147483919" r:id="rId19"/>
    <p:sldLayoutId id="2147483920" r:id="rId20"/>
    <p:sldLayoutId id="2147483918" r:id="rId21"/>
    <p:sldLayoutId id="2147483917" r:id="rId22"/>
    <p:sldLayoutId id="2147483944" r:id="rId23"/>
    <p:sldLayoutId id="2147483945" r:id="rId24"/>
    <p:sldLayoutId id="2147483923" r:id="rId25"/>
    <p:sldLayoutId id="2147483924" r:id="rId26"/>
    <p:sldLayoutId id="2147483925" r:id="rId27"/>
    <p:sldLayoutId id="2147483926" r:id="rId28"/>
    <p:sldLayoutId id="2147483927" r:id="rId29"/>
    <p:sldLayoutId id="2147483928" r:id="rId30"/>
    <p:sldLayoutId id="2147483929" r:id="rId31"/>
    <p:sldLayoutId id="2147483930" r:id="rId32"/>
    <p:sldLayoutId id="2147483940" r:id="rId33"/>
    <p:sldLayoutId id="2147483941" r:id="rId34"/>
    <p:sldLayoutId id="2147484304" r:id="rId35"/>
    <p:sldLayoutId id="2147484322" r:id="rId3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i="0" kern="1200" baseline="0">
          <a:solidFill>
            <a:schemeClr val="tx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0"/>
        </a:spcBef>
        <a:buClr>
          <a:srgbClr val="828282"/>
        </a:buClr>
        <a:buFont typeface="Arial" panose="020B0604020202020204" pitchFamily="34" charset="0"/>
        <a:buNone/>
        <a:defRPr sz="2400" b="0" i="0" kern="1200" baseline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0" indent="0" algn="l" defTabSz="914400" rtl="0" eaLnBrk="1" latinLnBrk="0" hangingPunct="1">
        <a:lnSpc>
          <a:spcPct val="90000"/>
        </a:lnSpc>
        <a:spcBef>
          <a:spcPts val="500"/>
        </a:spcBef>
        <a:buClr>
          <a:schemeClr val="tx1"/>
        </a:buClr>
        <a:buFont typeface="Arial" panose="020B0604020202020204" pitchFamily="34" charset="0"/>
        <a:buNone/>
        <a:defRPr sz="2200" kern="1200" baseline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354012" indent="0" algn="l" defTabSz="914400" rtl="0" eaLnBrk="1" latinLnBrk="0" hangingPunct="1">
        <a:lnSpc>
          <a:spcPct val="90000"/>
        </a:lnSpc>
        <a:spcBef>
          <a:spcPts val="500"/>
        </a:spcBef>
        <a:buClr>
          <a:srgbClr val="828282"/>
        </a:buClr>
        <a:buFont typeface="Calibri" panose="020F0502020204030204" pitchFamily="34" charset="0"/>
        <a:buNone/>
        <a:defRPr sz="1800" kern="1200" baseline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936625" indent="0" algn="l" defTabSz="914400" rtl="0" eaLnBrk="1" latinLnBrk="0" hangingPunct="1">
        <a:lnSpc>
          <a:spcPct val="90000"/>
        </a:lnSpc>
        <a:spcBef>
          <a:spcPts val="500"/>
        </a:spcBef>
        <a:buClr>
          <a:srgbClr val="828282"/>
        </a:buClr>
        <a:buFont typeface="Calibri" panose="020F0502020204030204" pitchFamily="34" charset="0"/>
        <a:buNone/>
        <a:tabLst>
          <a:tab pos="1703388" algn="l"/>
        </a:tabLst>
        <a:defRPr sz="1600" kern="1200" baseline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1382713" indent="0" algn="l" defTabSz="914400" rtl="0" eaLnBrk="1" latinLnBrk="0" hangingPunct="1">
        <a:lnSpc>
          <a:spcPct val="90000"/>
        </a:lnSpc>
        <a:spcBef>
          <a:spcPts val="500"/>
        </a:spcBef>
        <a:buClr>
          <a:srgbClr val="828282"/>
        </a:buClr>
        <a:buFont typeface="Calibri" panose="020F0502020204030204" pitchFamily="34" charset="0"/>
        <a:buNone/>
        <a:defRPr sz="1400" kern="1200" baseline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97" userDrawn="1">
          <p15:clr>
            <a:srgbClr val="F26B43"/>
          </p15:clr>
        </p15:guide>
        <p15:guide id="4" pos="7355" userDrawn="1">
          <p15:clr>
            <a:srgbClr val="F26B43"/>
          </p15:clr>
        </p15:guide>
        <p15:guide id="5" pos="325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3B17AF6-12DB-8B8B-8ABE-C0ACEF8397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pt-PT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8BD89FF-227C-09EE-AB4B-93642339D7C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PT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F61FB9F-2DBB-6469-25C5-FC16C0CDF1C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A6295D9-B701-44CE-B3F7-80275B4234DA}" type="datetimeFigureOut">
              <a:rPr lang="pt-PT" smtClean="0"/>
              <a:t>20/10/2023</a:t>
            </a:fld>
            <a:endParaRPr lang="pt-PT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83E6FEF-62D6-BD42-E820-3C1C853575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PT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3E2AA2-5BE1-562C-00B3-80452A07ED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B16681C-C935-401D-B41D-1EEE5A6BC244}" type="slidenum">
              <a:rPr lang="pt-PT" smtClean="0"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3754989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07" r:id="rId1"/>
    <p:sldLayoutId id="2147484308" r:id="rId2"/>
    <p:sldLayoutId id="2147484309" r:id="rId3"/>
    <p:sldLayoutId id="2147484310" r:id="rId4"/>
    <p:sldLayoutId id="2147484311" r:id="rId5"/>
    <p:sldLayoutId id="2147484312" r:id="rId6"/>
    <p:sldLayoutId id="2147484313" r:id="rId7"/>
    <p:sldLayoutId id="2147484314" r:id="rId8"/>
    <p:sldLayoutId id="2147484315" r:id="rId9"/>
    <p:sldLayoutId id="2147484316" r:id="rId10"/>
    <p:sldLayoutId id="2147484317" r:id="rId11"/>
    <p:sldLayoutId id="2147484318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48.jpeg"/><Relationship Id="rId4" Type="http://schemas.openxmlformats.org/officeDocument/2006/relationships/image" Target="../media/image47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svg"/><Relationship Id="rId7" Type="http://schemas.openxmlformats.org/officeDocument/2006/relationships/image" Target="../media/image54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53.png"/><Relationship Id="rId5" Type="http://schemas.openxmlformats.org/officeDocument/2006/relationships/image" Target="../media/image52.svg"/><Relationship Id="rId4" Type="http://schemas.openxmlformats.org/officeDocument/2006/relationships/image" Target="../media/image5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57.jpeg"/><Relationship Id="rId5" Type="http://schemas.openxmlformats.org/officeDocument/2006/relationships/image" Target="../media/image42.jpeg"/><Relationship Id="rId4" Type="http://schemas.openxmlformats.org/officeDocument/2006/relationships/image" Target="../media/image5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jpeg"/><Relationship Id="rId2" Type="http://schemas.openxmlformats.org/officeDocument/2006/relationships/image" Target="../media/image58.jpeg"/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jpeg"/><Relationship Id="rId1" Type="http://schemas.openxmlformats.org/officeDocument/2006/relationships/slideLayout" Target="../slideLayouts/slideLayout3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3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eg"/><Relationship Id="rId3" Type="http://schemas.openxmlformats.org/officeDocument/2006/relationships/image" Target="../media/image19.jpeg"/><Relationship Id="rId7" Type="http://schemas.openxmlformats.org/officeDocument/2006/relationships/image" Target="../media/image23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2.jpeg"/><Relationship Id="rId5" Type="http://schemas.openxmlformats.org/officeDocument/2006/relationships/image" Target="../media/image21.jpeg"/><Relationship Id="rId4" Type="http://schemas.openxmlformats.org/officeDocument/2006/relationships/image" Target="../media/image20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28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jpeg"/><Relationship Id="rId13" Type="http://schemas.openxmlformats.org/officeDocument/2006/relationships/image" Target="../media/image39.jpeg"/><Relationship Id="rId3" Type="http://schemas.openxmlformats.org/officeDocument/2006/relationships/image" Target="../media/image29.jpeg"/><Relationship Id="rId7" Type="http://schemas.openxmlformats.org/officeDocument/2006/relationships/image" Target="../media/image33.jpeg"/><Relationship Id="rId12" Type="http://schemas.openxmlformats.org/officeDocument/2006/relationships/image" Target="../media/image38.jpe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42.jpe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2.jpeg"/><Relationship Id="rId11" Type="http://schemas.openxmlformats.org/officeDocument/2006/relationships/image" Target="../media/image37.jpeg"/><Relationship Id="rId5" Type="http://schemas.openxmlformats.org/officeDocument/2006/relationships/image" Target="../media/image31.jpeg"/><Relationship Id="rId15" Type="http://schemas.openxmlformats.org/officeDocument/2006/relationships/image" Target="../media/image41.png"/><Relationship Id="rId10" Type="http://schemas.openxmlformats.org/officeDocument/2006/relationships/image" Target="../media/image36.png"/><Relationship Id="rId4" Type="http://schemas.openxmlformats.org/officeDocument/2006/relationships/image" Target="../media/image30.jpeg"/><Relationship Id="rId9" Type="http://schemas.openxmlformats.org/officeDocument/2006/relationships/image" Target="../media/image35.png"/><Relationship Id="rId14" Type="http://schemas.openxmlformats.org/officeDocument/2006/relationships/image" Target="../media/image4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jpeg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Uma imagem com texto, captura de ecrã, Tipo de letra, logótipo&#10;&#10;Descrição gerada automaticamente">
            <a:extLst>
              <a:ext uri="{FF2B5EF4-FFF2-40B4-BE49-F238E27FC236}">
                <a16:creationId xmlns:a16="http://schemas.microsoft.com/office/drawing/2014/main" id="{8324D730-FB1D-E80D-DC05-EA23F2D7021E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68" y="0"/>
            <a:ext cx="12187263" cy="6858000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75DCBE3C-561A-F376-F695-86B91E7E18DB}"/>
              </a:ext>
            </a:extLst>
          </p:cNvPr>
          <p:cNvSpPr txBox="1">
            <a:spLocks/>
          </p:cNvSpPr>
          <p:nvPr/>
        </p:nvSpPr>
        <p:spPr>
          <a:xfrm>
            <a:off x="514315" y="1385310"/>
            <a:ext cx="8499054" cy="447039"/>
          </a:xfrm>
          <a:prstGeom prst="rect">
            <a:avLst/>
          </a:prstGeom>
        </p:spPr>
        <p:txBody>
          <a:bodyPr vert="horz" lIns="0" tIns="0" rIns="0" bIns="0" rtlCol="0">
            <a:normAutofit fontScale="25000" lnSpcReduction="20000"/>
          </a:bodyPr>
          <a:lstStyle>
            <a:lvl1pPr marL="0" indent="0" algn="l" defTabSz="914400" rtl="0" eaLnBrk="1" latinLnBrk="0" hangingPunct="1">
              <a:lnSpc>
                <a:spcPts val="2300"/>
              </a:lnSpc>
              <a:spcBef>
                <a:spcPts val="0"/>
              </a:spcBef>
              <a:buClr>
                <a:srgbClr val="828282"/>
              </a:buClr>
              <a:buSzPct val="70000"/>
              <a:buFont typeface="Arial"/>
              <a:buNone/>
              <a:defRPr sz="1600" b="0" i="0" kern="1200" baseline="0">
                <a:solidFill>
                  <a:srgbClr val="393939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None/>
              <a:defRPr sz="1500" kern="1200" baseline="0">
                <a:solidFill>
                  <a:srgbClr val="393939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354012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828282"/>
              </a:buClr>
              <a:buFont typeface="Calibri" panose="020F0502020204030204" pitchFamily="34" charset="0"/>
              <a:buNone/>
              <a:defRPr sz="1800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93662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828282"/>
              </a:buClr>
              <a:buFont typeface="Calibri" panose="020F0502020204030204" pitchFamily="34" charset="0"/>
              <a:buNone/>
              <a:tabLst>
                <a:tab pos="1703388" algn="l"/>
              </a:tabLst>
              <a:defRPr sz="1600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8271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828282"/>
              </a:buClr>
              <a:buFont typeface="Calibri" panose="020F0502020204030204" pitchFamily="34" charset="0"/>
              <a:buNone/>
              <a:defRPr sz="1400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600" dirty="0">
                <a:solidFill>
                  <a:srgbClr val="C07200"/>
                </a:solidFill>
              </a:rPr>
              <a:t>​</a:t>
            </a:r>
            <a:r>
              <a:rPr lang="pt-PT" sz="9600" dirty="0">
                <a:solidFill>
                  <a:srgbClr val="C07200"/>
                </a:solidFill>
              </a:rPr>
              <a:t>Mitigação da gravidade dos acidentes</a:t>
            </a:r>
            <a:endParaRPr lang="en-US" sz="2400" dirty="0">
              <a:solidFill>
                <a:srgbClr val="C07200"/>
              </a:solidFill>
            </a:endParaRPr>
          </a:p>
          <a:p>
            <a:r>
              <a:rPr lang="en-US" sz="2400" dirty="0">
                <a:solidFill>
                  <a:srgbClr val="C07200"/>
                </a:solidFill>
              </a:rPr>
              <a:t>​</a:t>
            </a:r>
          </a:p>
          <a:p>
            <a:endParaRPr lang="pt-PT" sz="2400" dirty="0">
              <a:solidFill>
                <a:srgbClr val="C07200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0D84716-6C50-3434-C942-2069A7305C52}"/>
              </a:ext>
            </a:extLst>
          </p:cNvPr>
          <p:cNvSpPr txBox="1"/>
          <p:nvPr/>
        </p:nvSpPr>
        <p:spPr>
          <a:xfrm>
            <a:off x="1120916" y="2136686"/>
            <a:ext cx="1986004" cy="15314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pt-PT" sz="1600" dirty="0">
                <a:solidFill>
                  <a:srgbClr val="000000"/>
                </a:solidFill>
                <a:latin typeface="Calibri" panose="020F0502020204030204" pitchFamily="34" charset="0"/>
              </a:rPr>
              <a:t>A41 - Brisa</a:t>
            </a:r>
          </a:p>
          <a:p>
            <a:pPr fontAlgn="base">
              <a:lnSpc>
                <a:spcPct val="150000"/>
              </a:lnSpc>
            </a:pPr>
            <a:r>
              <a:rPr lang="pt-PT" sz="1600" dirty="0">
                <a:solidFill>
                  <a:srgbClr val="000000"/>
                </a:solidFill>
                <a:latin typeface="Calibri" panose="020F0502020204030204" pitchFamily="34" charset="0"/>
              </a:rPr>
              <a:t>Data: 31/05/2023</a:t>
            </a:r>
          </a:p>
          <a:p>
            <a:pPr fontAlgn="base">
              <a:lnSpc>
                <a:spcPct val="150000"/>
              </a:lnSpc>
            </a:pPr>
            <a:r>
              <a:rPr lang="pt-PT" sz="1600" dirty="0">
                <a:solidFill>
                  <a:srgbClr val="000000"/>
                </a:solidFill>
                <a:latin typeface="Calibri" panose="020F0502020204030204" pitchFamily="34" charset="0"/>
              </a:rPr>
              <a:t>Causa: Distração</a:t>
            </a:r>
          </a:p>
          <a:p>
            <a:pPr fontAlgn="base">
              <a:lnSpc>
                <a:spcPct val="150000"/>
              </a:lnSpc>
            </a:pPr>
            <a:r>
              <a:rPr lang="pt-PT" sz="1600" dirty="0">
                <a:solidFill>
                  <a:srgbClr val="000000"/>
                </a:solidFill>
                <a:latin typeface="Calibri" panose="020F0502020204030204" pitchFamily="34" charset="0"/>
              </a:rPr>
              <a:t>Vítimas: 1 ileso e 1 FL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89A7989-90F8-7667-21F4-805C79F2A5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Segurança Rodoviária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6C2D226-3FFF-E426-DA21-E255BA7BC5A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5A18A9-FB90-4F92-9633-9A2FCB4DF4A0}" type="slidenum">
              <a:rPr lang="pt-PT" smtClean="0"/>
              <a:pPr/>
              <a:t>10</a:t>
            </a:fld>
            <a:endParaRPr lang="pt-PT" dirty="0"/>
          </a:p>
        </p:txBody>
      </p:sp>
      <p:pic>
        <p:nvPicPr>
          <p:cNvPr id="5" name="Picture 4" descr="A damaged car on the side of the road&#10;&#10;Description automatically generated">
            <a:extLst>
              <a:ext uri="{FF2B5EF4-FFF2-40B4-BE49-F238E27FC236}">
                <a16:creationId xmlns:a16="http://schemas.microsoft.com/office/drawing/2014/main" id="{9B0FCE49-5BC0-D5DE-766F-53802A83A98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06831" y="1992125"/>
            <a:ext cx="1657519" cy="1820569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62D85D73-242B-1FEF-295E-26B3F03B34F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06831" y="4299644"/>
            <a:ext cx="1657519" cy="182057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765D903A-A95D-E5FF-3D32-49493012B677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56156" y="1992125"/>
            <a:ext cx="1657519" cy="182056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CCD9DC7-5C5B-921E-636F-2682D97890C6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56156" y="4311882"/>
            <a:ext cx="1657519" cy="1808332"/>
          </a:xfrm>
          <a:prstGeom prst="rect">
            <a:avLst/>
          </a:prstGeom>
        </p:spPr>
      </p:pic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5C2DACF0-AB93-0CB1-F2E7-90BCBAE0BA0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4318" y="737786"/>
            <a:ext cx="9899997" cy="510098"/>
          </a:xfrm>
        </p:spPr>
        <p:txBody>
          <a:bodyPr/>
          <a:lstStyle/>
          <a:p>
            <a:r>
              <a:rPr lang="pt-PT" dirty="0"/>
              <a:t>Trabalhos na Estrada - Presente e Futuro | Novos Equipamento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D5D7E04-8930-609F-A049-750D91A6B818}"/>
              </a:ext>
            </a:extLst>
          </p:cNvPr>
          <p:cNvSpPr txBox="1"/>
          <p:nvPr/>
        </p:nvSpPr>
        <p:spPr>
          <a:xfrm>
            <a:off x="1108734" y="4304332"/>
            <a:ext cx="1986005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pt-PT" sz="1600" dirty="0">
                <a:solidFill>
                  <a:srgbClr val="000000"/>
                </a:solidFill>
                <a:latin typeface="Calibri" panose="020F0502020204030204" pitchFamily="34" charset="0"/>
              </a:rPr>
              <a:t>A33 - Brisa</a:t>
            </a:r>
          </a:p>
          <a:p>
            <a:pPr fontAlgn="base">
              <a:lnSpc>
                <a:spcPct val="150000"/>
              </a:lnSpc>
            </a:pPr>
            <a:r>
              <a:rPr lang="pt-PT" sz="1600" dirty="0">
                <a:solidFill>
                  <a:srgbClr val="000000"/>
                </a:solidFill>
                <a:latin typeface="Calibri" panose="020F0502020204030204" pitchFamily="34" charset="0"/>
              </a:rPr>
              <a:t>Data: 30/06/2023</a:t>
            </a:r>
          </a:p>
          <a:p>
            <a:pPr fontAlgn="base">
              <a:lnSpc>
                <a:spcPct val="150000"/>
              </a:lnSpc>
            </a:pPr>
            <a:r>
              <a:rPr lang="pt-PT" sz="1600" dirty="0">
                <a:solidFill>
                  <a:srgbClr val="000000"/>
                </a:solidFill>
                <a:latin typeface="Calibri" panose="020F0502020204030204" pitchFamily="34" charset="0"/>
              </a:rPr>
              <a:t>Causa: Distração</a:t>
            </a:r>
          </a:p>
          <a:p>
            <a:pPr fontAlgn="base">
              <a:lnSpc>
                <a:spcPct val="150000"/>
              </a:lnSpc>
            </a:pPr>
            <a:r>
              <a:rPr lang="pt-PT" sz="1600" dirty="0">
                <a:solidFill>
                  <a:srgbClr val="000000"/>
                </a:solidFill>
                <a:latin typeface="Calibri" panose="020F0502020204030204" pitchFamily="34" charset="0"/>
              </a:rPr>
              <a:t>Vítimas: 2 ilesos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C36E81B-F29F-E1B3-78B6-E1D632511C7E}"/>
              </a:ext>
            </a:extLst>
          </p:cNvPr>
          <p:cNvSpPr txBox="1"/>
          <p:nvPr/>
        </p:nvSpPr>
        <p:spPr>
          <a:xfrm>
            <a:off x="5966940" y="2136685"/>
            <a:ext cx="1986004" cy="15314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pt-PT" sz="1600" dirty="0">
                <a:solidFill>
                  <a:srgbClr val="000000"/>
                </a:solidFill>
                <a:latin typeface="Calibri" panose="020F0502020204030204" pitchFamily="34" charset="0"/>
              </a:rPr>
              <a:t>A1 - Empreiteiro</a:t>
            </a:r>
          </a:p>
          <a:p>
            <a:pPr fontAlgn="base">
              <a:lnSpc>
                <a:spcPct val="150000"/>
              </a:lnSpc>
            </a:pPr>
            <a:r>
              <a:rPr lang="pt-PT" sz="1600" dirty="0">
                <a:solidFill>
                  <a:srgbClr val="000000"/>
                </a:solidFill>
                <a:latin typeface="Calibri" panose="020F0502020204030204" pitchFamily="34" charset="0"/>
              </a:rPr>
              <a:t>Data: 07/07/2023</a:t>
            </a:r>
          </a:p>
          <a:p>
            <a:pPr fontAlgn="base">
              <a:lnSpc>
                <a:spcPct val="150000"/>
              </a:lnSpc>
            </a:pPr>
            <a:r>
              <a:rPr lang="pt-PT" sz="1600" dirty="0">
                <a:solidFill>
                  <a:srgbClr val="000000"/>
                </a:solidFill>
                <a:latin typeface="Calibri" panose="020F0502020204030204" pitchFamily="34" charset="0"/>
              </a:rPr>
              <a:t>Causa: Distração</a:t>
            </a:r>
          </a:p>
          <a:p>
            <a:pPr fontAlgn="base">
              <a:lnSpc>
                <a:spcPct val="150000"/>
              </a:lnSpc>
            </a:pPr>
            <a:r>
              <a:rPr lang="pt-PT" sz="1600" dirty="0">
                <a:solidFill>
                  <a:srgbClr val="000000"/>
                </a:solidFill>
                <a:latin typeface="Calibri" panose="020F0502020204030204" pitchFamily="34" charset="0"/>
              </a:rPr>
              <a:t>Vítimas: 2 ileso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02F4DA5-74C9-4FF6-6326-29FC07C4A78C}"/>
              </a:ext>
            </a:extLst>
          </p:cNvPr>
          <p:cNvSpPr txBox="1"/>
          <p:nvPr/>
        </p:nvSpPr>
        <p:spPr>
          <a:xfrm>
            <a:off x="5966940" y="4313161"/>
            <a:ext cx="1986004" cy="15314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base">
              <a:lnSpc>
                <a:spcPct val="150000"/>
              </a:lnSpc>
            </a:pPr>
            <a:r>
              <a:rPr lang="pt-PT" sz="1600" dirty="0">
                <a:solidFill>
                  <a:srgbClr val="000000"/>
                </a:solidFill>
                <a:latin typeface="Calibri" panose="020F0502020204030204" pitchFamily="34" charset="0"/>
              </a:rPr>
              <a:t>A1 - Empreiteiro</a:t>
            </a:r>
          </a:p>
          <a:p>
            <a:pPr fontAlgn="base">
              <a:lnSpc>
                <a:spcPct val="150000"/>
              </a:lnSpc>
            </a:pPr>
            <a:r>
              <a:rPr lang="pt-PT" sz="1600" dirty="0">
                <a:solidFill>
                  <a:srgbClr val="000000"/>
                </a:solidFill>
                <a:latin typeface="Calibri" panose="020F0502020204030204" pitchFamily="34" charset="0"/>
              </a:rPr>
              <a:t>Data: 30/08/2023</a:t>
            </a:r>
          </a:p>
          <a:p>
            <a:pPr fontAlgn="base">
              <a:lnSpc>
                <a:spcPct val="150000"/>
              </a:lnSpc>
            </a:pPr>
            <a:r>
              <a:rPr lang="pt-PT" sz="1600" dirty="0">
                <a:solidFill>
                  <a:srgbClr val="000000"/>
                </a:solidFill>
                <a:latin typeface="Calibri" panose="020F0502020204030204" pitchFamily="34" charset="0"/>
              </a:rPr>
              <a:t>Causa: Sonolência</a:t>
            </a:r>
          </a:p>
          <a:p>
            <a:pPr fontAlgn="base">
              <a:lnSpc>
                <a:spcPct val="150000"/>
              </a:lnSpc>
            </a:pPr>
            <a:r>
              <a:rPr lang="pt-PT" sz="1600" dirty="0">
                <a:solidFill>
                  <a:srgbClr val="000000"/>
                </a:solidFill>
                <a:latin typeface="Calibri" panose="020F0502020204030204" pitchFamily="34" charset="0"/>
              </a:rPr>
              <a:t>Vítimas: 1 ileso e 1 FL</a:t>
            </a:r>
          </a:p>
        </p:txBody>
      </p:sp>
    </p:spTree>
    <p:extLst>
      <p:ext uri="{BB962C8B-B14F-4D97-AF65-F5344CB8AC3E}">
        <p14:creationId xmlns:p14="http://schemas.microsoft.com/office/powerpoint/2010/main" val="287821583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E89A7989-90F8-7667-21F4-805C79F2A5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Segurança Rodoviária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6C2D226-3FFF-E426-DA21-E255BA7BC5A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5A18A9-FB90-4F92-9633-9A2FCB4DF4A0}" type="slidenum">
              <a:rPr lang="pt-PT" smtClean="0"/>
              <a:pPr/>
              <a:t>11</a:t>
            </a:fld>
            <a:endParaRPr lang="pt-PT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26C05DC-F5F9-D6FA-8A18-61EAE23E769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4315" y="1385310"/>
            <a:ext cx="8499054" cy="447039"/>
          </a:xfrm>
        </p:spPr>
        <p:txBody>
          <a:bodyPr>
            <a:normAutofit/>
          </a:bodyPr>
          <a:lstStyle/>
          <a:p>
            <a:pPr algn="l" rtl="0" fontAlgn="base"/>
            <a:r>
              <a:rPr lang="en-US" sz="2400" b="0" i="0" dirty="0" err="1">
                <a:solidFill>
                  <a:srgbClr val="C07200"/>
                </a:solidFill>
                <a:effectLst/>
                <a:latin typeface="Calibri" panose="020F0502020204030204" pitchFamily="34" charset="0"/>
              </a:rPr>
              <a:t>Próximos</a:t>
            </a:r>
            <a:r>
              <a:rPr lang="en-US" sz="2400" b="0" i="0" dirty="0">
                <a:solidFill>
                  <a:srgbClr val="C0720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en-US" sz="2400" b="0" i="0" dirty="0" err="1">
                <a:solidFill>
                  <a:srgbClr val="C07200"/>
                </a:solidFill>
                <a:effectLst/>
                <a:latin typeface="Calibri" panose="020F0502020204030204" pitchFamily="34" charset="0"/>
              </a:rPr>
              <a:t>Passos</a:t>
            </a:r>
            <a:endParaRPr lang="en-US" sz="2400" dirty="0">
              <a:solidFill>
                <a:srgbClr val="C07200"/>
              </a:solidFill>
            </a:endParaRPr>
          </a:p>
          <a:p>
            <a:endParaRPr lang="pt-PT" sz="2400" dirty="0">
              <a:solidFill>
                <a:srgbClr val="C07200"/>
              </a:solidFill>
            </a:endParaRP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52F89288-494D-8FDB-3D90-7098D232874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4318" y="737786"/>
            <a:ext cx="9899997" cy="510098"/>
          </a:xfrm>
        </p:spPr>
        <p:txBody>
          <a:bodyPr/>
          <a:lstStyle/>
          <a:p>
            <a:r>
              <a:rPr lang="pt-PT" dirty="0"/>
              <a:t>Trabalhos na Estrada - Presente e Futuro | Novos Equipamentos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A3543A3B-01D6-9CB7-1930-5431FD3AD06F}"/>
              </a:ext>
            </a:extLst>
          </p:cNvPr>
          <p:cNvSpPr txBox="1">
            <a:spLocks/>
          </p:cNvSpPr>
          <p:nvPr/>
        </p:nvSpPr>
        <p:spPr>
          <a:xfrm>
            <a:off x="1445897" y="4973311"/>
            <a:ext cx="5786591" cy="447039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0" indent="0" algn="l" defTabSz="914400" rtl="0" eaLnBrk="1" latinLnBrk="0" hangingPunct="1">
              <a:lnSpc>
                <a:spcPts val="2300"/>
              </a:lnSpc>
              <a:spcBef>
                <a:spcPts val="0"/>
              </a:spcBef>
              <a:buClr>
                <a:srgbClr val="828282"/>
              </a:buClr>
              <a:buSzPct val="70000"/>
              <a:buFont typeface="Arial"/>
              <a:buNone/>
              <a:defRPr sz="1600" b="0" i="0" kern="1200" baseline="0">
                <a:solidFill>
                  <a:srgbClr val="393939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None/>
              <a:defRPr sz="1500" kern="1200" baseline="0">
                <a:solidFill>
                  <a:srgbClr val="393939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354012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828282"/>
              </a:buClr>
              <a:buFont typeface="Calibri" panose="020F0502020204030204" pitchFamily="34" charset="0"/>
              <a:buNone/>
              <a:defRPr sz="1800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93662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828282"/>
              </a:buClr>
              <a:buFont typeface="Calibri" panose="020F0502020204030204" pitchFamily="34" charset="0"/>
              <a:buNone/>
              <a:tabLst>
                <a:tab pos="1703388" algn="l"/>
              </a:tabLst>
              <a:defRPr sz="1600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8271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828282"/>
              </a:buClr>
              <a:buFont typeface="Calibri" panose="020F0502020204030204" pitchFamily="34" charset="0"/>
              <a:buNone/>
              <a:defRPr sz="1400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>
                <a:solidFill>
                  <a:schemeClr val="tx1"/>
                </a:solidFill>
              </a:rPr>
              <a:t>​R</a:t>
            </a:r>
            <a:r>
              <a:rPr lang="pt-PT" sz="2000" dirty="0">
                <a:solidFill>
                  <a:schemeClr val="tx1"/>
                </a:solidFill>
              </a:rPr>
              <a:t>edução do tempo para (</a:t>
            </a:r>
            <a:r>
              <a:rPr lang="pt-PT" sz="2000" dirty="0" err="1">
                <a:solidFill>
                  <a:schemeClr val="tx1"/>
                </a:solidFill>
              </a:rPr>
              <a:t>des</a:t>
            </a:r>
            <a:r>
              <a:rPr lang="pt-PT" sz="2000" dirty="0">
                <a:solidFill>
                  <a:schemeClr val="tx1"/>
                </a:solidFill>
              </a:rPr>
              <a:t>)montagem da sinalização</a:t>
            </a:r>
            <a:endParaRPr lang="en-US" sz="2000" dirty="0">
              <a:solidFill>
                <a:schemeClr val="tx1"/>
              </a:solidFill>
            </a:endParaRPr>
          </a:p>
        </p:txBody>
      </p:sp>
      <p:pic>
        <p:nvPicPr>
          <p:cNvPr id="25" name="Graphic 24" descr="Downward trend graph with solid fill">
            <a:extLst>
              <a:ext uri="{FF2B5EF4-FFF2-40B4-BE49-F238E27FC236}">
                <a16:creationId xmlns:a16="http://schemas.microsoft.com/office/drawing/2014/main" id="{C5C2FB4A-838E-D6E6-E667-A8615E6879D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0399" y="4814436"/>
            <a:ext cx="774417" cy="774417"/>
          </a:xfrm>
          <a:prstGeom prst="rect">
            <a:avLst/>
          </a:prstGeom>
        </p:spPr>
      </p:pic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FAAD921F-F7ED-EF6A-78EF-1954F4FFD60E}"/>
              </a:ext>
            </a:extLst>
          </p:cNvPr>
          <p:cNvSpPr txBox="1">
            <a:spLocks/>
          </p:cNvSpPr>
          <p:nvPr/>
        </p:nvSpPr>
        <p:spPr>
          <a:xfrm>
            <a:off x="1445897" y="5752541"/>
            <a:ext cx="6926827" cy="447039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0" indent="0" algn="l" defTabSz="914400" rtl="0" eaLnBrk="1" latinLnBrk="0" hangingPunct="1">
              <a:lnSpc>
                <a:spcPts val="2300"/>
              </a:lnSpc>
              <a:spcBef>
                <a:spcPts val="0"/>
              </a:spcBef>
              <a:buClr>
                <a:srgbClr val="828282"/>
              </a:buClr>
              <a:buSzPct val="70000"/>
              <a:buFont typeface="Arial"/>
              <a:buNone/>
              <a:defRPr sz="1600" b="0" i="0" kern="1200" baseline="0">
                <a:solidFill>
                  <a:srgbClr val="393939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None/>
              <a:defRPr sz="1500" kern="1200" baseline="0">
                <a:solidFill>
                  <a:srgbClr val="393939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354012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828282"/>
              </a:buClr>
              <a:buFont typeface="Calibri" panose="020F0502020204030204" pitchFamily="34" charset="0"/>
              <a:buNone/>
              <a:defRPr sz="1800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93662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828282"/>
              </a:buClr>
              <a:buFont typeface="Calibri" panose="020F0502020204030204" pitchFamily="34" charset="0"/>
              <a:buNone/>
              <a:tabLst>
                <a:tab pos="1703388" algn="l"/>
              </a:tabLst>
              <a:defRPr sz="1600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8271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828282"/>
              </a:buClr>
              <a:buFont typeface="Calibri" panose="020F0502020204030204" pitchFamily="34" charset="0"/>
              <a:buNone/>
              <a:defRPr sz="1400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>
                <a:solidFill>
                  <a:schemeClr val="tx1"/>
                </a:solidFill>
              </a:rPr>
              <a:t>​</a:t>
            </a:r>
            <a:r>
              <a:rPr lang="pt-PT" sz="2000" dirty="0">
                <a:solidFill>
                  <a:schemeClr val="tx1"/>
                </a:solidFill>
              </a:rPr>
              <a:t>Minimizar o risco de exposição de clientes e dos trabalhadores</a:t>
            </a:r>
            <a:endParaRPr lang="en-US" sz="2000" dirty="0">
              <a:solidFill>
                <a:schemeClr val="tx1"/>
              </a:solidFill>
            </a:endParaRPr>
          </a:p>
        </p:txBody>
      </p:sp>
      <p:pic>
        <p:nvPicPr>
          <p:cNvPr id="28" name="Graphic 27" descr="Bullseye with solid fill">
            <a:extLst>
              <a:ext uri="{FF2B5EF4-FFF2-40B4-BE49-F238E27FC236}">
                <a16:creationId xmlns:a16="http://schemas.microsoft.com/office/drawing/2014/main" id="{82239BD0-F031-A2A7-7969-2E563259C67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09318" y="5588853"/>
            <a:ext cx="774417" cy="774417"/>
          </a:xfrm>
          <a:prstGeom prst="rect">
            <a:avLst/>
          </a:prstGeom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2049A5DB-81FF-0D7E-735E-845C8C457ED4}"/>
              </a:ext>
            </a:extLst>
          </p:cNvPr>
          <p:cNvSpPr txBox="1"/>
          <p:nvPr/>
        </p:nvSpPr>
        <p:spPr>
          <a:xfrm>
            <a:off x="8141658" y="1422888"/>
            <a:ext cx="356247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PT" b="1" dirty="0">
                <a:solidFill>
                  <a:srgbClr val="000000"/>
                </a:solidFill>
                <a:latin typeface="Calibri" panose="020F0502020204030204" pitchFamily="34" charset="0"/>
              </a:rPr>
              <a:t>Novos Esquemas</a:t>
            </a:r>
          </a:p>
          <a:p>
            <a:pPr algn="ctr"/>
            <a:r>
              <a:rPr lang="pt-PT" b="1" dirty="0">
                <a:solidFill>
                  <a:srgbClr val="000000"/>
                </a:solidFill>
                <a:latin typeface="Calibri" panose="020F0502020204030204" pitchFamily="34" charset="0"/>
              </a:rPr>
              <a:t>Sinalização Luminosa Transportável</a:t>
            </a:r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94BC3AB6-FA2E-F3B4-347A-2391CC56311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414531" y="2070855"/>
            <a:ext cx="3695700" cy="2505075"/>
          </a:xfrm>
          <a:prstGeom prst="rect">
            <a:avLst/>
          </a:prstGeom>
        </p:spPr>
      </p:pic>
      <p:pic>
        <p:nvPicPr>
          <p:cNvPr id="41" name="Picture 19">
            <a:extLst>
              <a:ext uri="{FF2B5EF4-FFF2-40B4-BE49-F238E27FC236}">
                <a16:creationId xmlns:a16="http://schemas.microsoft.com/office/drawing/2014/main" id="{3A13BB2A-7140-6385-252D-DA7D22886956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58516" y="2099364"/>
            <a:ext cx="3128758" cy="4084936"/>
          </a:xfrm>
          <a:prstGeom prst="rect">
            <a:avLst/>
          </a:prstGeom>
        </p:spPr>
      </p:pic>
      <p:sp>
        <p:nvSpPr>
          <p:cNvPr id="42" name="Arrow: Right 18">
            <a:extLst>
              <a:ext uri="{FF2B5EF4-FFF2-40B4-BE49-F238E27FC236}">
                <a16:creationId xmlns:a16="http://schemas.microsoft.com/office/drawing/2014/main" id="{F4439AA7-9090-37A1-9A15-A8CFA3773087}"/>
              </a:ext>
            </a:extLst>
          </p:cNvPr>
          <p:cNvSpPr/>
          <p:nvPr/>
        </p:nvSpPr>
        <p:spPr>
          <a:xfrm rot="10800000" flipH="1">
            <a:off x="6750876" y="3205481"/>
            <a:ext cx="1107249" cy="65214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0875783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  <p:bldP spid="26" grpId="0"/>
      <p:bldP spid="31" grpId="0"/>
      <p:bldP spid="42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E89A7989-90F8-7667-21F4-805C79F2A5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Segurança Rodoviária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6C2D226-3FFF-E426-DA21-E255BA7BC5A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5A18A9-FB90-4F92-9633-9A2FCB4DF4A0}" type="slidenum">
              <a:rPr lang="pt-PT" smtClean="0"/>
              <a:pPr/>
              <a:t>12</a:t>
            </a:fld>
            <a:endParaRPr lang="pt-PT" dirty="0"/>
          </a:p>
        </p:txBody>
      </p:sp>
      <p:pic>
        <p:nvPicPr>
          <p:cNvPr id="9218" name="Picture 2" descr="Uma imagem com ar livre, texto, edifício, sinalética&#10;&#10;Descrição gerada automaticamente">
            <a:extLst>
              <a:ext uri="{FF2B5EF4-FFF2-40B4-BE49-F238E27FC236}">
                <a16:creationId xmlns:a16="http://schemas.microsoft.com/office/drawing/2014/main" id="{B229F092-19C6-8B0C-0B98-A6BC837A63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584454" y="1962431"/>
            <a:ext cx="2151254" cy="38515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FA5429B4-A837-FD4C-4307-35D1C6466658}"/>
              </a:ext>
            </a:extLst>
          </p:cNvPr>
          <p:cNvSpPr txBox="1"/>
          <p:nvPr/>
        </p:nvSpPr>
        <p:spPr>
          <a:xfrm>
            <a:off x="456292" y="1957945"/>
            <a:ext cx="912816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 fontAlgn="base"/>
            <a:r>
              <a:rPr lang="pt-PT" sz="20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Sinalização dos Trabalhos na Plataforma</a:t>
            </a:r>
            <a:r>
              <a:rPr lang="pt-PT" sz="2000" dirty="0">
                <a:solidFill>
                  <a:srgbClr val="000000"/>
                </a:solidFill>
                <a:latin typeface="Calibri" panose="020F0502020204030204" pitchFamily="34" charset="0"/>
              </a:rPr>
              <a:t> com recurso a equipamentos automáticos</a:t>
            </a:r>
            <a:r>
              <a:rPr lang="pt-PT" sz="20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:</a:t>
            </a:r>
            <a:r>
              <a:rPr lang="en-US" sz="20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​</a:t>
            </a:r>
          </a:p>
        </p:txBody>
      </p:sp>
      <p:pic>
        <p:nvPicPr>
          <p:cNvPr id="18" name="Imagem 5" descr="Uma imagem com roda, veículo, pneu, transporte&#10;&#10;Descrição gerada automaticamente">
            <a:extLst>
              <a:ext uri="{FF2B5EF4-FFF2-40B4-BE49-F238E27FC236}">
                <a16:creationId xmlns:a16="http://schemas.microsoft.com/office/drawing/2014/main" id="{022988CD-ECA1-BAD4-6016-13FD6A958FF6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01505" y="2744539"/>
            <a:ext cx="2384636" cy="3305067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AB25FFB5-AD06-0C7D-0C39-47EAFF65310A}"/>
              </a:ext>
            </a:extLst>
          </p:cNvPr>
          <p:cNvGrpSpPr/>
          <p:nvPr/>
        </p:nvGrpSpPr>
        <p:grpSpPr>
          <a:xfrm>
            <a:off x="9805235" y="6018439"/>
            <a:ext cx="1930473" cy="510097"/>
            <a:chOff x="9927771" y="3671697"/>
            <a:chExt cx="2097738" cy="561281"/>
          </a:xfrm>
        </p:grpSpPr>
        <p:pic>
          <p:nvPicPr>
            <p:cNvPr id="4" name="Picture 4" descr="Image result for testing">
              <a:extLst>
                <a:ext uri="{FF2B5EF4-FFF2-40B4-BE49-F238E27FC236}">
                  <a16:creationId xmlns:a16="http://schemas.microsoft.com/office/drawing/2014/main" id="{508D5DDF-9C66-4BCB-AE2B-1ABBEC8AFBF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27771" y="3671697"/>
              <a:ext cx="600779" cy="5612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0B7F6A01-8B16-6D21-6634-2D55D9268BBF}"/>
                </a:ext>
              </a:extLst>
            </p:cNvPr>
            <p:cNvSpPr txBox="1"/>
            <p:nvPr/>
          </p:nvSpPr>
          <p:spPr>
            <a:xfrm>
              <a:off x="10574509" y="3789643"/>
              <a:ext cx="1451000" cy="338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PT" sz="1400" dirty="0"/>
                <a:t>Dezembro 2023</a:t>
              </a:r>
            </a:p>
          </p:txBody>
        </p:sp>
      </p:grp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E6E302A9-B830-2FB5-930D-EED5CBE9CC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4318" y="737786"/>
            <a:ext cx="9899997" cy="510098"/>
          </a:xfrm>
        </p:spPr>
        <p:txBody>
          <a:bodyPr/>
          <a:lstStyle/>
          <a:p>
            <a:r>
              <a:rPr lang="pt-PT" dirty="0"/>
              <a:t>Trabalhos na Estrada - Presente e Futuro | Novos Equipamentos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F417C098-3C47-8733-2AD0-4D0515B1F5E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4315" y="1385310"/>
            <a:ext cx="8499054" cy="447039"/>
          </a:xfrm>
        </p:spPr>
        <p:txBody>
          <a:bodyPr>
            <a:normAutofit/>
          </a:bodyPr>
          <a:lstStyle/>
          <a:p>
            <a:pPr algn="l" rtl="0" fontAlgn="base"/>
            <a:r>
              <a:rPr lang="en-US" sz="2400" b="0" i="0" dirty="0" err="1">
                <a:solidFill>
                  <a:srgbClr val="C07200"/>
                </a:solidFill>
                <a:effectLst/>
                <a:latin typeface="Calibri" panose="020F0502020204030204" pitchFamily="34" charset="0"/>
              </a:rPr>
              <a:t>Sinalização</a:t>
            </a:r>
            <a:r>
              <a:rPr lang="en-US" sz="2400" b="0" i="0" dirty="0">
                <a:solidFill>
                  <a:srgbClr val="C0720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en-US" sz="2400" b="0" i="0" dirty="0" err="1">
                <a:solidFill>
                  <a:srgbClr val="C07200"/>
                </a:solidFill>
                <a:effectLst/>
                <a:latin typeface="Calibri" panose="020F0502020204030204" pitchFamily="34" charset="0"/>
              </a:rPr>
              <a:t>Luminosa</a:t>
            </a:r>
            <a:r>
              <a:rPr lang="en-US" sz="2400" b="0" i="0" dirty="0">
                <a:solidFill>
                  <a:srgbClr val="C0720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en-US" sz="2400" b="0" i="0" dirty="0" err="1">
                <a:solidFill>
                  <a:srgbClr val="C07200"/>
                </a:solidFill>
                <a:effectLst/>
                <a:latin typeface="Calibri" panose="020F0502020204030204" pitchFamily="34" charset="0"/>
              </a:rPr>
              <a:t>Transportável</a:t>
            </a:r>
            <a:endParaRPr lang="en-US" sz="2400" dirty="0">
              <a:solidFill>
                <a:srgbClr val="C07200"/>
              </a:solidFill>
            </a:endParaRPr>
          </a:p>
          <a:p>
            <a:endParaRPr lang="pt-PT" sz="2400" dirty="0">
              <a:solidFill>
                <a:srgbClr val="C07200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2CCBA39-45DD-8D15-9A31-41EE675031FC}"/>
              </a:ext>
            </a:extLst>
          </p:cNvPr>
          <p:cNvSpPr txBox="1"/>
          <p:nvPr/>
        </p:nvSpPr>
        <p:spPr>
          <a:xfrm>
            <a:off x="456292" y="2484394"/>
            <a:ext cx="562601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pt-PT" b="1" dirty="0">
                <a:solidFill>
                  <a:srgbClr val="000000"/>
                </a:solidFill>
                <a:latin typeface="Calibri" panose="020F0502020204030204" pitchFamily="34" charset="0"/>
              </a:rPr>
              <a:t>Atrelados </a:t>
            </a:r>
            <a:r>
              <a:rPr lang="pt-PT" b="1" dirty="0" err="1">
                <a:solidFill>
                  <a:srgbClr val="000000"/>
                </a:solidFill>
                <a:latin typeface="Calibri" panose="020F0502020204030204" pitchFamily="34" charset="0"/>
              </a:rPr>
              <a:t>PMVs</a:t>
            </a:r>
            <a:r>
              <a:rPr lang="pt-PT" b="1" dirty="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  <a:r>
              <a:rPr lang="pt-PT" dirty="0">
                <a:solidFill>
                  <a:srgbClr val="000000"/>
                </a:solidFill>
                <a:latin typeface="Calibri" panose="020F0502020204030204" pitchFamily="34" charset="0"/>
              </a:rPr>
              <a:t>para utilização nos novos esquemas de sinalização temporária para trabalhos fixos e móveis</a:t>
            </a:r>
          </a:p>
        </p:txBody>
      </p:sp>
      <p:pic>
        <p:nvPicPr>
          <p:cNvPr id="9" name="Picture 2" descr="VW 1800 S: solar-powered and full-colour VMS-trailer | EBO van Weel">
            <a:extLst>
              <a:ext uri="{FF2B5EF4-FFF2-40B4-BE49-F238E27FC236}">
                <a16:creationId xmlns:a16="http://schemas.microsoft.com/office/drawing/2014/main" id="{7166EF9A-E9F8-3411-DE35-DB97F30EDA1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45125" y="3304682"/>
            <a:ext cx="3997047" cy="2927735"/>
          </a:xfrm>
          <a:custGeom>
            <a:avLst/>
            <a:gdLst/>
            <a:ahLst/>
            <a:cxnLst/>
            <a:rect l="l" t="t" r="r" b="b"/>
            <a:pathLst>
              <a:path w="3997047" h="4358703">
                <a:moveTo>
                  <a:pt x="9389" y="0"/>
                </a:moveTo>
                <a:lnTo>
                  <a:pt x="3997047" y="0"/>
                </a:lnTo>
                <a:lnTo>
                  <a:pt x="3997047" y="4347477"/>
                </a:lnTo>
                <a:lnTo>
                  <a:pt x="3922844" y="4341211"/>
                </a:lnTo>
                <a:cubicBezTo>
                  <a:pt x="3821334" y="4336140"/>
                  <a:pt x="3719771" y="4340396"/>
                  <a:pt x="3618208" y="4343440"/>
                </a:cubicBezTo>
                <a:cubicBezTo>
                  <a:pt x="3488013" y="4347245"/>
                  <a:pt x="3357819" y="4358659"/>
                  <a:pt x="3227370" y="4344455"/>
                </a:cubicBezTo>
                <a:cubicBezTo>
                  <a:pt x="3152388" y="4335717"/>
                  <a:pt x="3076577" y="4336833"/>
                  <a:pt x="3001887" y="4347752"/>
                </a:cubicBezTo>
                <a:cubicBezTo>
                  <a:pt x="2932216" y="4357340"/>
                  <a:pt x="2861768" y="4360092"/>
                  <a:pt x="2791563" y="4355995"/>
                </a:cubicBezTo>
                <a:cubicBezTo>
                  <a:pt x="2658694" y="4350416"/>
                  <a:pt x="2524678" y="4346991"/>
                  <a:pt x="2391171" y="4351303"/>
                </a:cubicBezTo>
                <a:cubicBezTo>
                  <a:pt x="2185433" y="4357898"/>
                  <a:pt x="1979696" y="4363985"/>
                  <a:pt x="1773830" y="4351303"/>
                </a:cubicBezTo>
                <a:cubicBezTo>
                  <a:pt x="1620961" y="4342172"/>
                  <a:pt x="1468090" y="4341031"/>
                  <a:pt x="1315220" y="4345723"/>
                </a:cubicBezTo>
                <a:cubicBezTo>
                  <a:pt x="1162350" y="4350416"/>
                  <a:pt x="1009480" y="4359927"/>
                  <a:pt x="856610" y="4351303"/>
                </a:cubicBezTo>
                <a:cubicBezTo>
                  <a:pt x="678261" y="4341158"/>
                  <a:pt x="499913" y="4342933"/>
                  <a:pt x="321565" y="4344708"/>
                </a:cubicBezTo>
                <a:cubicBezTo>
                  <a:pt x="235449" y="4345596"/>
                  <a:pt x="149428" y="4348323"/>
                  <a:pt x="63422" y="4349686"/>
                </a:cubicBezTo>
                <a:lnTo>
                  <a:pt x="12951" y="4349060"/>
                </a:lnTo>
                <a:lnTo>
                  <a:pt x="371" y="4107346"/>
                </a:lnTo>
                <a:cubicBezTo>
                  <a:pt x="-757" y="4015610"/>
                  <a:pt x="887" y="3923810"/>
                  <a:pt x="2691" y="3832074"/>
                </a:cubicBezTo>
                <a:cubicBezTo>
                  <a:pt x="5913" y="3674244"/>
                  <a:pt x="16095" y="3516543"/>
                  <a:pt x="20090" y="3358714"/>
                </a:cubicBezTo>
                <a:cubicBezTo>
                  <a:pt x="25761" y="3131266"/>
                  <a:pt x="3336" y="2903945"/>
                  <a:pt x="10940" y="2576618"/>
                </a:cubicBezTo>
                <a:cubicBezTo>
                  <a:pt x="20219" y="2395455"/>
                  <a:pt x="14032" y="2115054"/>
                  <a:pt x="14677" y="1833500"/>
                </a:cubicBezTo>
                <a:cubicBezTo>
                  <a:pt x="15451" y="1643745"/>
                  <a:pt x="5269" y="1454247"/>
                  <a:pt x="6171" y="1264621"/>
                </a:cubicBezTo>
                <a:cubicBezTo>
                  <a:pt x="6815" y="1124998"/>
                  <a:pt x="19961" y="986016"/>
                  <a:pt x="25375" y="846777"/>
                </a:cubicBezTo>
                <a:cubicBezTo>
                  <a:pt x="30078" y="676691"/>
                  <a:pt x="25426" y="506464"/>
                  <a:pt x="11455" y="336877"/>
                </a:cubicBezTo>
                <a:cubicBezTo>
                  <a:pt x="4818" y="243154"/>
                  <a:pt x="5623" y="149366"/>
                  <a:pt x="8088" y="55563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406202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8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E89A7989-90F8-7667-21F4-805C79F2A5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Segurança Rodoviária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6C2D226-3FFF-E426-DA21-E255BA7BC5A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5A18A9-FB90-4F92-9633-9A2FCB4DF4A0}" type="slidenum">
              <a:rPr lang="pt-PT" smtClean="0"/>
              <a:pPr/>
              <a:t>13</a:t>
            </a:fld>
            <a:endParaRPr lang="pt-PT" dirty="0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75DCBE3C-561A-F376-F695-86B91E7E18DB}"/>
              </a:ext>
            </a:extLst>
          </p:cNvPr>
          <p:cNvSpPr txBox="1">
            <a:spLocks/>
          </p:cNvSpPr>
          <p:nvPr/>
        </p:nvSpPr>
        <p:spPr>
          <a:xfrm>
            <a:off x="514315" y="1385310"/>
            <a:ext cx="8499054" cy="447039"/>
          </a:xfrm>
          <a:prstGeom prst="rect">
            <a:avLst/>
          </a:prstGeom>
        </p:spPr>
        <p:txBody>
          <a:bodyPr vert="horz" lIns="0" tIns="0" rIns="0" bIns="0" rtlCol="0">
            <a:normAutofit fontScale="25000" lnSpcReduction="20000"/>
          </a:bodyPr>
          <a:lstStyle>
            <a:lvl1pPr marL="0" indent="0" algn="l" defTabSz="914400" rtl="0" eaLnBrk="1" latinLnBrk="0" hangingPunct="1">
              <a:lnSpc>
                <a:spcPts val="2300"/>
              </a:lnSpc>
              <a:spcBef>
                <a:spcPts val="0"/>
              </a:spcBef>
              <a:buClr>
                <a:srgbClr val="828282"/>
              </a:buClr>
              <a:buSzPct val="70000"/>
              <a:buFont typeface="Arial"/>
              <a:buNone/>
              <a:defRPr sz="1600" b="0" i="0" kern="1200" baseline="0">
                <a:solidFill>
                  <a:srgbClr val="393939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None/>
              <a:defRPr sz="1500" kern="1200" baseline="0">
                <a:solidFill>
                  <a:srgbClr val="393939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354012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828282"/>
              </a:buClr>
              <a:buFont typeface="Calibri" panose="020F0502020204030204" pitchFamily="34" charset="0"/>
              <a:buNone/>
              <a:defRPr sz="1800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93662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828282"/>
              </a:buClr>
              <a:buFont typeface="Calibri" panose="020F0502020204030204" pitchFamily="34" charset="0"/>
              <a:buNone/>
              <a:tabLst>
                <a:tab pos="1703388" algn="l"/>
              </a:tabLst>
              <a:defRPr sz="1600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8271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828282"/>
              </a:buClr>
              <a:buFont typeface="Calibri" panose="020F0502020204030204" pitchFamily="34" charset="0"/>
              <a:buNone/>
              <a:defRPr sz="1400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600" dirty="0">
                <a:solidFill>
                  <a:srgbClr val="C07200"/>
                </a:solidFill>
              </a:rPr>
              <a:t>​</a:t>
            </a:r>
            <a:r>
              <a:rPr lang="pt-PT" sz="9600" dirty="0">
                <a:solidFill>
                  <a:srgbClr val="C07200"/>
                </a:solidFill>
              </a:rPr>
              <a:t>Conclusão</a:t>
            </a:r>
            <a:endParaRPr lang="en-US" sz="2400" dirty="0">
              <a:solidFill>
                <a:srgbClr val="C07200"/>
              </a:solidFill>
            </a:endParaRPr>
          </a:p>
          <a:p>
            <a:r>
              <a:rPr lang="en-US" sz="2400" dirty="0">
                <a:solidFill>
                  <a:srgbClr val="C07200"/>
                </a:solidFill>
              </a:rPr>
              <a:t>​</a:t>
            </a:r>
          </a:p>
          <a:p>
            <a:endParaRPr lang="pt-PT" sz="2400" dirty="0">
              <a:solidFill>
                <a:srgbClr val="C07200"/>
              </a:solidFill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62D73006-93D3-9D80-CEAB-A53D45CEE062}"/>
              </a:ext>
            </a:extLst>
          </p:cNvPr>
          <p:cNvSpPr txBox="1"/>
          <p:nvPr/>
        </p:nvSpPr>
        <p:spPr>
          <a:xfrm>
            <a:off x="8891914" y="2353747"/>
            <a:ext cx="2408095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pt-PT" sz="2000" b="1" dirty="0"/>
              <a:t>Zero Feridos Graves</a:t>
            </a:r>
          </a:p>
          <a:p>
            <a:pPr algn="ctr"/>
            <a:r>
              <a:rPr lang="pt-PT" sz="2000" b="1" dirty="0"/>
              <a:t>Zero Vítimas Mortais</a:t>
            </a:r>
          </a:p>
        </p:txBody>
      </p:sp>
      <p:pic>
        <p:nvPicPr>
          <p:cNvPr id="29" name="Picture 2" descr="Image result for objetivo">
            <a:extLst>
              <a:ext uri="{FF2B5EF4-FFF2-40B4-BE49-F238E27FC236}">
                <a16:creationId xmlns:a16="http://schemas.microsoft.com/office/drawing/2014/main" id="{517EA4F0-0891-2BB6-C77D-4B8422B168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75754" y="3145907"/>
            <a:ext cx="1499408" cy="12120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5B5153CA-D2AD-7222-E611-D94E8B18655D}"/>
              </a:ext>
            </a:extLst>
          </p:cNvPr>
          <p:cNvSpPr txBox="1"/>
          <p:nvPr/>
        </p:nvSpPr>
        <p:spPr>
          <a:xfrm>
            <a:off x="983737" y="3018579"/>
            <a:ext cx="3529235" cy="461665"/>
          </a:xfrm>
          <a:prstGeom prst="rect">
            <a:avLst/>
          </a:prstGeom>
          <a:solidFill>
            <a:srgbClr val="FF9E0E"/>
          </a:solidFill>
          <a:ln>
            <a:solidFill>
              <a:srgbClr val="FF9E0E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PT" sz="2400" b="1" dirty="0">
                <a:solidFill>
                  <a:schemeClr val="bg1"/>
                </a:solidFill>
              </a:rPr>
              <a:t>Exposição ao risco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9E81BA0-904E-07F1-58C6-92209281A08A}"/>
              </a:ext>
            </a:extLst>
          </p:cNvPr>
          <p:cNvSpPr txBox="1"/>
          <p:nvPr/>
        </p:nvSpPr>
        <p:spPr>
          <a:xfrm>
            <a:off x="983737" y="2148715"/>
            <a:ext cx="3529235" cy="461665"/>
          </a:xfrm>
          <a:prstGeom prst="rect">
            <a:avLst/>
          </a:prstGeom>
          <a:solidFill>
            <a:srgbClr val="FF9E0E"/>
          </a:solidFill>
          <a:ln>
            <a:solidFill>
              <a:srgbClr val="FF9E0E"/>
            </a:solidFill>
          </a:ln>
        </p:spPr>
        <p:txBody>
          <a:bodyPr wrap="none" rtlCol="0">
            <a:spAutoFit/>
          </a:bodyPr>
          <a:lstStyle>
            <a:defPPr>
              <a:defRPr lang="pt-PT"/>
            </a:defPPr>
            <a:lvl1pPr>
              <a:defRPr sz="2400" b="1">
                <a:solidFill>
                  <a:schemeClr val="bg1"/>
                </a:solidFill>
              </a:defRPr>
            </a:lvl1pPr>
          </a:lstStyle>
          <a:p>
            <a:pPr algn="ctr"/>
            <a:r>
              <a:rPr lang="pt-PT" dirty="0"/>
              <a:t>Visibilidade na Sinalização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82D0921-014F-E32D-E0BA-B12E473E8810}"/>
              </a:ext>
            </a:extLst>
          </p:cNvPr>
          <p:cNvSpPr txBox="1"/>
          <p:nvPr/>
        </p:nvSpPr>
        <p:spPr>
          <a:xfrm>
            <a:off x="983737" y="3896338"/>
            <a:ext cx="3529235" cy="461665"/>
          </a:xfrm>
          <a:prstGeom prst="rect">
            <a:avLst/>
          </a:prstGeom>
          <a:solidFill>
            <a:srgbClr val="FF9E0E"/>
          </a:solidFill>
          <a:ln>
            <a:solidFill>
              <a:srgbClr val="FF9E0E"/>
            </a:solidFill>
          </a:ln>
        </p:spPr>
        <p:txBody>
          <a:bodyPr wrap="square" rtlCol="0">
            <a:spAutoFit/>
          </a:bodyPr>
          <a:lstStyle>
            <a:defPPr>
              <a:defRPr lang="pt-PT"/>
            </a:defPPr>
            <a:lvl1pPr>
              <a:defRPr sz="2400" b="1">
                <a:solidFill>
                  <a:schemeClr val="bg1"/>
                </a:solidFill>
              </a:defRPr>
            </a:lvl1pPr>
          </a:lstStyle>
          <a:p>
            <a:pPr algn="ctr"/>
            <a:r>
              <a:rPr lang="pt-PT" dirty="0"/>
              <a:t>Gravidade nos acidentes</a:t>
            </a:r>
          </a:p>
        </p:txBody>
      </p:sp>
      <p:sp>
        <p:nvSpPr>
          <p:cNvPr id="33" name="Arrow: Down 32">
            <a:extLst>
              <a:ext uri="{FF2B5EF4-FFF2-40B4-BE49-F238E27FC236}">
                <a16:creationId xmlns:a16="http://schemas.microsoft.com/office/drawing/2014/main" id="{F674355C-9397-5AFF-8880-1968489C08CD}"/>
              </a:ext>
            </a:extLst>
          </p:cNvPr>
          <p:cNvSpPr/>
          <p:nvPr/>
        </p:nvSpPr>
        <p:spPr>
          <a:xfrm rot="10800000">
            <a:off x="514316" y="2148715"/>
            <a:ext cx="376959" cy="461665"/>
          </a:xfrm>
          <a:prstGeom prst="downArrow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34" name="Arrow: Down 33">
            <a:extLst>
              <a:ext uri="{FF2B5EF4-FFF2-40B4-BE49-F238E27FC236}">
                <a16:creationId xmlns:a16="http://schemas.microsoft.com/office/drawing/2014/main" id="{C66B4D6A-FB54-2A36-40F9-D44F5218F816}"/>
              </a:ext>
            </a:extLst>
          </p:cNvPr>
          <p:cNvSpPr/>
          <p:nvPr/>
        </p:nvSpPr>
        <p:spPr>
          <a:xfrm>
            <a:off x="514315" y="3026474"/>
            <a:ext cx="376959" cy="461665"/>
          </a:xfrm>
          <a:prstGeom prst="downArrow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35" name="Arrow: Down 34">
            <a:extLst>
              <a:ext uri="{FF2B5EF4-FFF2-40B4-BE49-F238E27FC236}">
                <a16:creationId xmlns:a16="http://schemas.microsoft.com/office/drawing/2014/main" id="{DC4D7E67-FD9A-9333-D9C7-735F11A9C86F}"/>
              </a:ext>
            </a:extLst>
          </p:cNvPr>
          <p:cNvSpPr/>
          <p:nvPr/>
        </p:nvSpPr>
        <p:spPr>
          <a:xfrm>
            <a:off x="521634" y="3915759"/>
            <a:ext cx="376959" cy="461665"/>
          </a:xfrm>
          <a:prstGeom prst="downArrow">
            <a:avLst/>
          </a:prstGeom>
          <a:solidFill>
            <a:srgbClr val="1B93BE"/>
          </a:solidFill>
          <a:ln>
            <a:solidFill>
              <a:srgbClr val="1B93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dirty="0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E87ECCD2-62B0-6CC9-1DE5-6978EF822BF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4318" y="737786"/>
            <a:ext cx="9899997" cy="510098"/>
          </a:xfrm>
        </p:spPr>
        <p:txBody>
          <a:bodyPr/>
          <a:lstStyle/>
          <a:p>
            <a:r>
              <a:rPr lang="pt-PT" dirty="0"/>
              <a:t>Trabalhos na Estrada - Presente e Futuro | Novos Equipamentos</a:t>
            </a:r>
          </a:p>
        </p:txBody>
      </p:sp>
      <p:pic>
        <p:nvPicPr>
          <p:cNvPr id="3" name="Picture 2" descr="A highway with cars on it&#10;&#10;Description automatically generated with low confidence">
            <a:extLst>
              <a:ext uri="{FF2B5EF4-FFF2-40B4-BE49-F238E27FC236}">
                <a16:creationId xmlns:a16="http://schemas.microsoft.com/office/drawing/2014/main" id="{1B632D84-5C3F-FBF3-1AFA-8119F0A957D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763842" y="1709388"/>
            <a:ext cx="3775624" cy="37633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897438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/>
      <p:bldP spid="14" grpId="0" animBg="1"/>
      <p:bldP spid="15" grpId="0" animBg="1"/>
      <p:bldP spid="16" grpId="0" animBg="1"/>
      <p:bldP spid="33" grpId="0" animBg="1"/>
      <p:bldP spid="34" grpId="0" animBg="1"/>
      <p:bldP spid="35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m 9" descr="Uma imagem com texto, design gráfico, captura de ecrã, logótipo&#10;&#10;Descrição gerada automaticamente">
            <a:extLst>
              <a:ext uri="{FF2B5EF4-FFF2-40B4-BE49-F238E27FC236}">
                <a16:creationId xmlns:a16="http://schemas.microsoft.com/office/drawing/2014/main" id="{A4C14449-D347-A69C-FB9E-DC800AB50D6F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Marcador de Posição do Texto 2">
            <a:extLst>
              <a:ext uri="{FF2B5EF4-FFF2-40B4-BE49-F238E27FC236}">
                <a16:creationId xmlns:a16="http://schemas.microsoft.com/office/drawing/2014/main" id="{DA75E183-BB35-396B-AB94-3D79DE06D45F}"/>
              </a:ext>
            </a:extLst>
          </p:cNvPr>
          <p:cNvSpPr txBox="1">
            <a:spLocks noGrp="1" noChangeArrowheads="1"/>
          </p:cNvSpPr>
          <p:nvPr>
            <p:ph type="body" sz="quarter" idx="1"/>
          </p:nvPr>
        </p:nvSpPr>
        <p:spPr>
          <a:xfrm>
            <a:off x="2090058" y="4540364"/>
            <a:ext cx="2760616" cy="708705"/>
          </a:xfrm>
        </p:spPr>
        <p:txBody>
          <a:bodyPr>
            <a:normAutofit/>
          </a:bodyPr>
          <a:lstStyle/>
          <a:p>
            <a:r>
              <a:rPr lang="pt-PT" sz="3200" dirty="0"/>
              <a:t>Muito obrigada</a:t>
            </a:r>
          </a:p>
          <a:p>
            <a:pPr eaLnBrk="1" hangingPunct="1"/>
            <a:endParaRPr lang="pt-PT" altLang="pt-PT"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EA28D252-111C-3CAC-8145-D2883BA8FF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04258" y="2509156"/>
            <a:ext cx="4291858" cy="18396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Marcador de Posição do Texto 2">
            <a:extLst>
              <a:ext uri="{FF2B5EF4-FFF2-40B4-BE49-F238E27FC236}">
                <a16:creationId xmlns:a16="http://schemas.microsoft.com/office/drawing/2014/main" id="{454BD132-D111-A111-F4FF-5BD26EABE36F}"/>
              </a:ext>
            </a:extLst>
          </p:cNvPr>
          <p:cNvSpPr txBox="1">
            <a:spLocks noChangeArrowheads="1"/>
          </p:cNvSpPr>
          <p:nvPr/>
        </p:nvSpPr>
        <p:spPr>
          <a:xfrm>
            <a:off x="10095598" y="6096450"/>
            <a:ext cx="1499132" cy="412304"/>
          </a:xfrm>
          <a:prstGeom prst="rect">
            <a:avLst/>
          </a:prstGeom>
        </p:spPr>
        <p:txBody>
          <a:bodyPr vert="horz" lIns="0" tIns="0" rIns="0" bIns="0" rtlCol="0">
            <a:normAutofit fontScale="925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Clr>
                <a:srgbClr val="828282"/>
              </a:buClr>
              <a:buFont typeface="Arial" panose="020B0604020202020204" pitchFamily="34" charset="0"/>
              <a:buNone/>
              <a:defRPr sz="2400" b="0" i="0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None/>
              <a:defRPr sz="2200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354012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828282"/>
              </a:buClr>
              <a:buFont typeface="Calibri" panose="020F0502020204030204" pitchFamily="34" charset="0"/>
              <a:buNone/>
              <a:defRPr sz="1800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93662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828282"/>
              </a:buClr>
              <a:buFont typeface="Calibri" panose="020F0502020204030204" pitchFamily="34" charset="0"/>
              <a:buNone/>
              <a:tabLst>
                <a:tab pos="1703388" algn="l"/>
              </a:tabLst>
              <a:defRPr sz="1600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8271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828282"/>
              </a:buClr>
              <a:buFont typeface="Calibri" panose="020F0502020204030204" pitchFamily="34" charset="0"/>
              <a:buNone/>
              <a:defRPr sz="1400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PT" dirty="0"/>
              <a:t>Teresa Santo</a:t>
            </a:r>
          </a:p>
          <a:p>
            <a:endParaRPr lang="pt-PT" altLang="pt-PT" dirty="0"/>
          </a:p>
        </p:txBody>
      </p:sp>
    </p:spTree>
    <p:extLst>
      <p:ext uri="{BB962C8B-B14F-4D97-AF65-F5344CB8AC3E}">
        <p14:creationId xmlns:p14="http://schemas.microsoft.com/office/powerpoint/2010/main" val="2401433316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Uma imagem com texto, captura de ecrã, design gráfico, Gráficos&#10;&#10;Descrição gerada automaticamente">
            <a:extLst>
              <a:ext uri="{FF2B5EF4-FFF2-40B4-BE49-F238E27FC236}">
                <a16:creationId xmlns:a16="http://schemas.microsoft.com/office/drawing/2014/main" id="{A0DB7ADD-D6EC-6D6A-1C5C-661FD210E895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713"/>
            <a:ext cx="12192000" cy="6854573"/>
          </a:xfrm>
          <a:prstGeom prst="rect">
            <a:avLst/>
          </a:prstGeom>
        </p:spPr>
      </p:pic>
      <p:sp>
        <p:nvSpPr>
          <p:cNvPr id="5123" name="Título 1">
            <a:extLst>
              <a:ext uri="{FF2B5EF4-FFF2-40B4-BE49-F238E27FC236}">
                <a16:creationId xmlns:a16="http://schemas.microsoft.com/office/drawing/2014/main" id="{DE4D84D6-0FBB-9CA9-169E-AC70D9B965EC}"/>
              </a:ext>
            </a:extLst>
          </p:cNvPr>
          <p:cNvSpPr txBox="1">
            <a:spLocks noGrp="1" noChangeArrowheads="1"/>
          </p:cNvSpPr>
          <p:nvPr>
            <p:ph type="title"/>
          </p:nvPr>
        </p:nvSpPr>
        <p:spPr>
          <a:xfrm>
            <a:off x="1524000" y="2001838"/>
            <a:ext cx="9144000" cy="1508125"/>
          </a:xfrm>
        </p:spPr>
        <p:txBody>
          <a:bodyPr/>
          <a:lstStyle/>
          <a:p>
            <a:pPr eaLnBrk="1" hangingPunct="1"/>
            <a:r>
              <a:rPr lang="pt-PT" dirty="0"/>
              <a:t>APCAP - Sustentabilidade e Segurança Rodoviária</a:t>
            </a:r>
            <a:endParaRPr lang="pt-PT" altLang="pt-PT" dirty="0"/>
          </a:p>
        </p:txBody>
      </p:sp>
      <p:sp>
        <p:nvSpPr>
          <p:cNvPr id="5124" name="Marcador de Posição do Texto 2">
            <a:extLst>
              <a:ext uri="{FF2B5EF4-FFF2-40B4-BE49-F238E27FC236}">
                <a16:creationId xmlns:a16="http://schemas.microsoft.com/office/drawing/2014/main" id="{8C26D674-CC2D-AD65-F5D2-E18376466E61}"/>
              </a:ext>
            </a:extLst>
          </p:cNvPr>
          <p:cNvSpPr txBox="1">
            <a:spLocks noGrp="1" noChangeArrowheads="1"/>
          </p:cNvSpPr>
          <p:nvPr>
            <p:ph type="body" sz="quarter" idx="1"/>
          </p:nvPr>
        </p:nvSpPr>
        <p:spPr>
          <a:xfrm>
            <a:off x="1524000" y="3602037"/>
            <a:ext cx="9144000" cy="2279217"/>
          </a:xfrm>
        </p:spPr>
        <p:txBody>
          <a:bodyPr>
            <a:normAutofit fontScale="92500" lnSpcReduction="20000"/>
          </a:bodyPr>
          <a:lstStyle/>
          <a:p>
            <a:endParaRPr lang="pt-PT" dirty="0"/>
          </a:p>
          <a:p>
            <a:pPr algn="ctr"/>
            <a:r>
              <a:rPr lang="pt-PT" sz="4300" dirty="0">
                <a:solidFill>
                  <a:schemeClr val="tx1"/>
                </a:solidFill>
              </a:rPr>
              <a:t>Trabalhos na Estrada</a:t>
            </a:r>
          </a:p>
          <a:p>
            <a:pPr algn="ctr"/>
            <a:r>
              <a:rPr lang="pt-PT" sz="4300" dirty="0">
                <a:solidFill>
                  <a:schemeClr val="tx1"/>
                </a:solidFill>
              </a:rPr>
              <a:t>Presente e Futuro, Novos Equipamentos</a:t>
            </a:r>
          </a:p>
          <a:p>
            <a:pPr algn="ctr"/>
            <a:endParaRPr lang="pt-PT" sz="2600" dirty="0"/>
          </a:p>
          <a:p>
            <a:pPr algn="ctr"/>
            <a:endParaRPr lang="pt-PT" sz="2600" dirty="0"/>
          </a:p>
          <a:p>
            <a:pPr algn="ctr"/>
            <a:endParaRPr lang="pt-PT" sz="2600" dirty="0"/>
          </a:p>
          <a:p>
            <a:pPr algn="ctr"/>
            <a:r>
              <a:rPr lang="pt-PT" sz="2600" dirty="0">
                <a:solidFill>
                  <a:schemeClr val="tx1"/>
                </a:solidFill>
              </a:rPr>
              <a:t>Segurança Rodoviária - Inovação e Melhores Práticas</a:t>
            </a:r>
          </a:p>
          <a:p>
            <a:pPr algn="ctr"/>
            <a:endParaRPr lang="pt-PT" dirty="0"/>
          </a:p>
          <a:p>
            <a:endParaRPr lang="pt-PT" dirty="0"/>
          </a:p>
          <a:p>
            <a:endParaRPr lang="pt-PT" dirty="0"/>
          </a:p>
          <a:p>
            <a:pPr eaLnBrk="1" hangingPunct="1"/>
            <a:endParaRPr lang="pt-PT" altLang="pt-PT" dirty="0"/>
          </a:p>
        </p:txBody>
      </p:sp>
    </p:spTree>
    <p:extLst>
      <p:ext uri="{BB962C8B-B14F-4D97-AF65-F5344CB8AC3E}">
        <p14:creationId xmlns:p14="http://schemas.microsoft.com/office/powerpoint/2010/main" val="25115337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machine on the road&#10;&#10;Description automatically generated">
            <a:extLst>
              <a:ext uri="{FF2B5EF4-FFF2-40B4-BE49-F238E27FC236}">
                <a16:creationId xmlns:a16="http://schemas.microsoft.com/office/drawing/2014/main" id="{5B31A5E1-3E88-2E28-F4C9-0A8717C2EE5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1310" y="2152852"/>
            <a:ext cx="2805113" cy="1863914"/>
          </a:xfrm>
          <a:prstGeom prst="rect">
            <a:avLst/>
          </a:prstGeom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E89A7989-90F8-7667-21F4-805C79F2A5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Segurança Rodoviária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6C2D226-3FFF-E426-DA21-E255BA7BC5A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5A18A9-FB90-4F92-9633-9A2FCB4DF4A0}" type="slidenum">
              <a:rPr lang="pt-PT" smtClean="0"/>
              <a:pPr/>
              <a:t>3</a:t>
            </a:fld>
            <a:endParaRPr lang="pt-PT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26C05DC-F5F9-D6FA-8A18-61EAE23E769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4314" y="1385310"/>
            <a:ext cx="4430379" cy="447039"/>
          </a:xfrm>
        </p:spPr>
        <p:txBody>
          <a:bodyPr>
            <a:noAutofit/>
          </a:bodyPr>
          <a:lstStyle/>
          <a:p>
            <a:r>
              <a:rPr lang="pt-PT" sz="2400" dirty="0">
                <a:solidFill>
                  <a:srgbClr val="C07200"/>
                </a:solidFill>
              </a:rPr>
              <a:t>Principais Atividades na Estrada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32567C4-AE03-180F-A9FC-C2CEB5BC9685}"/>
              </a:ext>
            </a:extLst>
          </p:cNvPr>
          <p:cNvSpPr txBox="1"/>
          <p:nvPr/>
        </p:nvSpPr>
        <p:spPr>
          <a:xfrm>
            <a:off x="9799223" y="1675263"/>
            <a:ext cx="967211" cy="464871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 fontAlgn="base">
              <a:lnSpc>
                <a:spcPct val="150000"/>
              </a:lnSpc>
            </a:pPr>
            <a:r>
              <a:rPr lang="pt-PT" b="1" dirty="0">
                <a:solidFill>
                  <a:srgbClr val="000000"/>
                </a:solidFill>
                <a:latin typeface="Calibri" panose="020F0502020204030204" pitchFamily="34" charset="0"/>
              </a:rPr>
              <a:t>Perigo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82CAEB7-8D9C-DFD8-5AA8-3CCED8E52AA8}"/>
              </a:ext>
            </a:extLst>
          </p:cNvPr>
          <p:cNvSpPr txBox="1"/>
          <p:nvPr/>
        </p:nvSpPr>
        <p:spPr>
          <a:xfrm>
            <a:off x="1425566" y="1687981"/>
            <a:ext cx="1436603" cy="464871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 fontAlgn="base">
              <a:lnSpc>
                <a:spcPct val="150000"/>
              </a:lnSpc>
            </a:pPr>
            <a:r>
              <a:rPr lang="pt-PT" b="1" dirty="0">
                <a:solidFill>
                  <a:srgbClr val="000000"/>
                </a:solidFill>
                <a:latin typeface="Calibri" panose="020F0502020204030204" pitchFamily="34" charset="0"/>
              </a:rPr>
              <a:t>Manutenção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36A0D05-0A51-A43D-0733-077E816998F5}"/>
              </a:ext>
            </a:extLst>
          </p:cNvPr>
          <p:cNvSpPr txBox="1"/>
          <p:nvPr/>
        </p:nvSpPr>
        <p:spPr>
          <a:xfrm>
            <a:off x="5269385" y="1675265"/>
            <a:ext cx="1653229" cy="4648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base">
              <a:lnSpc>
                <a:spcPct val="150000"/>
              </a:lnSpc>
            </a:pPr>
            <a:r>
              <a:rPr lang="pt-PT" b="1" dirty="0">
                <a:solidFill>
                  <a:srgbClr val="000000"/>
                </a:solidFill>
                <a:latin typeface="Calibri" panose="020F0502020204030204" pitchFamily="34" charset="0"/>
              </a:rPr>
              <a:t>Zona de Obras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E207B54F-4D7D-7543-389B-5EB6FC7424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4318" y="737786"/>
            <a:ext cx="9899997" cy="510098"/>
          </a:xfrm>
        </p:spPr>
        <p:txBody>
          <a:bodyPr/>
          <a:lstStyle/>
          <a:p>
            <a:r>
              <a:rPr lang="pt-PT" dirty="0"/>
              <a:t>Trabalhos na Estrada - Presente e Futuro | Novos Equipamentos</a:t>
            </a:r>
          </a:p>
          <a:p>
            <a:endParaRPr lang="pt-PT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DD92C28-9244-D4AC-EB9C-27B189F8DE5F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326"/>
          <a:stretch/>
        </p:blipFill>
        <p:spPr>
          <a:xfrm>
            <a:off x="741310" y="4093695"/>
            <a:ext cx="2805113" cy="1863914"/>
          </a:xfrm>
          <a:prstGeom prst="rect">
            <a:avLst/>
          </a:prstGeom>
        </p:spPr>
      </p:pic>
      <p:pic>
        <p:nvPicPr>
          <p:cNvPr id="1026" name="Picture 1">
            <a:extLst>
              <a:ext uri="{FF2B5EF4-FFF2-40B4-BE49-F238E27FC236}">
                <a16:creationId xmlns:a16="http://schemas.microsoft.com/office/drawing/2014/main" id="{F00D0B24-3E7F-6B3E-1BCF-F454717581D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944256" y="2165569"/>
            <a:ext cx="2175618" cy="2368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 descr="A truck with a crane on the side of it&#10;&#10;Description automatically generated">
            <a:extLst>
              <a:ext uri="{FF2B5EF4-FFF2-40B4-BE49-F238E27FC236}">
                <a16:creationId xmlns:a16="http://schemas.microsoft.com/office/drawing/2014/main" id="{0298ED0C-5117-B360-C17D-D4F3FB1C8BD7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98521" y="2165569"/>
            <a:ext cx="2175618" cy="2368332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51DC880-A74F-BD0A-7A59-863C6A414D5C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00373" y="4599823"/>
            <a:ext cx="3596295" cy="1585578"/>
          </a:xfrm>
          <a:prstGeom prst="rect">
            <a:avLst/>
          </a:prstGeom>
        </p:spPr>
      </p:pic>
      <p:pic>
        <p:nvPicPr>
          <p:cNvPr id="3" name="Content Placeholder 6" descr="A picture containing text, road, sky, outdoor&#10;&#10;Description automatically generated">
            <a:extLst>
              <a:ext uri="{FF2B5EF4-FFF2-40B4-BE49-F238E27FC236}">
                <a16:creationId xmlns:a16="http://schemas.microsoft.com/office/drawing/2014/main" id="{19B853AF-1FF9-9055-D9B8-224F5DF6A462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/>
          <a:stretch/>
        </p:blipFill>
        <p:spPr>
          <a:xfrm>
            <a:off x="8560411" y="2152852"/>
            <a:ext cx="3444833" cy="2181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0905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6" grpId="0"/>
      <p:bldP spid="17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E89A7989-90F8-7667-21F4-805C79F2A5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Segurança Rodoviária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6C2D226-3FFF-E426-DA21-E255BA7BC5A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5A18A9-FB90-4F92-9633-9A2FCB4DF4A0}" type="slidenum">
              <a:rPr lang="pt-PT" smtClean="0"/>
              <a:pPr/>
              <a:t>4</a:t>
            </a:fld>
            <a:endParaRPr lang="pt-PT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26C05DC-F5F9-D6FA-8A18-61EAE23E769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4316" y="1388446"/>
            <a:ext cx="8890941" cy="447039"/>
          </a:xfrm>
        </p:spPr>
        <p:txBody>
          <a:bodyPr>
            <a:normAutofit/>
          </a:bodyPr>
          <a:lstStyle/>
          <a:p>
            <a:r>
              <a:rPr lang="pt-PT" sz="2400" dirty="0">
                <a:solidFill>
                  <a:srgbClr val="C07200"/>
                </a:solidFill>
              </a:rPr>
              <a:t>Para as atividades na Estrada, procuramos: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BEBE2F3-28FF-BA5E-5E48-9E910FF7D4C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t-PT" dirty="0"/>
              <a:t>Trabalhos na Estrada - Presente e Futuro | Novos Equipamentos</a:t>
            </a:r>
          </a:p>
          <a:p>
            <a:endParaRPr lang="pt-PT" dirty="0"/>
          </a:p>
        </p:txBody>
      </p:sp>
      <p:sp>
        <p:nvSpPr>
          <p:cNvPr id="23" name="Rectangle 10">
            <a:extLst>
              <a:ext uri="{FF2B5EF4-FFF2-40B4-BE49-F238E27FC236}">
                <a16:creationId xmlns:a16="http://schemas.microsoft.com/office/drawing/2014/main" id="{5D56073F-C6B4-A516-D113-7A58AB291A92}"/>
              </a:ext>
            </a:extLst>
          </p:cNvPr>
          <p:cNvSpPr/>
          <p:nvPr/>
        </p:nvSpPr>
        <p:spPr>
          <a:xfrm>
            <a:off x="514316" y="2227068"/>
            <a:ext cx="6457984" cy="2403863"/>
          </a:xfrm>
          <a:prstGeom prst="rect">
            <a:avLst/>
          </a:prstGeom>
        </p:spPr>
        <p:txBody>
          <a:bodyPr wrap="square" lIns="53982" rIns="55452">
            <a:spAutoFit/>
          </a:bodyPr>
          <a:lstStyle/>
          <a:p>
            <a:pPr marL="285750" lvl="1" indent="-285750" algn="just" fontAlgn="base">
              <a:lnSpc>
                <a:spcPct val="150000"/>
              </a:lnSpc>
              <a:spcAft>
                <a:spcPts val="1800"/>
              </a:spcAft>
              <a:buSzPct val="100000"/>
              <a:buFont typeface="Arial" panose="020B0604020202020204" pitchFamily="34" charset="0"/>
              <a:buChar char="•"/>
            </a:pPr>
            <a:r>
              <a:rPr lang="pt-PT" dirty="0">
                <a:solidFill>
                  <a:srgbClr val="000000"/>
                </a:solidFill>
                <a:latin typeface="Calibri" panose="020F0502020204030204" pitchFamily="34" charset="0"/>
              </a:rPr>
              <a:t>Elevar os padrões de controlo de riscos de segurança e saúde</a:t>
            </a:r>
          </a:p>
          <a:p>
            <a:pPr marL="285750" lvl="1" indent="-285750" algn="just" fontAlgn="base">
              <a:lnSpc>
                <a:spcPct val="150000"/>
              </a:lnSpc>
              <a:spcAft>
                <a:spcPts val="1800"/>
              </a:spcAft>
              <a:buSzPct val="100000"/>
              <a:buFont typeface="Arial" panose="020B0604020202020204" pitchFamily="34" charset="0"/>
              <a:buChar char="•"/>
            </a:pPr>
            <a:r>
              <a:rPr lang="pt-PT" dirty="0">
                <a:solidFill>
                  <a:srgbClr val="000000"/>
                </a:solidFill>
                <a:latin typeface="Calibri" panose="020F0502020204030204" pitchFamily="34" charset="0"/>
              </a:rPr>
              <a:t>Elevar o nível de proteção das obras rodoviárias</a:t>
            </a:r>
            <a:endParaRPr lang="en-US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285750" lvl="1" indent="-285750" algn="just" fontAlgn="base">
              <a:lnSpc>
                <a:spcPct val="150000"/>
              </a:lnSpc>
              <a:spcAft>
                <a:spcPts val="1800"/>
              </a:spcAft>
              <a:buSzPct val="100000"/>
              <a:buFont typeface="Arial" panose="020B0604020202020204" pitchFamily="34" charset="0"/>
              <a:buChar char="•"/>
            </a:pPr>
            <a:r>
              <a:rPr lang="pt-PT" dirty="0">
                <a:solidFill>
                  <a:srgbClr val="000000"/>
                </a:solidFill>
                <a:latin typeface="Calibri" panose="020F0502020204030204" pitchFamily="34" charset="0"/>
              </a:rPr>
              <a:t>Eliminar os atravessamentos</a:t>
            </a:r>
          </a:p>
          <a:p>
            <a:pPr marL="285750" lvl="1" indent="-285750" algn="just" fontAlgn="base">
              <a:lnSpc>
                <a:spcPct val="150000"/>
              </a:lnSpc>
              <a:spcAft>
                <a:spcPts val="1800"/>
              </a:spcAft>
              <a:buSzPct val="100000"/>
              <a:buFont typeface="Arial" panose="020B0604020202020204" pitchFamily="34" charset="0"/>
              <a:buChar char="•"/>
            </a:pPr>
            <a:r>
              <a:rPr lang="pt-PT" dirty="0">
                <a:solidFill>
                  <a:srgbClr val="000000"/>
                </a:solidFill>
                <a:latin typeface="Calibri" panose="020F0502020204030204" pitchFamily="34" charset="0"/>
              </a:rPr>
              <a:t>Zero vítimas mortais e feridos graves</a:t>
            </a:r>
            <a:endParaRPr lang="pt-PT" sz="14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3BDAB55-5B00-D919-CC9A-0AF99B3411D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175864" y="1843343"/>
            <a:ext cx="4501666" cy="44880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355628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E89A7989-90F8-7667-21F4-805C79F2A5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Segurança Rodoviária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6C2D226-3FFF-E426-DA21-E255BA7BC5A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5A18A9-FB90-4F92-9633-9A2FCB4DF4A0}" type="slidenum">
              <a:rPr lang="pt-PT" smtClean="0"/>
              <a:pPr/>
              <a:t>5</a:t>
            </a:fld>
            <a:endParaRPr lang="pt-PT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C444A96-A612-6C60-90A0-66F9289BDC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t-PT" dirty="0"/>
              <a:t>Trabalhos na Estrada - Presente e Futuro | Novos Equipamento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26C05DC-F5F9-D6FA-8A18-61EAE23E769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4314" y="1393847"/>
            <a:ext cx="7532403" cy="447039"/>
          </a:xfrm>
        </p:spPr>
        <p:txBody>
          <a:bodyPr>
            <a:normAutofit/>
          </a:bodyPr>
          <a:lstStyle/>
          <a:p>
            <a:r>
              <a:rPr lang="pt-PT" sz="2400" dirty="0">
                <a:solidFill>
                  <a:srgbClr val="C07200"/>
                </a:solidFill>
              </a:rPr>
              <a:t>Segurança nos Trabalhos na Estrada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32567C4-AE03-180F-A9FC-C2CEB5BC9685}"/>
              </a:ext>
            </a:extLst>
          </p:cNvPr>
          <p:cNvSpPr txBox="1"/>
          <p:nvPr/>
        </p:nvSpPr>
        <p:spPr>
          <a:xfrm>
            <a:off x="514316" y="2055161"/>
            <a:ext cx="6478668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 fontAlgn="base"/>
            <a:r>
              <a:rPr lang="pt-PT" sz="20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Garantir a segurança de </a:t>
            </a:r>
            <a:r>
              <a:rPr lang="pt-PT" sz="2000" b="1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TODOS </a:t>
            </a:r>
            <a:r>
              <a:rPr lang="pt-PT" sz="20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os que circulam e trabalham na estrada enquanto decorrem atividades, através de:</a:t>
            </a:r>
            <a:r>
              <a:rPr lang="en-US" sz="20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​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157E375-7414-3AAB-9DF3-52690902E68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158380" y="1840886"/>
            <a:ext cx="4519149" cy="44905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6B707217-6563-2841-D381-F4110A6BA735}"/>
              </a:ext>
            </a:extLst>
          </p:cNvPr>
          <p:cNvSpPr txBox="1"/>
          <p:nvPr/>
        </p:nvSpPr>
        <p:spPr>
          <a:xfrm>
            <a:off x="597013" y="2999847"/>
            <a:ext cx="647866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l" rtl="0" fontAlgn="base">
              <a:buFont typeface="Arial" panose="020B0604020202020204" pitchFamily="34" charset="0"/>
              <a:buChar char="•"/>
            </a:pPr>
            <a:r>
              <a:rPr lang="pt-PT" dirty="0">
                <a:solidFill>
                  <a:srgbClr val="000000"/>
                </a:solidFill>
                <a:latin typeface="Calibri" panose="020F0502020204030204" pitchFamily="34" charset="0"/>
              </a:rPr>
              <a:t>R</a:t>
            </a:r>
            <a:r>
              <a:rPr lang="pt-PT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eforço de sinalização e visibilidade</a:t>
            </a:r>
            <a:r>
              <a:rPr lang="en-US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​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016BF45-DE57-96B0-BED4-FD0F3897FC91}"/>
              </a:ext>
            </a:extLst>
          </p:cNvPr>
          <p:cNvSpPr txBox="1"/>
          <p:nvPr/>
        </p:nvSpPr>
        <p:spPr>
          <a:xfrm>
            <a:off x="597013" y="3596535"/>
            <a:ext cx="647866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l" rtl="0" fontAlgn="base">
              <a:buFont typeface="Arial" panose="020B0604020202020204" pitchFamily="34" charset="0"/>
              <a:buChar char="•"/>
            </a:pPr>
            <a:r>
              <a:rPr lang="pt-PT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Mitigação da gravidade dos acident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B20AC5F-A1F0-6A09-EECE-8EB0B0FE1C02}"/>
              </a:ext>
            </a:extLst>
          </p:cNvPr>
          <p:cNvSpPr txBox="1"/>
          <p:nvPr/>
        </p:nvSpPr>
        <p:spPr>
          <a:xfrm>
            <a:off x="597013" y="4193223"/>
            <a:ext cx="647866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en-US" sz="1800" b="0" i="0" dirty="0" err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Redução</a:t>
            </a:r>
            <a:r>
              <a:rPr lang="en-US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da </a:t>
            </a:r>
            <a:r>
              <a:rPr lang="en-US" sz="1800" b="0" i="0" dirty="0" err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exposição</a:t>
            </a:r>
            <a:r>
              <a:rPr lang="en-US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en-US" sz="1800" b="0" i="0" dirty="0" err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ao</a:t>
            </a:r>
            <a:r>
              <a:rPr lang="en-US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en-US" sz="1800" b="0" i="0" dirty="0" err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risco</a:t>
            </a:r>
            <a:endParaRPr lang="en-US" sz="1800" b="0" i="0" dirty="0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68522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  <p:bldP spid="9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07F06ACE-332C-38BB-A874-4053BE399993}"/>
              </a:ext>
            </a:extLst>
          </p:cNvPr>
          <p:cNvSpPr txBox="1"/>
          <p:nvPr/>
        </p:nvSpPr>
        <p:spPr>
          <a:xfrm>
            <a:off x="514315" y="2005393"/>
            <a:ext cx="6217411" cy="278473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fontAlgn="base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pt-PT" dirty="0" err="1">
                <a:solidFill>
                  <a:srgbClr val="000000"/>
                </a:solidFill>
                <a:latin typeface="Calibri" panose="020F0502020204030204" pitchFamily="34" charset="0"/>
              </a:rPr>
              <a:t>Benchmark</a:t>
            </a:r>
            <a:r>
              <a:rPr lang="pt-PT" dirty="0">
                <a:solidFill>
                  <a:srgbClr val="000000"/>
                </a:solidFill>
                <a:latin typeface="Calibri" panose="020F0502020204030204" pitchFamily="34" charset="0"/>
              </a:rPr>
              <a:t> das melhores práticas</a:t>
            </a:r>
          </a:p>
          <a:p>
            <a:pPr marL="285750" indent="-285750" fontAlgn="base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pt-PT" dirty="0">
                <a:solidFill>
                  <a:srgbClr val="000000"/>
                </a:solidFill>
                <a:latin typeface="Calibri" panose="020F0502020204030204" pitchFamily="34" charset="0"/>
              </a:rPr>
              <a:t>Revisitar procedimentos</a:t>
            </a:r>
          </a:p>
          <a:p>
            <a:pPr marL="285750" indent="-285750" fontAlgn="base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pt-PT" dirty="0">
                <a:solidFill>
                  <a:srgbClr val="000000"/>
                </a:solidFill>
                <a:latin typeface="Calibri" panose="020F0502020204030204" pitchFamily="34" charset="0"/>
              </a:rPr>
              <a:t>Melhorar a visibilidade da sinalização</a:t>
            </a:r>
          </a:p>
          <a:p>
            <a:pPr marL="285750" indent="-285750" fontAlgn="base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pt-PT" dirty="0">
                <a:solidFill>
                  <a:srgbClr val="000000"/>
                </a:solidFill>
                <a:latin typeface="Calibri" panose="020F0502020204030204" pitchFamily="34" charset="0"/>
              </a:rPr>
              <a:t>Reforçar a proteção com novos equipamentos </a:t>
            </a:r>
          </a:p>
          <a:p>
            <a:pPr marL="285750" indent="-285750" fontAlgn="base">
              <a:lnSpc>
                <a:spcPct val="200000"/>
              </a:lnSpc>
              <a:buFont typeface="Wingdings" panose="05000000000000000000" pitchFamily="2" charset="2"/>
              <a:buChar char="ü"/>
            </a:pPr>
            <a:r>
              <a:rPr lang="pt-PT" dirty="0">
                <a:solidFill>
                  <a:srgbClr val="000000"/>
                </a:solidFill>
                <a:latin typeface="Calibri" panose="020F0502020204030204" pitchFamily="34" charset="0"/>
              </a:rPr>
              <a:t>Desafiar o estado de evolução da técnica / inovação</a:t>
            </a:r>
            <a:endParaRPr lang="pt-PT" dirty="0">
              <a:solidFill>
                <a:srgbClr val="000000"/>
              </a:solidFill>
              <a:highlight>
                <a:srgbClr val="FFFF00"/>
              </a:highlight>
              <a:latin typeface="Calibri" panose="020F050202020403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89A7989-90F8-7667-21F4-805C79F2A5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Segurança Rodoviária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6C2D226-3FFF-E426-DA21-E255BA7BC5A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5A18A9-FB90-4F92-9633-9A2FCB4DF4A0}" type="slidenum">
              <a:rPr lang="pt-PT" smtClean="0"/>
              <a:pPr/>
              <a:t>6</a:t>
            </a:fld>
            <a:endParaRPr lang="pt-PT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26C05DC-F5F9-D6FA-8A18-61EAE23E769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4315" y="1403119"/>
            <a:ext cx="3709342" cy="447039"/>
          </a:xfrm>
        </p:spPr>
        <p:txBody>
          <a:bodyPr>
            <a:normAutofit/>
          </a:bodyPr>
          <a:lstStyle/>
          <a:p>
            <a:r>
              <a:rPr lang="pt-PT" sz="2400" dirty="0">
                <a:solidFill>
                  <a:srgbClr val="C07200"/>
                </a:solidFill>
              </a:rPr>
              <a:t>O que estamos a fazer</a:t>
            </a:r>
            <a:r>
              <a:rPr lang="pt-PT" sz="2200" dirty="0">
                <a:solidFill>
                  <a:srgbClr val="C07200"/>
                </a:solidFill>
              </a:rPr>
              <a:t>?</a:t>
            </a:r>
            <a:endParaRPr lang="pt-PT" sz="2400" dirty="0">
              <a:solidFill>
                <a:srgbClr val="C07200"/>
              </a:solidFill>
            </a:endParaRPr>
          </a:p>
        </p:txBody>
      </p:sp>
      <p:pic>
        <p:nvPicPr>
          <p:cNvPr id="4098" name="Picture 2" descr="Image result for caminho percorrido highway">
            <a:extLst>
              <a:ext uri="{FF2B5EF4-FFF2-40B4-BE49-F238E27FC236}">
                <a16:creationId xmlns:a16="http://schemas.microsoft.com/office/drawing/2014/main" id="{81A33F6B-B0E2-C3AD-91EC-19395A6F3ED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139238" y="3334986"/>
            <a:ext cx="4538291" cy="29964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Content Placeholder 6" descr="A highway at night&#10;&#10;Description automatically generated with low confidence">
            <a:extLst>
              <a:ext uri="{FF2B5EF4-FFF2-40B4-BE49-F238E27FC236}">
                <a16:creationId xmlns:a16="http://schemas.microsoft.com/office/drawing/2014/main" id="{44537C64-C2DB-7015-4B43-453E22D123F6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58379" y="1850158"/>
            <a:ext cx="4519149" cy="4481250"/>
          </a:xfrm>
          <a:prstGeom prst="rect">
            <a:avLst/>
          </a:prstGeom>
        </p:spPr>
      </p:pic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0AEF4D4A-B1C5-DEAB-DD0D-D051D31D1D7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4318" y="737786"/>
            <a:ext cx="9899997" cy="510098"/>
          </a:xfrm>
        </p:spPr>
        <p:txBody>
          <a:bodyPr/>
          <a:lstStyle/>
          <a:p>
            <a:r>
              <a:rPr lang="pt-PT" dirty="0"/>
              <a:t>Trabalhos na Estrada - Presente e Futuro | Novos Equipamentos</a:t>
            </a:r>
          </a:p>
        </p:txBody>
      </p:sp>
    </p:spTree>
    <p:extLst>
      <p:ext uri="{BB962C8B-B14F-4D97-AF65-F5344CB8AC3E}">
        <p14:creationId xmlns:p14="http://schemas.microsoft.com/office/powerpoint/2010/main" val="234734742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E89A7989-90F8-7667-21F4-805C79F2A5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Segurança Rodoviária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6C2D226-3FFF-E426-DA21-E255BA7BC5A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5A18A9-FB90-4F92-9633-9A2FCB4DF4A0}" type="slidenum">
              <a:rPr lang="pt-PT" smtClean="0"/>
              <a:pPr/>
              <a:t>7</a:t>
            </a:fld>
            <a:endParaRPr lang="pt-PT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26C05DC-F5F9-D6FA-8A18-61EAE23E769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4315" y="1385310"/>
            <a:ext cx="8499054" cy="447039"/>
          </a:xfrm>
        </p:spPr>
        <p:txBody>
          <a:bodyPr>
            <a:normAutofit/>
          </a:bodyPr>
          <a:lstStyle/>
          <a:p>
            <a:r>
              <a:rPr lang="pt-PT" sz="2400" dirty="0">
                <a:solidFill>
                  <a:srgbClr val="C07200"/>
                </a:solidFill>
              </a:rPr>
              <a:t>Reforço de sinalização e visibilidade</a:t>
            </a:r>
            <a:r>
              <a:rPr lang="en-US" sz="2400" dirty="0">
                <a:solidFill>
                  <a:srgbClr val="C07200"/>
                </a:solidFill>
              </a:rPr>
              <a:t>​</a:t>
            </a:r>
          </a:p>
          <a:p>
            <a:endParaRPr lang="pt-PT" sz="2400" dirty="0">
              <a:solidFill>
                <a:srgbClr val="C07200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32567C4-AE03-180F-A9FC-C2CEB5BC9685}"/>
              </a:ext>
            </a:extLst>
          </p:cNvPr>
          <p:cNvSpPr txBox="1"/>
          <p:nvPr/>
        </p:nvSpPr>
        <p:spPr>
          <a:xfrm>
            <a:off x="535245" y="1823560"/>
            <a:ext cx="492888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l" rtl="0" fontAlgn="base">
              <a:buFont typeface="Arial" panose="020B0604020202020204" pitchFamily="34" charset="0"/>
              <a:buChar char="•"/>
            </a:pPr>
            <a:r>
              <a:rPr lang="pt-PT" dirty="0">
                <a:solidFill>
                  <a:srgbClr val="000000"/>
                </a:solidFill>
                <a:latin typeface="Calibri" panose="020F0502020204030204" pitchFamily="34" charset="0"/>
              </a:rPr>
              <a:t>Decoração de Viaturas</a:t>
            </a:r>
            <a:endParaRPr lang="en-US" sz="1800" b="0" i="0" dirty="0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DEF651D-89F4-1662-94B4-33A83D8BC97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32561" y="4024837"/>
            <a:ext cx="2418579" cy="1572704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8184B2AB-85FE-E1EB-A109-4BF5AF3CC29C}"/>
              </a:ext>
            </a:extLst>
          </p:cNvPr>
          <p:cNvGrpSpPr/>
          <p:nvPr/>
        </p:nvGrpSpPr>
        <p:grpSpPr>
          <a:xfrm>
            <a:off x="3781893" y="5794535"/>
            <a:ext cx="1682240" cy="459078"/>
            <a:chOff x="9203474" y="5887702"/>
            <a:chExt cx="1682240" cy="459078"/>
          </a:xfrm>
        </p:grpSpPr>
        <p:pic>
          <p:nvPicPr>
            <p:cNvPr id="10" name="Picture 7" descr="Image result for check">
              <a:extLst>
                <a:ext uri="{FF2B5EF4-FFF2-40B4-BE49-F238E27FC236}">
                  <a16:creationId xmlns:a16="http://schemas.microsoft.com/office/drawing/2014/main" id="{958E7B6C-EDB1-6FC2-3D7B-1E20EEFCB7E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203474" y="5887702"/>
              <a:ext cx="358424" cy="45907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C8ED1015-93D7-6C3A-CA54-EF7DA4580CE4}"/>
                </a:ext>
              </a:extLst>
            </p:cNvPr>
            <p:cNvSpPr txBox="1"/>
            <p:nvPr/>
          </p:nvSpPr>
          <p:spPr>
            <a:xfrm>
              <a:off x="9573926" y="5963353"/>
              <a:ext cx="131178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PT" sz="1400" dirty="0"/>
                <a:t>Implementado</a:t>
              </a:r>
            </a:p>
          </p:txBody>
        </p:sp>
      </p:grpSp>
      <p:pic>
        <p:nvPicPr>
          <p:cNvPr id="9" name="Picture 8" descr="A group of cars parked on a road&#10;&#10;Description automatically generated">
            <a:extLst>
              <a:ext uri="{FF2B5EF4-FFF2-40B4-BE49-F238E27FC236}">
                <a16:creationId xmlns:a16="http://schemas.microsoft.com/office/drawing/2014/main" id="{64B6D871-DEE6-3C6F-7F7B-572E18E3FDC0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12953" y="2532024"/>
            <a:ext cx="1486736" cy="1115052"/>
          </a:xfrm>
          <a:prstGeom prst="rect">
            <a:avLst/>
          </a:prstGeom>
        </p:spPr>
      </p:pic>
      <p:pic>
        <p:nvPicPr>
          <p:cNvPr id="14" name="Picture 13" descr="A white van with red and yellow stripes&#10;&#10;Description automatically generated">
            <a:extLst>
              <a:ext uri="{FF2B5EF4-FFF2-40B4-BE49-F238E27FC236}">
                <a16:creationId xmlns:a16="http://schemas.microsoft.com/office/drawing/2014/main" id="{B53C5B76-2FCE-74CD-038C-5D713C3F0A78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46629" y="2550546"/>
            <a:ext cx="1004511" cy="1118197"/>
          </a:xfrm>
          <a:prstGeom prst="rect">
            <a:avLst/>
          </a:prstGeom>
        </p:spPr>
      </p:pic>
      <p:pic>
        <p:nvPicPr>
          <p:cNvPr id="16" name="Picture 15" descr="A white car parked in front of a building&#10;&#10;Description automatically generated">
            <a:extLst>
              <a:ext uri="{FF2B5EF4-FFF2-40B4-BE49-F238E27FC236}">
                <a16:creationId xmlns:a16="http://schemas.microsoft.com/office/drawing/2014/main" id="{16F5FEDF-AE03-4F7E-50F4-7C558C132A19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24906" y="2547343"/>
            <a:ext cx="1150967" cy="1124601"/>
          </a:xfrm>
          <a:prstGeom prst="rect">
            <a:avLst/>
          </a:prstGeom>
        </p:spPr>
      </p:pic>
      <p:pic>
        <p:nvPicPr>
          <p:cNvPr id="18" name="Picture 17" descr="A white car parked on a brick road&#10;&#10;Description automatically generated">
            <a:extLst>
              <a:ext uri="{FF2B5EF4-FFF2-40B4-BE49-F238E27FC236}">
                <a16:creationId xmlns:a16="http://schemas.microsoft.com/office/drawing/2014/main" id="{A7D2C9B7-68F5-1EF0-0914-97EF92F516A2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0857" y="2532024"/>
            <a:ext cx="982578" cy="113104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17DE3B72-0982-E951-7C11-51C1328CE0B0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0857" y="4040832"/>
            <a:ext cx="2393982" cy="1556709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DF581AE9-3FBA-A0EC-13D9-92736A2406CC}"/>
              </a:ext>
            </a:extLst>
          </p:cNvPr>
          <p:cNvSpPr txBox="1"/>
          <p:nvPr/>
        </p:nvSpPr>
        <p:spPr>
          <a:xfrm>
            <a:off x="5869418" y="1823560"/>
            <a:ext cx="661465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l" rtl="0" fontAlgn="base">
              <a:buFont typeface="Arial" panose="020B0604020202020204" pitchFamily="34" charset="0"/>
              <a:buChar char="•"/>
            </a:pPr>
            <a:r>
              <a:rPr lang="pt-PT" dirty="0">
                <a:solidFill>
                  <a:srgbClr val="000000"/>
                </a:solidFill>
                <a:latin typeface="Calibri" panose="020F0502020204030204" pitchFamily="34" charset="0"/>
              </a:rPr>
              <a:t>Kits de sinalização</a:t>
            </a:r>
            <a:endParaRPr lang="en-US" sz="1800" b="0" i="0" dirty="0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FD458E04-BD83-29E0-D44A-908066AA2E98}"/>
              </a:ext>
            </a:extLst>
          </p:cNvPr>
          <p:cNvGrpSpPr/>
          <p:nvPr/>
        </p:nvGrpSpPr>
        <p:grpSpPr>
          <a:xfrm>
            <a:off x="6167485" y="2215564"/>
            <a:ext cx="3512307" cy="1133652"/>
            <a:chOff x="596423" y="2263977"/>
            <a:chExt cx="5766195" cy="1873842"/>
          </a:xfrm>
        </p:grpSpPr>
        <p:pic>
          <p:nvPicPr>
            <p:cNvPr id="17" name="Picture 2">
              <a:extLst>
                <a:ext uri="{FF2B5EF4-FFF2-40B4-BE49-F238E27FC236}">
                  <a16:creationId xmlns:a16="http://schemas.microsoft.com/office/drawing/2014/main" id="{5567F863-0BA6-C8CC-CE0F-D45F3E6492F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6423" y="2487815"/>
              <a:ext cx="1152525" cy="116205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9" name="Picture 3" descr="Cone de Sinalização Polietileno 30cm - 5601006102818-207 | Armazéns Reis">
              <a:extLst>
                <a:ext uri="{FF2B5EF4-FFF2-40B4-BE49-F238E27FC236}">
                  <a16:creationId xmlns:a16="http://schemas.microsoft.com/office/drawing/2014/main" id="{A1247DCD-9333-29B0-5557-50954CDF65D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72579" y="2263977"/>
              <a:ext cx="1609725" cy="160972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" name="Picture 4" descr="MLB246 Mini LED Lightbar">
              <a:extLst>
                <a:ext uri="{FF2B5EF4-FFF2-40B4-BE49-F238E27FC236}">
                  <a16:creationId xmlns:a16="http://schemas.microsoft.com/office/drawing/2014/main" id="{0F3A9858-ED9B-3471-A65A-68600FE93E3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44722" y="2394743"/>
              <a:ext cx="1733550" cy="174307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" name="Picture 5">
              <a:extLst>
                <a:ext uri="{FF2B5EF4-FFF2-40B4-BE49-F238E27FC236}">
                  <a16:creationId xmlns:a16="http://schemas.microsoft.com/office/drawing/2014/main" id="{35DD62CF-2D89-B172-FFB3-8FFF370F299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48168" y="2516498"/>
              <a:ext cx="1314450" cy="131445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22" name="Picture 21" descr="A picture containing light, calculator, indoor, abacus&#10;&#10;Description automatically generated">
            <a:extLst>
              <a:ext uri="{FF2B5EF4-FFF2-40B4-BE49-F238E27FC236}">
                <a16:creationId xmlns:a16="http://schemas.microsoft.com/office/drawing/2014/main" id="{F3B7070A-96F2-B371-7F9C-06F6C0354628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50121" y="4024837"/>
            <a:ext cx="1298445" cy="1572704"/>
          </a:xfrm>
          <a:prstGeom prst="rect">
            <a:avLst/>
          </a:prstGeom>
        </p:spPr>
      </p:pic>
      <p:pic>
        <p:nvPicPr>
          <p:cNvPr id="23" name="Picture 22" descr="A close-up of a vehicle&#10;&#10;Description automatically generated with low confidence">
            <a:extLst>
              <a:ext uri="{FF2B5EF4-FFF2-40B4-BE49-F238E27FC236}">
                <a16:creationId xmlns:a16="http://schemas.microsoft.com/office/drawing/2014/main" id="{053BA2EB-7817-A411-EEBF-059B643E65E3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23106" y="4024837"/>
            <a:ext cx="2688772" cy="1204949"/>
          </a:xfrm>
          <a:prstGeom prst="rect">
            <a:avLst/>
          </a:prstGeom>
        </p:spPr>
      </p:pic>
      <p:grpSp>
        <p:nvGrpSpPr>
          <p:cNvPr id="24" name="Group 23">
            <a:extLst>
              <a:ext uri="{FF2B5EF4-FFF2-40B4-BE49-F238E27FC236}">
                <a16:creationId xmlns:a16="http://schemas.microsoft.com/office/drawing/2014/main" id="{4E1217AC-D349-AB06-F931-DC8658EFB07D}"/>
              </a:ext>
            </a:extLst>
          </p:cNvPr>
          <p:cNvGrpSpPr/>
          <p:nvPr/>
        </p:nvGrpSpPr>
        <p:grpSpPr>
          <a:xfrm>
            <a:off x="9995289" y="5687345"/>
            <a:ext cx="1930473" cy="510097"/>
            <a:chOff x="9927771" y="3671697"/>
            <a:chExt cx="2097738" cy="561281"/>
          </a:xfrm>
        </p:grpSpPr>
        <p:pic>
          <p:nvPicPr>
            <p:cNvPr id="25" name="Picture 4" descr="Image result for testing">
              <a:extLst>
                <a:ext uri="{FF2B5EF4-FFF2-40B4-BE49-F238E27FC236}">
                  <a16:creationId xmlns:a16="http://schemas.microsoft.com/office/drawing/2014/main" id="{5E803C5E-58C9-BBA8-1537-20E65FFDEDE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27771" y="3671697"/>
              <a:ext cx="600779" cy="5612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6F0E5777-7D7A-8BCC-9684-419EF10268BD}"/>
                </a:ext>
              </a:extLst>
            </p:cNvPr>
            <p:cNvSpPr txBox="1"/>
            <p:nvPr/>
          </p:nvSpPr>
          <p:spPr>
            <a:xfrm>
              <a:off x="10574509" y="3789643"/>
              <a:ext cx="1451000" cy="338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PT" sz="1400" dirty="0"/>
                <a:t>Outubro 2023</a:t>
              </a: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89DE8EA2-E018-F263-7A69-34DD86C18948}"/>
              </a:ext>
            </a:extLst>
          </p:cNvPr>
          <p:cNvGrpSpPr/>
          <p:nvPr/>
        </p:nvGrpSpPr>
        <p:grpSpPr>
          <a:xfrm>
            <a:off x="9995289" y="2572772"/>
            <a:ext cx="1682240" cy="459078"/>
            <a:chOff x="9203474" y="5887702"/>
            <a:chExt cx="1682240" cy="459078"/>
          </a:xfrm>
        </p:grpSpPr>
        <p:pic>
          <p:nvPicPr>
            <p:cNvPr id="28" name="Picture 7" descr="Image result for check">
              <a:extLst>
                <a:ext uri="{FF2B5EF4-FFF2-40B4-BE49-F238E27FC236}">
                  <a16:creationId xmlns:a16="http://schemas.microsoft.com/office/drawing/2014/main" id="{D325B1BF-8A57-0A57-5C09-93F95616CAE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203474" y="5887702"/>
              <a:ext cx="358424" cy="45907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8CC0A06E-A570-B8C5-A66C-0D25BF3C23D9}"/>
                </a:ext>
              </a:extLst>
            </p:cNvPr>
            <p:cNvSpPr txBox="1"/>
            <p:nvPr/>
          </p:nvSpPr>
          <p:spPr>
            <a:xfrm>
              <a:off x="9573926" y="5963353"/>
              <a:ext cx="131178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PT" sz="1400" dirty="0"/>
                <a:t>Implementado</a:t>
              </a:r>
            </a:p>
          </p:txBody>
        </p:sp>
      </p:grpSp>
      <p:sp>
        <p:nvSpPr>
          <p:cNvPr id="30" name="TextBox 29">
            <a:extLst>
              <a:ext uri="{FF2B5EF4-FFF2-40B4-BE49-F238E27FC236}">
                <a16:creationId xmlns:a16="http://schemas.microsoft.com/office/drawing/2014/main" id="{FAB95939-1A0B-826D-DA20-70ED0958C066}"/>
              </a:ext>
            </a:extLst>
          </p:cNvPr>
          <p:cNvSpPr txBox="1"/>
          <p:nvPr/>
        </p:nvSpPr>
        <p:spPr>
          <a:xfrm>
            <a:off x="5907021" y="3394525"/>
            <a:ext cx="585907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l" rtl="0" fontAlgn="base">
              <a:buFont typeface="Arial" panose="020B0604020202020204" pitchFamily="34" charset="0"/>
              <a:buChar char="•"/>
            </a:pPr>
            <a:r>
              <a:rPr lang="pt-PT" dirty="0">
                <a:solidFill>
                  <a:srgbClr val="000000"/>
                </a:solidFill>
                <a:latin typeface="Calibri" panose="020F0502020204030204" pitchFamily="34" charset="0"/>
              </a:rPr>
              <a:t>Seta-cruz rebatível com painel PMV</a:t>
            </a:r>
            <a:endParaRPr lang="en-US" sz="1800" b="0" i="0" dirty="0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E3A2169D-8D7A-4F7F-67AE-117495E127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4318" y="737786"/>
            <a:ext cx="9899997" cy="510098"/>
          </a:xfrm>
        </p:spPr>
        <p:txBody>
          <a:bodyPr/>
          <a:lstStyle/>
          <a:p>
            <a:r>
              <a:rPr lang="pt-PT" dirty="0"/>
              <a:t>Trabalhos na Estrada - Presente e Futuro | Novos Equipamentos</a:t>
            </a:r>
          </a:p>
        </p:txBody>
      </p:sp>
    </p:spTree>
    <p:extLst>
      <p:ext uri="{BB962C8B-B14F-4D97-AF65-F5344CB8AC3E}">
        <p14:creationId xmlns:p14="http://schemas.microsoft.com/office/powerpoint/2010/main" val="16667968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2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5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6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1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3" grpId="0"/>
      <p:bldP spid="30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EA7C53DC-DEC6-2CFA-96A7-8B0C8A9E8B18}"/>
              </a:ext>
            </a:extLst>
          </p:cNvPr>
          <p:cNvSpPr txBox="1">
            <a:spLocks/>
          </p:cNvSpPr>
          <p:nvPr/>
        </p:nvSpPr>
        <p:spPr>
          <a:xfrm>
            <a:off x="469987" y="1750409"/>
            <a:ext cx="6676568" cy="447039"/>
          </a:xfrm>
          <a:prstGeom prst="rect">
            <a:avLst/>
          </a:prstGeom>
        </p:spPr>
        <p:txBody>
          <a:bodyPr vert="horz" lIns="0" tIns="0" rIns="0" bIns="0" rtlCol="0">
            <a:normAutofit fontScale="25000" lnSpcReduction="20000"/>
          </a:bodyPr>
          <a:lstStyle>
            <a:lvl1pPr marL="0" indent="0" algn="l" defTabSz="914400" rtl="0" eaLnBrk="1" latinLnBrk="0" hangingPunct="1">
              <a:lnSpc>
                <a:spcPts val="2300"/>
              </a:lnSpc>
              <a:spcBef>
                <a:spcPts val="0"/>
              </a:spcBef>
              <a:buClr>
                <a:srgbClr val="828282"/>
              </a:buClr>
              <a:buSzPct val="70000"/>
              <a:buFont typeface="Arial"/>
              <a:buNone/>
              <a:defRPr sz="1600" b="0" i="0" kern="1200" baseline="0">
                <a:solidFill>
                  <a:srgbClr val="393939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None/>
              <a:defRPr sz="1500" kern="1200" baseline="0">
                <a:solidFill>
                  <a:srgbClr val="393939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354012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828282"/>
              </a:buClr>
              <a:buFont typeface="Calibri" panose="020F0502020204030204" pitchFamily="34" charset="0"/>
              <a:buNone/>
              <a:defRPr sz="1800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93662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828282"/>
              </a:buClr>
              <a:buFont typeface="Calibri" panose="020F0502020204030204" pitchFamily="34" charset="0"/>
              <a:buNone/>
              <a:tabLst>
                <a:tab pos="1703388" algn="l"/>
              </a:tabLst>
              <a:defRPr sz="1600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8271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828282"/>
              </a:buClr>
              <a:buFont typeface="Calibri" panose="020F0502020204030204" pitchFamily="34" charset="0"/>
              <a:buNone/>
              <a:defRPr sz="1400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600" dirty="0">
                <a:solidFill>
                  <a:srgbClr val="C07200"/>
                </a:solidFill>
              </a:rPr>
              <a:t>​</a:t>
            </a:r>
            <a:r>
              <a:rPr lang="pt-PT" sz="7200" b="1" dirty="0">
                <a:solidFill>
                  <a:srgbClr val="000000"/>
                </a:solidFill>
              </a:rPr>
              <a:t>A</a:t>
            </a:r>
            <a:r>
              <a:rPr lang="pt-PT" sz="7200" b="1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tenuadores de choque transportáveis (TMA) </a:t>
            </a:r>
            <a:r>
              <a:rPr lang="pt-PT" sz="72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caraterizam-se como </a:t>
            </a:r>
            <a:r>
              <a:rPr lang="pt-PT" sz="7200" b="0" i="0" u="none" strike="noStrike" dirty="0">
                <a:solidFill>
                  <a:schemeClr val="tx1"/>
                </a:solidFill>
                <a:effectLst/>
                <a:latin typeface="Calibri" panose="020F0502020204030204" pitchFamily="34" charset="0"/>
              </a:rPr>
              <a:t>p</a:t>
            </a:r>
            <a:r>
              <a:rPr lang="pt-PT" sz="7200" dirty="0">
                <a:solidFill>
                  <a:schemeClr val="tx1"/>
                </a:solidFill>
              </a:rPr>
              <a:t>roteção complementar de segurança.</a:t>
            </a:r>
            <a:endParaRPr lang="en-US" sz="2400" dirty="0">
              <a:solidFill>
                <a:schemeClr val="tx1"/>
              </a:solidFill>
            </a:endParaRPr>
          </a:p>
          <a:p>
            <a:r>
              <a:rPr lang="en-US" sz="2400" dirty="0">
                <a:solidFill>
                  <a:srgbClr val="C07200"/>
                </a:solidFill>
              </a:rPr>
              <a:t>​</a:t>
            </a:r>
          </a:p>
          <a:p>
            <a:endParaRPr lang="pt-PT" sz="2400" dirty="0">
              <a:solidFill>
                <a:srgbClr val="C07200"/>
              </a:solidFill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89A7989-90F8-7667-21F4-805C79F2A5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Segurança Rodoviária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6C2D226-3FFF-E426-DA21-E255BA7BC5A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5A18A9-FB90-4F92-9633-9A2FCB4DF4A0}" type="slidenum">
              <a:rPr lang="pt-PT" smtClean="0"/>
              <a:pPr/>
              <a:t>8</a:t>
            </a:fld>
            <a:endParaRPr lang="pt-PT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55357C0-4C4E-0A0F-DCB8-9E22F28D9CF2}"/>
              </a:ext>
            </a:extLst>
          </p:cNvPr>
          <p:cNvSpPr txBox="1"/>
          <p:nvPr/>
        </p:nvSpPr>
        <p:spPr>
          <a:xfrm>
            <a:off x="1181743" y="4987430"/>
            <a:ext cx="491425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PT" sz="1800" b="1" i="1" u="none" strike="noStrike" dirty="0">
                <a:solidFill>
                  <a:srgbClr val="006531"/>
                </a:solidFill>
                <a:effectLst/>
                <a:latin typeface="Calibri" panose="020F0502020204030204" pitchFamily="34" charset="0"/>
              </a:rPr>
              <a:t>“TMA </a:t>
            </a:r>
            <a:r>
              <a:rPr lang="en-US" sz="1800" b="1" i="1" u="none" strike="noStrike" dirty="0">
                <a:solidFill>
                  <a:srgbClr val="006531"/>
                </a:solidFill>
                <a:effectLst/>
                <a:latin typeface="Calibri" panose="020F0502020204030204" pitchFamily="34" charset="0"/>
              </a:rPr>
              <a:t>is designed to save lives in your work zone”</a:t>
            </a:r>
            <a:endParaRPr lang="pt-PT" dirty="0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75DCBE3C-561A-F376-F695-86B91E7E18DB}"/>
              </a:ext>
            </a:extLst>
          </p:cNvPr>
          <p:cNvSpPr txBox="1">
            <a:spLocks/>
          </p:cNvSpPr>
          <p:nvPr/>
        </p:nvSpPr>
        <p:spPr>
          <a:xfrm>
            <a:off x="514315" y="1385310"/>
            <a:ext cx="8499054" cy="447039"/>
          </a:xfrm>
          <a:prstGeom prst="rect">
            <a:avLst/>
          </a:prstGeom>
        </p:spPr>
        <p:txBody>
          <a:bodyPr vert="horz" lIns="0" tIns="0" rIns="0" bIns="0" rtlCol="0">
            <a:normAutofit fontScale="25000" lnSpcReduction="20000"/>
          </a:bodyPr>
          <a:lstStyle>
            <a:lvl1pPr marL="0" indent="0" algn="l" defTabSz="914400" rtl="0" eaLnBrk="1" latinLnBrk="0" hangingPunct="1">
              <a:lnSpc>
                <a:spcPts val="2300"/>
              </a:lnSpc>
              <a:spcBef>
                <a:spcPts val="0"/>
              </a:spcBef>
              <a:buClr>
                <a:srgbClr val="828282"/>
              </a:buClr>
              <a:buSzPct val="70000"/>
              <a:buFont typeface="Arial"/>
              <a:buNone/>
              <a:defRPr sz="1600" b="0" i="0" kern="1200" baseline="0">
                <a:solidFill>
                  <a:srgbClr val="393939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None/>
              <a:defRPr sz="1500" kern="1200" baseline="0">
                <a:solidFill>
                  <a:srgbClr val="393939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354012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828282"/>
              </a:buClr>
              <a:buFont typeface="Calibri" panose="020F0502020204030204" pitchFamily="34" charset="0"/>
              <a:buNone/>
              <a:defRPr sz="1800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93662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828282"/>
              </a:buClr>
              <a:buFont typeface="Calibri" panose="020F0502020204030204" pitchFamily="34" charset="0"/>
              <a:buNone/>
              <a:tabLst>
                <a:tab pos="1703388" algn="l"/>
              </a:tabLst>
              <a:defRPr sz="1600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8271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828282"/>
              </a:buClr>
              <a:buFont typeface="Calibri" panose="020F0502020204030204" pitchFamily="34" charset="0"/>
              <a:buNone/>
              <a:defRPr sz="1400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600" dirty="0">
                <a:solidFill>
                  <a:srgbClr val="C07200"/>
                </a:solidFill>
              </a:rPr>
              <a:t>​</a:t>
            </a:r>
            <a:r>
              <a:rPr lang="pt-PT" sz="9600" dirty="0">
                <a:solidFill>
                  <a:srgbClr val="C07200"/>
                </a:solidFill>
              </a:rPr>
              <a:t>Mitigação da gravidade dos acidentes</a:t>
            </a:r>
            <a:endParaRPr lang="en-US" sz="2400" dirty="0">
              <a:solidFill>
                <a:srgbClr val="C07200"/>
              </a:solidFill>
            </a:endParaRPr>
          </a:p>
          <a:p>
            <a:r>
              <a:rPr lang="en-US" sz="2400" dirty="0">
                <a:solidFill>
                  <a:srgbClr val="C07200"/>
                </a:solidFill>
              </a:rPr>
              <a:t>​</a:t>
            </a:r>
          </a:p>
          <a:p>
            <a:endParaRPr lang="pt-PT" sz="2400" dirty="0">
              <a:solidFill>
                <a:srgbClr val="C07200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EEA4D59-E248-400A-49D4-418BF8F55C2A}"/>
              </a:ext>
            </a:extLst>
          </p:cNvPr>
          <p:cNvSpPr txBox="1"/>
          <p:nvPr/>
        </p:nvSpPr>
        <p:spPr>
          <a:xfrm>
            <a:off x="481810" y="2472755"/>
            <a:ext cx="667656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 fontAlgn="base"/>
            <a:r>
              <a:rPr lang="pt-PT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Os objetivos da utilização de TMA, nos trabalhos móveis e fixos, são:</a:t>
            </a:r>
            <a:r>
              <a:rPr lang="en-US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​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9C84EE6-21AD-9127-BE59-E1758984F360}"/>
              </a:ext>
            </a:extLst>
          </p:cNvPr>
          <p:cNvGrpSpPr/>
          <p:nvPr/>
        </p:nvGrpSpPr>
        <p:grpSpPr>
          <a:xfrm>
            <a:off x="5464316" y="5881504"/>
            <a:ext cx="1682240" cy="459078"/>
            <a:chOff x="9203474" y="5887702"/>
            <a:chExt cx="1682240" cy="459078"/>
          </a:xfrm>
        </p:grpSpPr>
        <p:pic>
          <p:nvPicPr>
            <p:cNvPr id="7" name="Picture 7" descr="Image result for check">
              <a:extLst>
                <a:ext uri="{FF2B5EF4-FFF2-40B4-BE49-F238E27FC236}">
                  <a16:creationId xmlns:a16="http://schemas.microsoft.com/office/drawing/2014/main" id="{01BB2ECB-4529-BA2F-A699-9B629B5DD70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203474" y="5887702"/>
              <a:ext cx="358424" cy="45907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D58303D4-257E-0F02-7C19-04C607257996}"/>
                </a:ext>
              </a:extLst>
            </p:cNvPr>
            <p:cNvSpPr txBox="1"/>
            <p:nvPr/>
          </p:nvSpPr>
          <p:spPr>
            <a:xfrm>
              <a:off x="9573926" y="5963353"/>
              <a:ext cx="131178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PT" sz="1400" dirty="0"/>
                <a:t>Implementado</a:t>
              </a: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8AA62937-6280-F060-4719-B7F881524DBB}"/>
              </a:ext>
            </a:extLst>
          </p:cNvPr>
          <p:cNvSpPr txBox="1"/>
          <p:nvPr/>
        </p:nvSpPr>
        <p:spPr>
          <a:xfrm>
            <a:off x="469986" y="3597542"/>
            <a:ext cx="667656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l" rtl="0" fontAlgn="base">
              <a:buFont typeface="Arial" panose="020B0604020202020204" pitchFamily="34" charset="0"/>
              <a:buChar char="•"/>
            </a:pPr>
            <a:r>
              <a:rPr lang="pt-PT" dirty="0">
                <a:solidFill>
                  <a:srgbClr val="000000"/>
                </a:solidFill>
                <a:latin typeface="Calibri" panose="020F0502020204030204" pitchFamily="34" charset="0"/>
              </a:rPr>
              <a:t>A</a:t>
            </a:r>
            <a:r>
              <a:rPr lang="pt-PT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tenuar as consequências em caso de colisão</a:t>
            </a:r>
            <a:endParaRPr lang="en-US" sz="1600" b="0" i="0" dirty="0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697A149-5B34-C9E3-0EC8-1F402AB1F164}"/>
              </a:ext>
            </a:extLst>
          </p:cNvPr>
          <p:cNvSpPr txBox="1"/>
          <p:nvPr/>
        </p:nvSpPr>
        <p:spPr>
          <a:xfrm>
            <a:off x="469986" y="3059668"/>
            <a:ext cx="667656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pt-PT" dirty="0">
                <a:solidFill>
                  <a:srgbClr val="000000"/>
                </a:solidFill>
                <a:latin typeface="Calibri" panose="020F0502020204030204" pitchFamily="34" charset="0"/>
              </a:rPr>
              <a:t>A</a:t>
            </a:r>
            <a:r>
              <a:rPr lang="pt-PT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umentar o nível de visibilidade dos trabalho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F3F289D-2AAD-FCCC-A6F3-EC9B38418D1B}"/>
              </a:ext>
            </a:extLst>
          </p:cNvPr>
          <p:cNvSpPr txBox="1"/>
          <p:nvPr/>
        </p:nvSpPr>
        <p:spPr>
          <a:xfrm>
            <a:off x="514315" y="4093357"/>
            <a:ext cx="667656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l" rtl="0" fontAlgn="base">
              <a:buFont typeface="Arial" panose="020B0604020202020204" pitchFamily="34" charset="0"/>
              <a:buChar char="•"/>
            </a:pPr>
            <a:r>
              <a:rPr lang="pt-PT" dirty="0">
                <a:solidFill>
                  <a:srgbClr val="000000"/>
                </a:solidFill>
                <a:latin typeface="Calibri" panose="020F0502020204030204" pitchFamily="34" charset="0"/>
              </a:rPr>
              <a:t>A</a:t>
            </a:r>
            <a:r>
              <a:rPr lang="pt-PT" sz="18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umentar a proteção da equipa de trabalho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E2B46DA0-8461-45D1-86F6-DF5B0A8F67A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4318" y="737786"/>
            <a:ext cx="9899997" cy="510098"/>
          </a:xfrm>
        </p:spPr>
        <p:txBody>
          <a:bodyPr/>
          <a:lstStyle/>
          <a:p>
            <a:r>
              <a:rPr lang="pt-PT" dirty="0"/>
              <a:t>Trabalhos na Estrada - Presente e Futuro | Novos Equipamentos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466C5C0E-E493-4DDB-3705-0ABE1D344D2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02911" y="1867670"/>
            <a:ext cx="4520341" cy="44905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65645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3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8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9" grpId="0"/>
      <p:bldP spid="3" grpId="0"/>
      <p:bldP spid="4" grpId="0"/>
      <p:bldP spid="11" grpId="0"/>
      <p:bldP spid="15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 descr="Uma imagem com ar livre, árvore, roda, Veículo terrestre&#10;&#10;Descrição gerada automaticamente">
            <a:extLst>
              <a:ext uri="{FF2B5EF4-FFF2-40B4-BE49-F238E27FC236}">
                <a16:creationId xmlns:a16="http://schemas.microsoft.com/office/drawing/2014/main" id="{38AA85A1-EE42-61DE-FAEC-F5EC2AC0C52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158378" y="1850159"/>
            <a:ext cx="4519150" cy="44904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2C8E8CCC-5F12-113B-3968-207C2DE9A96E}"/>
              </a:ext>
            </a:extLst>
          </p:cNvPr>
          <p:cNvSpPr txBox="1"/>
          <p:nvPr/>
        </p:nvSpPr>
        <p:spPr>
          <a:xfrm>
            <a:off x="469989" y="2298945"/>
            <a:ext cx="580889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 fontAlgn="base"/>
            <a:r>
              <a:rPr lang="pt-PT" b="1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Data de entrada em operação</a:t>
            </a:r>
            <a:endParaRPr lang="pt-PT" b="0" i="0" u="none" strike="noStrike" dirty="0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  <a:p>
            <a:pPr algn="l" rtl="0" fontAlgn="base"/>
            <a:r>
              <a:rPr lang="pt-PT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Dezembro 2021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89A7989-90F8-7667-21F4-805C79F2A5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PT" dirty="0"/>
              <a:t>Segurança Rodoviária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6C2D226-3FFF-E426-DA21-E255BA7BC5A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5A18A9-FB90-4F92-9633-9A2FCB4DF4A0}" type="slidenum">
              <a:rPr lang="pt-PT" smtClean="0"/>
              <a:pPr/>
              <a:t>9</a:t>
            </a:fld>
            <a:endParaRPr lang="pt-PT" dirty="0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75DCBE3C-561A-F376-F695-86B91E7E18DB}"/>
              </a:ext>
            </a:extLst>
          </p:cNvPr>
          <p:cNvSpPr txBox="1">
            <a:spLocks/>
          </p:cNvSpPr>
          <p:nvPr/>
        </p:nvSpPr>
        <p:spPr>
          <a:xfrm>
            <a:off x="514315" y="1385310"/>
            <a:ext cx="8499054" cy="447039"/>
          </a:xfrm>
          <a:prstGeom prst="rect">
            <a:avLst/>
          </a:prstGeom>
        </p:spPr>
        <p:txBody>
          <a:bodyPr vert="horz" lIns="0" tIns="0" rIns="0" bIns="0" rtlCol="0">
            <a:normAutofit fontScale="25000" lnSpcReduction="20000"/>
          </a:bodyPr>
          <a:lstStyle>
            <a:lvl1pPr marL="0" indent="0" algn="l" defTabSz="914400" rtl="0" eaLnBrk="1" latinLnBrk="0" hangingPunct="1">
              <a:lnSpc>
                <a:spcPts val="2300"/>
              </a:lnSpc>
              <a:spcBef>
                <a:spcPts val="0"/>
              </a:spcBef>
              <a:buClr>
                <a:srgbClr val="828282"/>
              </a:buClr>
              <a:buSzPct val="70000"/>
              <a:buFont typeface="Arial"/>
              <a:buNone/>
              <a:defRPr sz="1600" b="0" i="0" kern="1200" baseline="0">
                <a:solidFill>
                  <a:srgbClr val="393939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None/>
              <a:defRPr sz="1500" kern="1200" baseline="0">
                <a:solidFill>
                  <a:srgbClr val="393939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354012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828282"/>
              </a:buClr>
              <a:buFont typeface="Calibri" panose="020F0502020204030204" pitchFamily="34" charset="0"/>
              <a:buNone/>
              <a:defRPr sz="1800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93662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828282"/>
              </a:buClr>
              <a:buFont typeface="Calibri" panose="020F0502020204030204" pitchFamily="34" charset="0"/>
              <a:buNone/>
              <a:tabLst>
                <a:tab pos="1703388" algn="l"/>
              </a:tabLst>
              <a:defRPr sz="1600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8271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828282"/>
              </a:buClr>
              <a:buFont typeface="Calibri" panose="020F0502020204030204" pitchFamily="34" charset="0"/>
              <a:buNone/>
              <a:defRPr sz="1400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600" dirty="0">
                <a:solidFill>
                  <a:srgbClr val="C07200"/>
                </a:solidFill>
              </a:rPr>
              <a:t>​</a:t>
            </a:r>
            <a:r>
              <a:rPr lang="pt-PT" sz="9600" dirty="0">
                <a:solidFill>
                  <a:srgbClr val="C07200"/>
                </a:solidFill>
              </a:rPr>
              <a:t>Mitigação da gravidade dos acidentes</a:t>
            </a:r>
            <a:endParaRPr lang="en-US" sz="2400" dirty="0">
              <a:solidFill>
                <a:srgbClr val="C07200"/>
              </a:solidFill>
            </a:endParaRPr>
          </a:p>
          <a:p>
            <a:r>
              <a:rPr lang="en-US" sz="2400" dirty="0">
                <a:solidFill>
                  <a:srgbClr val="C07200"/>
                </a:solidFill>
              </a:rPr>
              <a:t>​</a:t>
            </a:r>
          </a:p>
          <a:p>
            <a:endParaRPr lang="pt-PT" sz="2400" dirty="0">
              <a:solidFill>
                <a:srgbClr val="C07200"/>
              </a:solidFill>
            </a:endParaRP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D75CAD92-04C9-05FB-EED8-28D56B62337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4318" y="737786"/>
            <a:ext cx="9899997" cy="510098"/>
          </a:xfrm>
        </p:spPr>
        <p:txBody>
          <a:bodyPr/>
          <a:lstStyle/>
          <a:p>
            <a:r>
              <a:rPr lang="pt-PT" dirty="0"/>
              <a:t>Trabalhos na Estrada - Presente e Futuro | Novos Equipamento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0F03A02-B46B-D3AF-30FB-A3135392F9C9}"/>
              </a:ext>
            </a:extLst>
          </p:cNvPr>
          <p:cNvSpPr txBox="1"/>
          <p:nvPr/>
        </p:nvSpPr>
        <p:spPr>
          <a:xfrm>
            <a:off x="514315" y="3411873"/>
            <a:ext cx="5808892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base"/>
            <a:r>
              <a:rPr lang="pt-PT" b="1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Número de TMA</a:t>
            </a:r>
            <a:endParaRPr lang="pt-PT" b="0" i="0" dirty="0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  <a:p>
            <a:pPr fontAlgn="base"/>
            <a:r>
              <a:rPr lang="pt-PT" dirty="0">
                <a:solidFill>
                  <a:srgbClr val="000000"/>
                </a:solidFill>
                <a:latin typeface="Calibri" panose="020F0502020204030204" pitchFamily="34" charset="0"/>
              </a:rPr>
              <a:t>15 TMA em operação  </a:t>
            </a:r>
          </a:p>
          <a:p>
            <a:pPr fontAlgn="base"/>
            <a:r>
              <a:rPr lang="pt-PT" dirty="0">
                <a:solidFill>
                  <a:srgbClr val="000000"/>
                </a:solidFill>
                <a:latin typeface="Calibri" panose="020F0502020204030204" pitchFamily="34" charset="0"/>
              </a:rPr>
              <a:t>5 TMA aguardam averbamento pelo IM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157D009-8A43-5D46-5033-E55F5E4FC508}"/>
              </a:ext>
            </a:extLst>
          </p:cNvPr>
          <p:cNvSpPr txBox="1"/>
          <p:nvPr/>
        </p:nvSpPr>
        <p:spPr>
          <a:xfrm>
            <a:off x="469989" y="4801800"/>
            <a:ext cx="580889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 fontAlgn="base"/>
            <a:r>
              <a:rPr lang="en-US" b="1" i="0" dirty="0" err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Número</a:t>
            </a:r>
            <a:r>
              <a:rPr lang="en-US" b="1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de horas de TMA</a:t>
            </a:r>
            <a:endParaRPr lang="en-US" b="0" i="0" dirty="0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  <a:p>
            <a:pPr algn="l" rtl="0" fontAlgn="base"/>
            <a:r>
              <a:rPr lang="en-US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10 mil horas</a:t>
            </a:r>
          </a:p>
        </p:txBody>
      </p:sp>
    </p:spTree>
    <p:extLst>
      <p:ext uri="{BB962C8B-B14F-4D97-AF65-F5344CB8AC3E}">
        <p14:creationId xmlns:p14="http://schemas.microsoft.com/office/powerpoint/2010/main" val="4720283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3" grpId="0"/>
      <p:bldP spid="5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71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3&quot;&gt;&lt;elem m_fUsage=&quot;4.98298864502551630551E+00&quot;&gt;&lt;m_msothmcolidx val=&quot;0&quot;/&gt;&lt;m_rgb r=&quot;1B&quot; g=&quot;93&quot; b=&quot;BE&quot;/&gt;&lt;/elem&gt;&lt;elem m_fUsage=&quot;3.73670463519000017882E+00&quot;&gt;&lt;m_msothmcolidx val=&quot;0&quot;/&gt;&lt;m_rgb r=&quot;FA&quot; g=&quot;07&quot; b=&quot;01&quot;/&gt;&lt;/elem&gt;&lt;elem m_fUsage=&quot;9.71275175958159153744E-01&quot;&gt;&lt;m_msothmcolidx val=&quot;0&quot;/&gt;&lt;m_rgb r=&quot;FF&quot; g=&quot;25&quot; b=&quot;0D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  <p:tag name="FILLLINECOLOR1" val="12489499"/>
  <p:tag name="FILLLINECOLOR2" val="16313548"/>
  <p:tag name="FILLLINECOLOR3" val="15784344"/>
  <p:tag name="FILLLINECOLOR4" val="15320677"/>
  <p:tag name="FILLLINECOLOR5" val="9334292"/>
  <p:tag name="FILLLINECOLOR6" val="6244878"/>
  <p:tag name="FILLLINECOLOR7" val="573355"/>
  <p:tag name="FILLLINECOLOR8" val="12844278"/>
  <p:tag name="FILLLINECOLOR9" val="8977133"/>
  <p:tag name="FILLLINECOLOR10" val="5044197"/>
  <p:tag name="FILLLINECOLOR11" val="429952"/>
  <p:tag name="FILLLINECOLOR12" val="286806"/>
  <p:tag name="FILLLINECOLOR13" val="15921906"/>
  <p:tag name="FILLLINECOLOR14" val="15198183"/>
  <p:tag name="FILLLINECOLOR15" val="13684944"/>
  <p:tag name="FILLLINECOLOR16" val="11382189"/>
  <p:tag name="FILLLINECOLOR17" val="7631988"/>
  <p:tag name="FILLLINECOLOR18" val="3815994"/>
  <p:tag name="FILLLINECOLOR19" val="0"/>
  <p:tag name="FILLLINECOLOR20" val="16777215"/>
  <p:tag name="FILLLINECOLOR22" val="65535"/>
  <p:tag name="FILLLINECOLOR23" val="49407"/>
  <p:tag name="FILLLINECOLOR24" val="255"/>
  <p:tag name="FONTCOLORNUMBER1" val="1"/>
  <p:tag name="FONTCOLORNUMBER2" val="7"/>
  <p:tag name="FONTCOLORNUMBER3" val="15"/>
  <p:tag name="FONTCOLORNUMBER4" val="17"/>
  <p:tag name="FONTCOLORNUMBER5" val="19"/>
  <p:tag name="FONTCOLORNUMBER6" val="20"/>
  <p:tag name="FONTCOLOR1" val="12489499"/>
  <p:tag name="FONTCOLOR2" val="573355"/>
  <p:tag name="FONTCOLOR3" val="13684944"/>
  <p:tag name="FONTCOLOR4" val="7631988"/>
  <p:tag name="FONTCOLOR5" val="0"/>
  <p:tag name="FONTCOLOR6" val="1677721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risa 2021">
  <a:themeElements>
    <a:clrScheme name="Brisa 2021">
      <a:dk1>
        <a:srgbClr val="000000"/>
      </a:dk1>
      <a:lt1>
        <a:srgbClr val="FFFFFF"/>
      </a:lt1>
      <a:dk2>
        <a:srgbClr val="E7E7E7"/>
      </a:dk2>
      <a:lt2>
        <a:srgbClr val="1B93BE"/>
      </a:lt2>
      <a:accent1>
        <a:srgbClr val="ABBF08"/>
      </a:accent1>
      <a:accent2>
        <a:srgbClr val="777777"/>
      </a:accent2>
      <a:accent3>
        <a:srgbClr val="A5A5A5"/>
      </a:accent3>
      <a:accent4>
        <a:srgbClr val="888888"/>
      </a:accent4>
      <a:accent5>
        <a:srgbClr val="5F5F5F"/>
      </a:accent5>
      <a:accent6>
        <a:srgbClr val="87A7AF"/>
      </a:accent6>
      <a:hlink>
        <a:srgbClr val="1B93BE"/>
      </a:hlink>
      <a:folHlink>
        <a:srgbClr val="333333"/>
      </a:folHlink>
    </a:clrScheme>
    <a:fontScheme name="Brisa2021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risa_Manual._Templates_PT" id="{667C2CF7-BB4C-4CD9-B641-3D9A2C36336A}" vid="{5C8E7CE9-1414-451E-B4A6-BE5166ADC7B4}"/>
    </a:ext>
  </a:ext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5A3AAB7795C3F4DBA7D4468670A4CDD" ma:contentTypeVersion="3" ma:contentTypeDescription="Create a new document." ma:contentTypeScope="" ma:versionID="d1a400843cfd687553b8f05ed760fb26">
  <xsd:schema xmlns:xsd="http://www.w3.org/2001/XMLSchema" xmlns:xs="http://www.w3.org/2001/XMLSchema" xmlns:p="http://schemas.microsoft.com/office/2006/metadata/properties" xmlns:ns2="48c142cf-f7a8-4a97-b30c-01bef2fd771a" targetNamespace="http://schemas.microsoft.com/office/2006/metadata/properties" ma:root="true" ma:fieldsID="020d56b66fb526e3d87e2d687249e376" ns2:_="">
    <xsd:import namespace="48c142cf-f7a8-4a97-b30c-01bef2fd771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c142cf-f7a8-4a97-b30c-01bef2fd77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33D4E1AA-2273-440D-9194-5591271DA9D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8c142cf-f7a8-4a97-b30c-01bef2fd77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3FC42862-08F2-46E9-A0A1-860047F83EC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3F534E7-FCDC-43A2-BD6C-4BFA89F09BEB}">
  <ds:schemaRefs>
    <ds:schemaRef ds:uri="http://purl.org/dc/elements/1.1/"/>
    <ds:schemaRef ds:uri="http://schemas.microsoft.com/office/2006/documentManagement/types"/>
    <ds:schemaRef ds:uri="http://www.w3.org/XML/1998/namespace"/>
    <ds:schemaRef ds:uri="http://schemas.microsoft.com/office/2006/metadata/properties"/>
    <ds:schemaRef ds:uri="48c142cf-f7a8-4a97-b30c-01bef2fd771a"/>
    <ds:schemaRef ds:uri="http://schemas.microsoft.com/office/infopath/2007/PartnerControls"/>
    <ds:schemaRef ds:uri="http://schemas.openxmlformats.org/package/2006/metadata/core-properties"/>
    <ds:schemaRef ds:uri="http://purl.org/dc/dcmitype/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360</TotalTime>
  <Words>699</Words>
  <Application>Microsoft Office PowerPoint</Application>
  <PresentationFormat>Ecrã Panorâmico</PresentationFormat>
  <Paragraphs>140</Paragraphs>
  <Slides>14</Slides>
  <Notes>6</Notes>
  <HiddenSlides>0</HiddenSlides>
  <MMClips>0</MMClips>
  <ScaleCrop>false</ScaleCrop>
  <HeadingPairs>
    <vt:vector size="8" baseType="variant">
      <vt:variant>
        <vt:lpstr>Tipos de letra usados</vt:lpstr>
      </vt:variant>
      <vt:variant>
        <vt:i4>4</vt:i4>
      </vt:variant>
      <vt:variant>
        <vt:lpstr>Tema</vt:lpstr>
      </vt:variant>
      <vt:variant>
        <vt:i4>2</vt:i4>
      </vt:variant>
      <vt:variant>
        <vt:lpstr>Servidores OLE incorporados</vt:lpstr>
      </vt:variant>
      <vt:variant>
        <vt:i4>1</vt:i4>
      </vt:variant>
      <vt:variant>
        <vt:lpstr>Títulos dos diapositivos</vt:lpstr>
      </vt:variant>
      <vt:variant>
        <vt:i4>14</vt:i4>
      </vt:variant>
    </vt:vector>
  </HeadingPairs>
  <TitlesOfParts>
    <vt:vector size="21" baseType="lpstr">
      <vt:lpstr>Arial</vt:lpstr>
      <vt:lpstr>Calibri</vt:lpstr>
      <vt:lpstr>Calibri Light</vt:lpstr>
      <vt:lpstr>Wingdings</vt:lpstr>
      <vt:lpstr>Brisa 2021</vt:lpstr>
      <vt:lpstr>Custom Design</vt:lpstr>
      <vt:lpstr>think-cell Slide</vt:lpstr>
      <vt:lpstr>Apresentação do PowerPoint</vt:lpstr>
      <vt:lpstr>APCAP - Sustentabilidade e Segurança Rodoviária</vt:lpstr>
      <vt:lpstr>Segurança Rodoviária </vt:lpstr>
      <vt:lpstr>Segurança Rodoviária </vt:lpstr>
      <vt:lpstr>Segurança Rodoviária </vt:lpstr>
      <vt:lpstr>Segurança Rodoviária </vt:lpstr>
      <vt:lpstr>Segurança Rodoviária </vt:lpstr>
      <vt:lpstr>Segurança Rodoviária </vt:lpstr>
      <vt:lpstr>Segurança Rodoviária </vt:lpstr>
      <vt:lpstr>Segurança Rodoviária </vt:lpstr>
      <vt:lpstr>Segurança Rodoviária </vt:lpstr>
      <vt:lpstr>Segurança Rodoviária </vt:lpstr>
      <vt:lpstr>Segurança Rodoviária 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Alexandra Barroso</dc:creator>
  <cp:lastModifiedBy>Filipe Branco</cp:lastModifiedBy>
  <cp:revision>193</cp:revision>
  <cp:lastPrinted>2023-08-25T12:48:46Z</cp:lastPrinted>
  <dcterms:created xsi:type="dcterms:W3CDTF">2020-12-31T16:42:48Z</dcterms:created>
  <dcterms:modified xsi:type="dcterms:W3CDTF">2023-10-20T16:08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5A3AAB7795C3F4DBA7D4468670A4CDD</vt:lpwstr>
  </property>
  <property fmtid="{D5CDD505-2E9C-101B-9397-08002B2CF9AE}" pid="3" name="MSIP_Label_01acbcfc-8167-4ac3-b453-eb3d1159b93a_Enabled">
    <vt:lpwstr>true</vt:lpwstr>
  </property>
  <property fmtid="{D5CDD505-2E9C-101B-9397-08002B2CF9AE}" pid="4" name="MSIP_Label_01acbcfc-8167-4ac3-b453-eb3d1159b93a_SetDate">
    <vt:lpwstr>2021-03-29T16:48:35Z</vt:lpwstr>
  </property>
  <property fmtid="{D5CDD505-2E9C-101B-9397-08002B2CF9AE}" pid="5" name="MSIP_Label_01acbcfc-8167-4ac3-b453-eb3d1159b93a_Method">
    <vt:lpwstr>Standard</vt:lpwstr>
  </property>
  <property fmtid="{D5CDD505-2E9C-101B-9397-08002B2CF9AE}" pid="6" name="MSIP_Label_01acbcfc-8167-4ac3-b453-eb3d1159b93a_Name">
    <vt:lpwstr>BAE-Geral-Público_0</vt:lpwstr>
  </property>
  <property fmtid="{D5CDD505-2E9C-101B-9397-08002B2CF9AE}" pid="7" name="MSIP_Label_01acbcfc-8167-4ac3-b453-eb3d1159b93a_SiteId">
    <vt:lpwstr>e140809d-ecdd-48ed-9fe2-aa332b201b35</vt:lpwstr>
  </property>
  <property fmtid="{D5CDD505-2E9C-101B-9397-08002B2CF9AE}" pid="8" name="MSIP_Label_01acbcfc-8167-4ac3-b453-eb3d1159b93a_ActionId">
    <vt:lpwstr>8c6ab194-8afd-41d6-99b9-dc1cb91356b9</vt:lpwstr>
  </property>
  <property fmtid="{D5CDD505-2E9C-101B-9397-08002B2CF9AE}" pid="9" name="MSIP_Label_01acbcfc-8167-4ac3-b453-eb3d1159b93a_ContentBits">
    <vt:lpwstr>0</vt:lpwstr>
  </property>
  <property fmtid="{D5CDD505-2E9C-101B-9397-08002B2CF9AE}" pid="10" name="MediaServiceImageTags">
    <vt:lpwstr/>
  </property>
</Properties>
</file>